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heme/theme8.xml" ContentType="application/vnd.openxmlformats-officedocument.them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1.xml" ContentType="application/vnd.openxmlformats-officedocument.presentationml.notesSlide+xml"/>
  <Override PartName="/ppt/tags/tag20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0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14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6" r:id="rId3"/>
    <p:sldMasterId id="2147483680" r:id="rId4"/>
    <p:sldMasterId id="2147483693" r:id="rId5"/>
    <p:sldMasterId id="2147483707" r:id="rId6"/>
    <p:sldMasterId id="2147483721" r:id="rId7"/>
  </p:sldMasterIdLst>
  <p:notesMasterIdLst>
    <p:notesMasterId r:id="rId32"/>
  </p:notesMasterIdLst>
  <p:sldIdLst>
    <p:sldId id="327" r:id="rId8"/>
    <p:sldId id="2147470991" r:id="rId9"/>
    <p:sldId id="2147476144" r:id="rId10"/>
    <p:sldId id="2147476145" r:id="rId11"/>
    <p:sldId id="2147476142" r:id="rId12"/>
    <p:sldId id="2147476494" r:id="rId13"/>
    <p:sldId id="2147471030" r:id="rId14"/>
    <p:sldId id="2147476510" r:id="rId15"/>
    <p:sldId id="2147377908" r:id="rId16"/>
    <p:sldId id="2147476501" r:id="rId17"/>
    <p:sldId id="2147476502" r:id="rId18"/>
    <p:sldId id="2147476511" r:id="rId19"/>
    <p:sldId id="2147476503" r:id="rId20"/>
    <p:sldId id="2147377857" r:id="rId21"/>
    <p:sldId id="11228" r:id="rId22"/>
    <p:sldId id="2147377855" r:id="rId23"/>
    <p:sldId id="11238" r:id="rId24"/>
    <p:sldId id="2147377854" r:id="rId25"/>
    <p:sldId id="11239" r:id="rId26"/>
    <p:sldId id="2147476442" r:id="rId27"/>
    <p:sldId id="2147476452" r:id="rId28"/>
    <p:sldId id="2147476449" r:id="rId29"/>
    <p:sldId id="11237" r:id="rId30"/>
    <p:sldId id="326" r:id="rId3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4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8FF52"/>
    <a:srgbClr val="212E3E"/>
    <a:srgbClr val="1A1433"/>
    <a:srgbClr val="6DE4FB"/>
    <a:srgbClr val="225E66"/>
    <a:srgbClr val="9EB8BC"/>
    <a:srgbClr val="7C95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6335" autoAdjust="0"/>
    <p:restoredTop sz="94660"/>
  </p:normalViewPr>
  <p:slideViewPr>
    <p:cSldViewPr snapToGrid="0">
      <p:cViewPr varScale="1">
        <p:scale>
          <a:sx n="90" d="100"/>
          <a:sy n="90" d="100"/>
        </p:scale>
        <p:origin x="108" y="528"/>
      </p:cViewPr>
      <p:guideLst>
        <p:guide orient="horz" pos="2160"/>
        <p:guide pos="34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effectLst>
              <a:innerShdw blurRad="63500" dist="50800" dir="5400000">
                <a:prstClr val="black">
                  <a:alpha val="50000"/>
                </a:prstClr>
              </a:innerShdw>
            </a:effectLst>
          </c:spPr>
          <c:dPt>
            <c:idx val="0"/>
            <c:bubble3D val="0"/>
            <c:spPr>
              <a:solidFill>
                <a:srgbClr val="28FF52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9611-46A9-81B0-D14ABFD09A73}"/>
              </c:ext>
            </c:extLst>
          </c:dPt>
          <c:dPt>
            <c:idx val="1"/>
            <c:bubble3D val="0"/>
            <c:spPr>
              <a:solidFill>
                <a:srgbClr val="6D32FF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9611-46A9-81B0-D14ABFD09A73}"/>
              </c:ext>
            </c:extLst>
          </c:dPt>
          <c:dPt>
            <c:idx val="2"/>
            <c:bubble3D val="0"/>
            <c:spPr>
              <a:solidFill>
                <a:srgbClr val="0CD3F8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5-9611-46A9-81B0-D14ABFD09A73}"/>
              </c:ext>
            </c:extLst>
          </c:dPt>
          <c:dLbls>
            <c:dLbl>
              <c:idx val="0"/>
              <c:layout>
                <c:manualLayout>
                  <c:x val="0.14221404049485012"/>
                  <c:y val="-8.875024684155521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R$ </a:t>
                    </a:r>
                    <a:fld id="{E3CAAB23-2B7E-4FCA-9A65-2267BE786024}" type="VALUE">
                      <a:rPr lang="en-US" smtClean="0"/>
                      <a:pPr/>
                      <a:t>[VALOR]</a:t>
                    </a:fld>
                    <a:r>
                      <a:rPr lang="en-US" dirty="0"/>
                      <a:t>MM</a:t>
                    </a:r>
                    <a:r>
                      <a:rPr lang="en-US" baseline="0" dirty="0"/>
                      <a:t>; </a:t>
                    </a:r>
                    <a:fld id="{FBA22878-7CA6-4B33-960A-A643A75089A6}" type="PERCENTAGE">
                      <a:rPr lang="en-US" baseline="0"/>
                      <a:pPr/>
                      <a:t>[PORCENTAGEM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611-46A9-81B0-D14ABFD09A73}"/>
                </c:ext>
              </c:extLst>
            </c:dLbl>
            <c:dLbl>
              <c:idx val="1"/>
              <c:layout>
                <c:manualLayout>
                  <c:x val="-0.14748122717984458"/>
                  <c:y val="4.008075663812166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R$ </a:t>
                    </a:r>
                    <a:fld id="{34E88ACA-E18F-442F-9BEC-2CEC604C51E2}" type="VALUE">
                      <a:rPr lang="en-US" smtClean="0"/>
                      <a:pPr/>
                      <a:t>[VALOR]</a:t>
                    </a:fld>
                    <a:r>
                      <a:rPr lang="en-US" dirty="0"/>
                      <a:t>MM</a:t>
                    </a:r>
                    <a:r>
                      <a:rPr lang="en-US" baseline="0" dirty="0"/>
                      <a:t>; </a:t>
                    </a:r>
                    <a:fld id="{6857529A-329F-4D9C-A05F-BB33DF7935B4}" type="PERCENTAGE">
                      <a:rPr lang="en-US" baseline="0"/>
                      <a:pPr/>
                      <a:t>[PORCENTAGEM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611-46A9-81B0-D14ABFD09A73}"/>
                </c:ext>
              </c:extLst>
            </c:dLbl>
            <c:dLbl>
              <c:idx val="2"/>
              <c:layout>
                <c:manualLayout>
                  <c:x val="9.8340960887980167E-2"/>
                  <c:y val="-9.714344721553988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R$ </a:t>
                    </a:r>
                    <a:fld id="{7EC662D8-2245-412A-AD94-A865525FFADB}" type="VALUE">
                      <a:rPr lang="en-US" smtClean="0"/>
                      <a:pPr/>
                      <a:t>[VALOR]</a:t>
                    </a:fld>
                    <a:r>
                      <a:rPr lang="en-US" dirty="0"/>
                      <a:t>MM</a:t>
                    </a:r>
                    <a:r>
                      <a:rPr lang="en-US" baseline="0" dirty="0"/>
                      <a:t>;</a:t>
                    </a:r>
                  </a:p>
                  <a:p>
                    <a:r>
                      <a:rPr lang="en-US" baseline="0" dirty="0"/>
                      <a:t> </a:t>
                    </a:r>
                    <a:fld id="{B6634350-554A-4A75-A634-FF70DB23D55E}" type="PERCENTAGE">
                      <a:rPr lang="en-US" baseline="0"/>
                      <a:pPr/>
                      <a:t>[PORCENTAGEM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611-46A9-81B0-D14ABFD09A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Mulish" pitchFamily="2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6.6</c:v>
                </c:pt>
                <c:pt idx="1">
                  <c:v>14.7</c:v>
                </c:pt>
                <c:pt idx="2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611-46A9-81B0-D14ABFD09A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2DB575-35A8-41EA-B73E-363883FBAC78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0B7470-24F9-4B2D-B013-3A8B66623B9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9894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6 January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</p:spTree>
    <p:extLst>
      <p:ext uri="{BB962C8B-B14F-4D97-AF65-F5344CB8AC3E}">
        <p14:creationId xmlns:p14="http://schemas.microsoft.com/office/powerpoint/2010/main" val="28799642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Please after inserting your picture, “Right Click” on the picture and “Send it to Back” to get the “Gradient” eff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DD579-49B2-4848-8B9E-FAC72A3B8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3470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Please after inserting your picture, “Right Click” on the picture and “Send it to Back” to get the “Gradient” eff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DD579-49B2-4848-8B9E-FAC72A3B8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10418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Please after inserting your picture, “Right Click” on the picture and “Send it to Back” to get the “Gradient” eff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DD579-49B2-4848-8B9E-FAC72A3B8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02405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Please after inserting your picture, “Right Click” on the picture and “Send it to Back” to get the “Gradient” eff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DD579-49B2-4848-8B9E-FAC72A3B8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02405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2600" y="614363"/>
            <a:ext cx="6138863" cy="3454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176" y="4925213"/>
            <a:ext cx="5633709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61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61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January 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1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61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8912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Please after inserting your picture, “Right Click” on the picture and “Send it to Back” to get the “Gradient” eff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DD579-49B2-4848-8B9E-FAC72A3B8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12760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January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47742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752">
              <a:defRPr/>
            </a:pPr>
            <a:r>
              <a:rPr lang="en-US" sz="13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Please after inserting your picture, “Right Click” on the picture and “Send it to Back” to get the “Gradient” eff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9815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DD579-49B2-4848-8B9E-FAC72A3B824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9815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25327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752">
              <a:defRPr/>
            </a:pPr>
            <a:r>
              <a:rPr lang="en-US" sz="13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Please after inserting your picture, “Right Click” on the picture and “Send it to Back” to get the “Gradient” eff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9815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DD579-49B2-4848-8B9E-FAC72A3B824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9815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19393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B3F8D2-905D-9F45-BD46-9CBE816C8740}" type="slidenum">
              <a:rPr kumimoji="0" lang="en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P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36279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752">
              <a:defRPr/>
            </a:pPr>
            <a:r>
              <a:rPr lang="en-US" sz="13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Please after inserting your picture, “Right Click” on the picture and “Send it to Back” to get the “Gradient” eff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9815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DD579-49B2-4848-8B9E-FAC72A3B824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9815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45794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defTabSz="990752">
              <a:buFont typeface="Arial" panose="020B0604020202020204" pitchFamily="34" charset="0"/>
              <a:buChar char="•"/>
              <a:defRPr/>
            </a:pPr>
            <a:r>
              <a:rPr lang="pt-BR" sz="13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seminar plantas pilotos no país até 2025;</a:t>
            </a:r>
          </a:p>
          <a:p>
            <a:pPr marL="285750" indent="-285750" defTabSz="990752">
              <a:buFont typeface="Arial" panose="020B0604020202020204" pitchFamily="34" charset="0"/>
              <a:buChar char="•"/>
              <a:defRPr/>
            </a:pPr>
            <a:r>
              <a:rPr lang="pt-BR" sz="13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olidar o Brasil como o país mais competitivo do mundo na produção hidrogênio de baixo carbono do mundo até 2030;</a:t>
            </a:r>
          </a:p>
          <a:p>
            <a:pPr marL="285750" indent="-285750" defTabSz="990752">
              <a:buFont typeface="Arial" panose="020B0604020202020204" pitchFamily="34" charset="0"/>
              <a:buChar char="•"/>
              <a:defRPr/>
            </a:pPr>
            <a:r>
              <a:rPr lang="pt-BR" sz="13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olidar, até 2035, hubs de hidrogênio de baixo carbono no país – reunindo produtores e consumidores de H2, geradores de energia, e logística de distribuição e transporte.</a:t>
            </a:r>
            <a:endParaRPr lang="en-US" sz="1300" dirty="0">
              <a:solidFill>
                <a:schemeClr val="accent1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9815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DD579-49B2-4848-8B9E-FAC72A3B824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9815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50588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Please after inserting your picture, “Right Click” on the picture and “Send it to Back” to get the “Gradient” eff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DD579-49B2-4848-8B9E-FAC72A3B8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03863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Please after inserting your picture, “Right Click” on the picture and “Send it to Back” to get the “Gradient” effec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DD579-49B2-4848-8B9E-FAC72A3B82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334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7.xml"/><Relationship Id="rId7" Type="http://schemas.openxmlformats.org/officeDocument/2006/relationships/oleObject" Target="../embeddings/oleObject1.bin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2.xml"/><Relationship Id="rId7" Type="http://schemas.openxmlformats.org/officeDocument/2006/relationships/oleObject" Target="../embeddings/oleObject4.bin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png"/><Relationship Id="rId5" Type="http://schemas.openxmlformats.org/officeDocument/2006/relationships/tags" Target="../tags/tag59.xml"/><Relationship Id="rId10" Type="http://schemas.openxmlformats.org/officeDocument/2006/relationships/image" Target="../media/image3.emf"/><Relationship Id="rId4" Type="http://schemas.openxmlformats.org/officeDocument/2006/relationships/tags" Target="../tags/tag58.xml"/><Relationship Id="rId9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image" Target="../media/image5.png"/><Relationship Id="rId5" Type="http://schemas.openxmlformats.org/officeDocument/2006/relationships/tags" Target="../tags/tag66.xml"/><Relationship Id="rId10" Type="http://schemas.openxmlformats.org/officeDocument/2006/relationships/image" Target="../media/image3.emf"/><Relationship Id="rId4" Type="http://schemas.openxmlformats.org/officeDocument/2006/relationships/tags" Target="../tags/tag65.xml"/><Relationship Id="rId9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7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10" Type="http://schemas.openxmlformats.org/officeDocument/2006/relationships/image" Target="../media/image5.png"/><Relationship Id="rId4" Type="http://schemas.openxmlformats.org/officeDocument/2006/relationships/tags" Target="../tags/tag72.xml"/><Relationship Id="rId9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7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10" Type="http://schemas.openxmlformats.org/officeDocument/2006/relationships/image" Target="../media/image5.png"/><Relationship Id="rId4" Type="http://schemas.openxmlformats.org/officeDocument/2006/relationships/tags" Target="../tags/tag78.xml"/><Relationship Id="rId9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8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image" Target="../media/image5.png"/><Relationship Id="rId4" Type="http://schemas.openxmlformats.org/officeDocument/2006/relationships/tags" Target="../tags/tag84.xml"/><Relationship Id="rId9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image" Target="../media/image5.png"/><Relationship Id="rId5" Type="http://schemas.openxmlformats.org/officeDocument/2006/relationships/tags" Target="../tags/tag91.xml"/><Relationship Id="rId10" Type="http://schemas.openxmlformats.org/officeDocument/2006/relationships/image" Target="../media/image1.emf"/><Relationship Id="rId4" Type="http://schemas.openxmlformats.org/officeDocument/2006/relationships/tags" Target="../tags/tag90.xml"/><Relationship Id="rId9" Type="http://schemas.openxmlformats.org/officeDocument/2006/relationships/oleObject" Target="../embeddings/oleObject10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image" Target="../media/image5.png"/><Relationship Id="rId4" Type="http://schemas.openxmlformats.org/officeDocument/2006/relationships/tags" Target="../tags/tag97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2.xml"/><Relationship Id="rId7" Type="http://schemas.openxmlformats.org/officeDocument/2006/relationships/image" Target="../media/image1.emf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0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2.xml"/><Relationship Id="rId4" Type="http://schemas.openxmlformats.org/officeDocument/2006/relationships/tags" Target="../tags/tag111.xml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15.xml"/><Relationship Id="rId7" Type="http://schemas.openxmlformats.org/officeDocument/2006/relationships/image" Target="../media/image3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1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9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41.xml"/><Relationship Id="rId4" Type="http://schemas.openxmlformats.org/officeDocument/2006/relationships/tags" Target="../tags/tag140.xml"/><Relationship Id="rId9" Type="http://schemas.openxmlformats.org/officeDocument/2006/relationships/image" Target="../media/image2.pn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4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46.xml"/><Relationship Id="rId4" Type="http://schemas.openxmlformats.org/officeDocument/2006/relationships/tags" Target="../tags/tag145.xml"/><Relationship Id="rId9" Type="http://schemas.openxmlformats.org/officeDocument/2006/relationships/image" Target="../media/image4.pn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image" Target="../media/image5.png"/><Relationship Id="rId5" Type="http://schemas.openxmlformats.org/officeDocument/2006/relationships/tags" Target="../tags/tag151.xml"/><Relationship Id="rId10" Type="http://schemas.openxmlformats.org/officeDocument/2006/relationships/image" Target="../media/image3.emf"/><Relationship Id="rId4" Type="http://schemas.openxmlformats.org/officeDocument/2006/relationships/tags" Target="../tags/tag150.xml"/><Relationship Id="rId9" Type="http://schemas.openxmlformats.org/officeDocument/2006/relationships/oleObject" Target="../embeddings/oleObject20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image" Target="../media/image5.png"/><Relationship Id="rId5" Type="http://schemas.openxmlformats.org/officeDocument/2006/relationships/tags" Target="../tags/tag158.xml"/><Relationship Id="rId10" Type="http://schemas.openxmlformats.org/officeDocument/2006/relationships/image" Target="../media/image3.emf"/><Relationship Id="rId4" Type="http://schemas.openxmlformats.org/officeDocument/2006/relationships/tags" Target="../tags/tag157.xml"/><Relationship Id="rId9" Type="http://schemas.openxmlformats.org/officeDocument/2006/relationships/oleObject" Target="../embeddings/oleObject21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63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5" Type="http://schemas.openxmlformats.org/officeDocument/2006/relationships/tags" Target="../tags/tag165.xml"/><Relationship Id="rId10" Type="http://schemas.openxmlformats.org/officeDocument/2006/relationships/image" Target="../media/image5.png"/><Relationship Id="rId4" Type="http://schemas.openxmlformats.org/officeDocument/2006/relationships/tags" Target="../tags/tag164.xml"/><Relationship Id="rId9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169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10" Type="http://schemas.openxmlformats.org/officeDocument/2006/relationships/image" Target="../media/image5.png"/><Relationship Id="rId4" Type="http://schemas.openxmlformats.org/officeDocument/2006/relationships/tags" Target="../tags/tag170.xml"/><Relationship Id="rId9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75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10" Type="http://schemas.openxmlformats.org/officeDocument/2006/relationships/image" Target="../media/image5.png"/><Relationship Id="rId4" Type="http://schemas.openxmlformats.org/officeDocument/2006/relationships/tags" Target="../tags/tag176.xml"/><Relationship Id="rId9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image" Target="../media/image5.png"/><Relationship Id="rId5" Type="http://schemas.openxmlformats.org/officeDocument/2006/relationships/tags" Target="../tags/tag183.xml"/><Relationship Id="rId10" Type="http://schemas.openxmlformats.org/officeDocument/2006/relationships/image" Target="../media/image1.emf"/><Relationship Id="rId4" Type="http://schemas.openxmlformats.org/officeDocument/2006/relationships/tags" Target="../tags/tag182.xml"/><Relationship Id="rId9" Type="http://schemas.openxmlformats.org/officeDocument/2006/relationships/oleObject" Target="../embeddings/oleObject25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88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tags" Target="../tags/tag191.xml"/><Relationship Id="rId5" Type="http://schemas.openxmlformats.org/officeDocument/2006/relationships/tags" Target="../tags/tag190.xml"/><Relationship Id="rId10" Type="http://schemas.openxmlformats.org/officeDocument/2006/relationships/image" Target="../media/image5.png"/><Relationship Id="rId4" Type="http://schemas.openxmlformats.org/officeDocument/2006/relationships/tags" Target="../tags/tag189.xml"/><Relationship Id="rId9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94.xml"/><Relationship Id="rId7" Type="http://schemas.openxmlformats.org/officeDocument/2006/relationships/image" Target="../media/image1.emf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9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158456-3DAD-0E80-2155-870520BC63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D9C9330-B0EA-656E-538A-AB3137993C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DBDF278-D8C9-6389-B549-A6C8D5EEC6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C8A7409-6A28-D825-4428-ECDA188CA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B66610E-76CF-B745-97E9-540DD24F7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58676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41BA085-25CA-6EE8-F878-52D87B785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8924CB9-3265-A069-B870-CDC74B7D81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AFA45C-130D-6236-1F92-E8865B897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F466D66-919D-D496-8994-7180BCD38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ABBF7E9-D216-162C-304C-A68EBB38B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7638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DEAAD07-4D26-5A8A-4960-2EB6C0DEAA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3D26551-1B04-B135-943C-872F6831DC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EC2E0F6-A55F-9608-8856-35CB5D4566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4082D56-9965-8246-00A6-27C439403D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39ECAAA-79D0-B593-487E-7E7F9A70B7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301964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134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1" y="6125131"/>
            <a:ext cx="746263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5707522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739817"/>
            <a:ext cx="746175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pt-BR"/>
              <a:t>Clique para editar o título Mest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CA9F67A-EDA4-4E38-8069-045316E13ABE}"/>
              </a:ext>
            </a:extLst>
          </p:cNvPr>
          <p:cNvPicPr>
            <a:picLocks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1" y="551942"/>
            <a:ext cx="2446638" cy="912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4594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F0BB8E71-0EAF-4AE7-BDAE-13B508ED92DA}"/>
              </a:ext>
            </a:extLst>
          </p:cNvPr>
          <p:cNvSpPr txBox="1"/>
          <p:nvPr userDrawn="1"/>
        </p:nvSpPr>
        <p:spPr>
          <a:xfrm>
            <a:off x="11802035" y="6667145"/>
            <a:ext cx="315951" cy="17959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  <a:buNone/>
            </a:pPr>
            <a:fld id="{46CCA082-9802-4EAF-9A9B-C8C63827BA5D}" type="slidenum">
              <a:rPr lang="pt-BR" sz="1000" baseline="30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‹nº›</a:t>
            </a:fld>
            <a:endParaRPr lang="pt-BR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5128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BF5B6928-EB38-4936-9781-AB4B96C1D4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4B7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1600" dirty="0" err="1">
              <a:solidFill>
                <a:schemeClr val="bg1"/>
              </a:solidFill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62CBC44B-B6AB-4177-8B1C-434838754C6D}"/>
              </a:ext>
            </a:extLst>
          </p:cNvPr>
          <p:cNvSpPr/>
          <p:nvPr userDrawn="1"/>
        </p:nvSpPr>
        <p:spPr>
          <a:xfrm>
            <a:off x="11480182" y="257236"/>
            <a:ext cx="432925" cy="310696"/>
          </a:xfrm>
          <a:custGeom>
            <a:avLst/>
            <a:gdLst/>
            <a:ahLst/>
            <a:cxnLst/>
            <a:rect l="l" t="t" r="r" b="b"/>
            <a:pathLst>
              <a:path w="697230" h="500380">
                <a:moveTo>
                  <a:pt x="541992" y="295362"/>
                </a:moveTo>
                <a:lnTo>
                  <a:pt x="485561" y="295362"/>
                </a:lnTo>
                <a:lnTo>
                  <a:pt x="462944" y="468278"/>
                </a:lnTo>
                <a:lnTo>
                  <a:pt x="463732" y="479427"/>
                </a:lnTo>
                <a:lnTo>
                  <a:pt x="468552" y="489075"/>
                </a:lnTo>
                <a:lnTo>
                  <a:pt x="476633" y="496204"/>
                </a:lnTo>
                <a:lnTo>
                  <a:pt x="487205" y="499796"/>
                </a:lnTo>
                <a:lnTo>
                  <a:pt x="498343" y="499018"/>
                </a:lnTo>
                <a:lnTo>
                  <a:pt x="507988" y="494190"/>
                </a:lnTo>
                <a:lnTo>
                  <a:pt x="515118" y="486097"/>
                </a:lnTo>
                <a:lnTo>
                  <a:pt x="518711" y="475524"/>
                </a:lnTo>
                <a:lnTo>
                  <a:pt x="530062" y="388323"/>
                </a:lnTo>
                <a:lnTo>
                  <a:pt x="595991" y="388323"/>
                </a:lnTo>
                <a:lnTo>
                  <a:pt x="600269" y="386689"/>
                </a:lnTo>
                <a:lnTo>
                  <a:pt x="679816" y="351706"/>
                </a:lnTo>
                <a:lnTo>
                  <a:pt x="688958" y="345275"/>
                </a:lnTo>
                <a:lnTo>
                  <a:pt x="693596" y="337926"/>
                </a:lnTo>
                <a:lnTo>
                  <a:pt x="566762" y="337926"/>
                </a:lnTo>
                <a:lnTo>
                  <a:pt x="553336" y="335757"/>
                </a:lnTo>
                <a:lnTo>
                  <a:pt x="544767" y="329241"/>
                </a:lnTo>
                <a:lnTo>
                  <a:pt x="540751" y="318366"/>
                </a:lnTo>
                <a:lnTo>
                  <a:pt x="540983" y="303121"/>
                </a:lnTo>
                <a:lnTo>
                  <a:pt x="541992" y="295362"/>
                </a:lnTo>
                <a:close/>
              </a:path>
              <a:path w="697230" h="500380">
                <a:moveTo>
                  <a:pt x="595991" y="388323"/>
                </a:moveTo>
                <a:lnTo>
                  <a:pt x="530062" y="388323"/>
                </a:lnTo>
                <a:lnTo>
                  <a:pt x="538222" y="392076"/>
                </a:lnTo>
                <a:lnTo>
                  <a:pt x="544298" y="394003"/>
                </a:lnTo>
                <a:lnTo>
                  <a:pt x="551311" y="394713"/>
                </a:lnTo>
                <a:lnTo>
                  <a:pt x="562281" y="394815"/>
                </a:lnTo>
                <a:lnTo>
                  <a:pt x="572063" y="394284"/>
                </a:lnTo>
                <a:lnTo>
                  <a:pt x="581707" y="392723"/>
                </a:lnTo>
                <a:lnTo>
                  <a:pt x="591135" y="390176"/>
                </a:lnTo>
                <a:lnTo>
                  <a:pt x="595991" y="388323"/>
                </a:lnTo>
                <a:close/>
              </a:path>
              <a:path w="697230" h="500380">
                <a:moveTo>
                  <a:pt x="206441" y="352607"/>
                </a:moveTo>
                <a:lnTo>
                  <a:pt x="35386" y="352607"/>
                </a:lnTo>
                <a:lnTo>
                  <a:pt x="46467" y="370136"/>
                </a:lnTo>
                <a:lnTo>
                  <a:pt x="62066" y="383362"/>
                </a:lnTo>
                <a:lnTo>
                  <a:pt x="82054" y="391715"/>
                </a:lnTo>
                <a:lnTo>
                  <a:pt x="106305" y="394626"/>
                </a:lnTo>
                <a:lnTo>
                  <a:pt x="149655" y="387809"/>
                </a:lnTo>
                <a:lnTo>
                  <a:pt x="183036" y="371546"/>
                </a:lnTo>
                <a:lnTo>
                  <a:pt x="206441" y="352607"/>
                </a:lnTo>
                <a:close/>
              </a:path>
              <a:path w="697230" h="500380">
                <a:moveTo>
                  <a:pt x="308477" y="301592"/>
                </a:moveTo>
                <a:lnTo>
                  <a:pt x="252081" y="301592"/>
                </a:lnTo>
                <a:lnTo>
                  <a:pt x="254506" y="341816"/>
                </a:lnTo>
                <a:lnTo>
                  <a:pt x="270767" y="370942"/>
                </a:lnTo>
                <a:lnTo>
                  <a:pt x="296722" y="388652"/>
                </a:lnTo>
                <a:lnTo>
                  <a:pt x="328225" y="394626"/>
                </a:lnTo>
                <a:lnTo>
                  <a:pt x="361366" y="391330"/>
                </a:lnTo>
                <a:lnTo>
                  <a:pt x="387964" y="380767"/>
                </a:lnTo>
                <a:lnTo>
                  <a:pt x="413985" y="361924"/>
                </a:lnTo>
                <a:lnTo>
                  <a:pt x="440777" y="337926"/>
                </a:lnTo>
                <a:lnTo>
                  <a:pt x="334068" y="337926"/>
                </a:lnTo>
                <a:lnTo>
                  <a:pt x="320636" y="335757"/>
                </a:lnTo>
                <a:lnTo>
                  <a:pt x="312067" y="329241"/>
                </a:lnTo>
                <a:lnTo>
                  <a:pt x="308051" y="318366"/>
                </a:lnTo>
                <a:lnTo>
                  <a:pt x="308278" y="303121"/>
                </a:lnTo>
                <a:lnTo>
                  <a:pt x="308477" y="301592"/>
                </a:lnTo>
                <a:close/>
              </a:path>
              <a:path w="697230" h="500380">
                <a:moveTo>
                  <a:pt x="141006" y="97871"/>
                </a:moveTo>
                <a:lnTo>
                  <a:pt x="74815" y="123282"/>
                </a:lnTo>
                <a:lnTo>
                  <a:pt x="44475" y="181701"/>
                </a:lnTo>
                <a:lnTo>
                  <a:pt x="28726" y="290546"/>
                </a:lnTo>
                <a:lnTo>
                  <a:pt x="10716" y="303299"/>
                </a:lnTo>
                <a:lnTo>
                  <a:pt x="3400" y="311727"/>
                </a:lnTo>
                <a:lnTo>
                  <a:pt x="0" y="321953"/>
                </a:lnTo>
                <a:lnTo>
                  <a:pt x="683" y="332713"/>
                </a:lnTo>
                <a:lnTo>
                  <a:pt x="5617" y="342743"/>
                </a:lnTo>
                <a:lnTo>
                  <a:pt x="11156" y="349916"/>
                </a:lnTo>
                <a:lnTo>
                  <a:pt x="19491" y="353685"/>
                </a:lnTo>
                <a:lnTo>
                  <a:pt x="30412" y="353685"/>
                </a:lnTo>
                <a:lnTo>
                  <a:pt x="32925" y="353277"/>
                </a:lnTo>
                <a:lnTo>
                  <a:pt x="35386" y="352607"/>
                </a:lnTo>
                <a:lnTo>
                  <a:pt x="206441" y="352607"/>
                </a:lnTo>
                <a:lnTo>
                  <a:pt x="207040" y="352122"/>
                </a:lnTo>
                <a:lnTo>
                  <a:pt x="219874" y="338377"/>
                </a:lnTo>
                <a:lnTo>
                  <a:pt x="108494" y="338377"/>
                </a:lnTo>
                <a:lnTo>
                  <a:pt x="96109" y="334990"/>
                </a:lnTo>
                <a:lnTo>
                  <a:pt x="89015" y="327539"/>
                </a:lnTo>
                <a:lnTo>
                  <a:pt x="85797" y="320089"/>
                </a:lnTo>
                <a:lnTo>
                  <a:pt x="85039" y="316702"/>
                </a:lnTo>
                <a:lnTo>
                  <a:pt x="144157" y="275509"/>
                </a:lnTo>
                <a:lnTo>
                  <a:pt x="166352" y="259291"/>
                </a:lnTo>
                <a:lnTo>
                  <a:pt x="178219" y="248463"/>
                </a:lnTo>
                <a:lnTo>
                  <a:pt x="88442" y="248463"/>
                </a:lnTo>
                <a:lnTo>
                  <a:pt x="96400" y="189135"/>
                </a:lnTo>
                <a:lnTo>
                  <a:pt x="101565" y="174116"/>
                </a:lnTo>
                <a:lnTo>
                  <a:pt x="111702" y="162320"/>
                </a:lnTo>
                <a:lnTo>
                  <a:pt x="125323" y="154610"/>
                </a:lnTo>
                <a:lnTo>
                  <a:pt x="140943" y="151848"/>
                </a:lnTo>
                <a:lnTo>
                  <a:pt x="215727" y="151848"/>
                </a:lnTo>
                <a:lnTo>
                  <a:pt x="213949" y="142920"/>
                </a:lnTo>
                <a:lnTo>
                  <a:pt x="197247" y="119030"/>
                </a:lnTo>
                <a:lnTo>
                  <a:pt x="172178" y="103445"/>
                </a:lnTo>
                <a:lnTo>
                  <a:pt x="141006" y="97871"/>
                </a:lnTo>
                <a:close/>
              </a:path>
              <a:path w="697230" h="500380">
                <a:moveTo>
                  <a:pt x="363407" y="97871"/>
                </a:moveTo>
                <a:lnTo>
                  <a:pt x="300717" y="121476"/>
                </a:lnTo>
                <a:lnTo>
                  <a:pt x="267504" y="181701"/>
                </a:lnTo>
                <a:lnTo>
                  <a:pt x="265179" y="194893"/>
                </a:lnTo>
                <a:lnTo>
                  <a:pt x="262060" y="204502"/>
                </a:lnTo>
                <a:lnTo>
                  <a:pt x="183853" y="297603"/>
                </a:lnTo>
                <a:lnTo>
                  <a:pt x="135787" y="333369"/>
                </a:lnTo>
                <a:lnTo>
                  <a:pt x="108494" y="338377"/>
                </a:lnTo>
                <a:lnTo>
                  <a:pt x="219874" y="338377"/>
                </a:lnTo>
                <a:lnTo>
                  <a:pt x="222316" y="335757"/>
                </a:lnTo>
                <a:lnTo>
                  <a:pt x="252081" y="301592"/>
                </a:lnTo>
                <a:lnTo>
                  <a:pt x="308477" y="301592"/>
                </a:lnTo>
                <a:lnTo>
                  <a:pt x="323429" y="186570"/>
                </a:lnTo>
                <a:lnTo>
                  <a:pt x="347591" y="153725"/>
                </a:lnTo>
                <a:lnTo>
                  <a:pt x="358884" y="151754"/>
                </a:lnTo>
                <a:lnTo>
                  <a:pt x="445940" y="151754"/>
                </a:lnTo>
                <a:lnTo>
                  <a:pt x="452108" y="104174"/>
                </a:lnTo>
                <a:lnTo>
                  <a:pt x="395354" y="104174"/>
                </a:lnTo>
                <a:lnTo>
                  <a:pt x="387339" y="100530"/>
                </a:lnTo>
                <a:lnTo>
                  <a:pt x="381340" y="98659"/>
                </a:lnTo>
                <a:lnTo>
                  <a:pt x="374361" y="97969"/>
                </a:lnTo>
                <a:lnTo>
                  <a:pt x="363407" y="97871"/>
                </a:lnTo>
                <a:close/>
              </a:path>
              <a:path w="697230" h="500380">
                <a:moveTo>
                  <a:pt x="445940" y="151754"/>
                </a:moveTo>
                <a:lnTo>
                  <a:pt x="358884" y="151754"/>
                </a:lnTo>
                <a:lnTo>
                  <a:pt x="372297" y="153925"/>
                </a:lnTo>
                <a:lnTo>
                  <a:pt x="380866" y="160445"/>
                </a:lnTo>
                <a:lnTo>
                  <a:pt x="384886" y="171323"/>
                </a:lnTo>
                <a:lnTo>
                  <a:pt x="384653" y="186570"/>
                </a:lnTo>
                <a:lnTo>
                  <a:pt x="369480" y="303121"/>
                </a:lnTo>
                <a:lnTo>
                  <a:pt x="364653" y="318967"/>
                </a:lnTo>
                <a:lnTo>
                  <a:pt x="356074" y="329775"/>
                </a:lnTo>
                <a:lnTo>
                  <a:pt x="345345" y="335957"/>
                </a:lnTo>
                <a:lnTo>
                  <a:pt x="334068" y="337926"/>
                </a:lnTo>
                <a:lnTo>
                  <a:pt x="440777" y="337926"/>
                </a:lnTo>
                <a:lnTo>
                  <a:pt x="445394" y="333790"/>
                </a:lnTo>
                <a:lnTo>
                  <a:pt x="485561" y="295362"/>
                </a:lnTo>
                <a:lnTo>
                  <a:pt x="541992" y="295362"/>
                </a:lnTo>
                <a:lnTo>
                  <a:pt x="544619" y="275174"/>
                </a:lnTo>
                <a:lnTo>
                  <a:pt x="429939" y="275174"/>
                </a:lnTo>
                <a:lnTo>
                  <a:pt x="445940" y="151754"/>
                </a:lnTo>
                <a:close/>
              </a:path>
              <a:path w="697230" h="500380">
                <a:moveTo>
                  <a:pt x="670866" y="151754"/>
                </a:moveTo>
                <a:lnTo>
                  <a:pt x="591568" y="151754"/>
                </a:lnTo>
                <a:lnTo>
                  <a:pt x="604986" y="153925"/>
                </a:lnTo>
                <a:lnTo>
                  <a:pt x="613557" y="160445"/>
                </a:lnTo>
                <a:lnTo>
                  <a:pt x="617580" y="171323"/>
                </a:lnTo>
                <a:lnTo>
                  <a:pt x="617358" y="186570"/>
                </a:lnTo>
                <a:lnTo>
                  <a:pt x="602175" y="303121"/>
                </a:lnTo>
                <a:lnTo>
                  <a:pt x="597357" y="318967"/>
                </a:lnTo>
                <a:lnTo>
                  <a:pt x="588780" y="329775"/>
                </a:lnTo>
                <a:lnTo>
                  <a:pt x="578047" y="335957"/>
                </a:lnTo>
                <a:lnTo>
                  <a:pt x="566762" y="337926"/>
                </a:lnTo>
                <a:lnTo>
                  <a:pt x="693596" y="337926"/>
                </a:lnTo>
                <a:lnTo>
                  <a:pt x="694714" y="336155"/>
                </a:lnTo>
                <a:lnTo>
                  <a:pt x="696626" y="325542"/>
                </a:lnTo>
                <a:lnTo>
                  <a:pt x="694235" y="314629"/>
                </a:lnTo>
                <a:lnTo>
                  <a:pt x="688264" y="305938"/>
                </a:lnTo>
                <a:lnTo>
                  <a:pt x="679835" y="300217"/>
                </a:lnTo>
                <a:lnTo>
                  <a:pt x="675816" y="299257"/>
                </a:lnTo>
                <a:lnTo>
                  <a:pt x="659639" y="299257"/>
                </a:lnTo>
                <a:lnTo>
                  <a:pt x="674099" y="188517"/>
                </a:lnTo>
                <a:lnTo>
                  <a:pt x="671430" y="152762"/>
                </a:lnTo>
                <a:lnTo>
                  <a:pt x="670866" y="151754"/>
                </a:lnTo>
                <a:close/>
              </a:path>
              <a:path w="697230" h="500380">
                <a:moveTo>
                  <a:pt x="669957" y="297859"/>
                </a:moveTo>
                <a:lnTo>
                  <a:pt x="659639" y="299257"/>
                </a:lnTo>
                <a:lnTo>
                  <a:pt x="675816" y="299257"/>
                </a:lnTo>
                <a:lnTo>
                  <a:pt x="669957" y="297859"/>
                </a:lnTo>
                <a:close/>
              </a:path>
              <a:path w="697230" h="500380">
                <a:moveTo>
                  <a:pt x="28726" y="290483"/>
                </a:moveTo>
                <a:close/>
              </a:path>
              <a:path w="697230" h="500380">
                <a:moveTo>
                  <a:pt x="594835" y="97871"/>
                </a:moveTo>
                <a:lnTo>
                  <a:pt x="530618" y="124861"/>
                </a:lnTo>
                <a:lnTo>
                  <a:pt x="502458" y="181701"/>
                </a:lnTo>
                <a:lnTo>
                  <a:pt x="499590" y="195607"/>
                </a:lnTo>
                <a:lnTo>
                  <a:pt x="496590" y="204671"/>
                </a:lnTo>
                <a:lnTo>
                  <a:pt x="492843" y="210975"/>
                </a:lnTo>
                <a:lnTo>
                  <a:pt x="487718" y="216663"/>
                </a:lnTo>
                <a:lnTo>
                  <a:pt x="429939" y="275174"/>
                </a:lnTo>
                <a:lnTo>
                  <a:pt x="544619" y="275174"/>
                </a:lnTo>
                <a:lnTo>
                  <a:pt x="556145" y="186570"/>
                </a:lnTo>
                <a:lnTo>
                  <a:pt x="580282" y="153725"/>
                </a:lnTo>
                <a:lnTo>
                  <a:pt x="591568" y="151754"/>
                </a:lnTo>
                <a:lnTo>
                  <a:pt x="670866" y="151754"/>
                </a:lnTo>
                <a:lnTo>
                  <a:pt x="655341" y="124001"/>
                </a:lnTo>
                <a:lnTo>
                  <a:pt x="628815" y="104837"/>
                </a:lnTo>
                <a:lnTo>
                  <a:pt x="594835" y="97871"/>
                </a:lnTo>
                <a:close/>
              </a:path>
              <a:path w="697230" h="500380">
                <a:moveTo>
                  <a:pt x="215727" y="151848"/>
                </a:moveTo>
                <a:lnTo>
                  <a:pt x="140943" y="151848"/>
                </a:lnTo>
                <a:lnTo>
                  <a:pt x="153680" y="154251"/>
                </a:lnTo>
                <a:lnTo>
                  <a:pt x="160742" y="159975"/>
                </a:lnTo>
                <a:lnTo>
                  <a:pt x="163773" y="166792"/>
                </a:lnTo>
                <a:lnTo>
                  <a:pt x="164419" y="172476"/>
                </a:lnTo>
                <a:lnTo>
                  <a:pt x="158137" y="190012"/>
                </a:lnTo>
                <a:lnTo>
                  <a:pt x="141336" y="208514"/>
                </a:lnTo>
                <a:lnTo>
                  <a:pt x="117082" y="227994"/>
                </a:lnTo>
                <a:lnTo>
                  <a:pt x="88442" y="248463"/>
                </a:lnTo>
                <a:lnTo>
                  <a:pt x="178219" y="248463"/>
                </a:lnTo>
                <a:lnTo>
                  <a:pt x="191280" y="236545"/>
                </a:lnTo>
                <a:lnTo>
                  <a:pt x="211613" y="207755"/>
                </a:lnTo>
                <a:lnTo>
                  <a:pt x="220019" y="173408"/>
                </a:lnTo>
                <a:lnTo>
                  <a:pt x="215727" y="151848"/>
                </a:lnTo>
                <a:close/>
              </a:path>
              <a:path w="697230" h="500380">
                <a:moveTo>
                  <a:pt x="437258" y="0"/>
                </a:moveTo>
                <a:lnTo>
                  <a:pt x="405752" y="24250"/>
                </a:lnTo>
                <a:lnTo>
                  <a:pt x="395354" y="104174"/>
                </a:lnTo>
                <a:lnTo>
                  <a:pt x="452108" y="104174"/>
                </a:lnTo>
                <a:lnTo>
                  <a:pt x="461530" y="31496"/>
                </a:lnTo>
                <a:lnTo>
                  <a:pt x="460746" y="20356"/>
                </a:lnTo>
                <a:lnTo>
                  <a:pt x="455916" y="10718"/>
                </a:lnTo>
                <a:lnTo>
                  <a:pt x="447826" y="3594"/>
                </a:lnTo>
                <a:lnTo>
                  <a:pt x="437258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1957C467-BD91-4B36-9A41-34F7C894C0E4}"/>
              </a:ext>
            </a:extLst>
          </p:cNvPr>
          <p:cNvSpPr txBox="1"/>
          <p:nvPr userDrawn="1"/>
        </p:nvSpPr>
        <p:spPr>
          <a:xfrm>
            <a:off x="11802035" y="6667145"/>
            <a:ext cx="315951" cy="17959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  <a:buNone/>
            </a:pPr>
            <a:fld id="{46CCA082-9802-4EAF-9A9B-C8C63827BA5D}" type="slidenum">
              <a:rPr lang="pt-BR" sz="1000" baseline="30000" smtClean="0">
                <a:solidFill>
                  <a:srgbClr val="ECF4B3"/>
                </a:solidFill>
              </a:rPr>
              <a:t>‹nº›</a:t>
            </a:fld>
            <a:endParaRPr lang="pt-BR" sz="1000" dirty="0">
              <a:solidFill>
                <a:srgbClr val="ECF4B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1610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BF5B6928-EB38-4936-9781-AB4B96C1D4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CF4B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1600" dirty="0" err="1">
              <a:solidFill>
                <a:schemeClr val="bg1"/>
              </a:solidFill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62CBC44B-B6AB-4177-8B1C-434838754C6D}"/>
              </a:ext>
            </a:extLst>
          </p:cNvPr>
          <p:cNvSpPr/>
          <p:nvPr userDrawn="1"/>
        </p:nvSpPr>
        <p:spPr>
          <a:xfrm>
            <a:off x="11480182" y="257236"/>
            <a:ext cx="432925" cy="310696"/>
          </a:xfrm>
          <a:custGeom>
            <a:avLst/>
            <a:gdLst/>
            <a:ahLst/>
            <a:cxnLst/>
            <a:rect l="l" t="t" r="r" b="b"/>
            <a:pathLst>
              <a:path w="697230" h="500380">
                <a:moveTo>
                  <a:pt x="541992" y="295362"/>
                </a:moveTo>
                <a:lnTo>
                  <a:pt x="485561" y="295362"/>
                </a:lnTo>
                <a:lnTo>
                  <a:pt x="462944" y="468278"/>
                </a:lnTo>
                <a:lnTo>
                  <a:pt x="463732" y="479427"/>
                </a:lnTo>
                <a:lnTo>
                  <a:pt x="468552" y="489075"/>
                </a:lnTo>
                <a:lnTo>
                  <a:pt x="476633" y="496204"/>
                </a:lnTo>
                <a:lnTo>
                  <a:pt x="487205" y="499796"/>
                </a:lnTo>
                <a:lnTo>
                  <a:pt x="498343" y="499018"/>
                </a:lnTo>
                <a:lnTo>
                  <a:pt x="507988" y="494190"/>
                </a:lnTo>
                <a:lnTo>
                  <a:pt x="515118" y="486097"/>
                </a:lnTo>
                <a:lnTo>
                  <a:pt x="518711" y="475524"/>
                </a:lnTo>
                <a:lnTo>
                  <a:pt x="530062" y="388323"/>
                </a:lnTo>
                <a:lnTo>
                  <a:pt x="595991" y="388323"/>
                </a:lnTo>
                <a:lnTo>
                  <a:pt x="600269" y="386689"/>
                </a:lnTo>
                <a:lnTo>
                  <a:pt x="679816" y="351706"/>
                </a:lnTo>
                <a:lnTo>
                  <a:pt x="688958" y="345275"/>
                </a:lnTo>
                <a:lnTo>
                  <a:pt x="693596" y="337926"/>
                </a:lnTo>
                <a:lnTo>
                  <a:pt x="566762" y="337926"/>
                </a:lnTo>
                <a:lnTo>
                  <a:pt x="553336" y="335757"/>
                </a:lnTo>
                <a:lnTo>
                  <a:pt x="544767" y="329241"/>
                </a:lnTo>
                <a:lnTo>
                  <a:pt x="540751" y="318366"/>
                </a:lnTo>
                <a:lnTo>
                  <a:pt x="540983" y="303121"/>
                </a:lnTo>
                <a:lnTo>
                  <a:pt x="541992" y="295362"/>
                </a:lnTo>
                <a:close/>
              </a:path>
              <a:path w="697230" h="500380">
                <a:moveTo>
                  <a:pt x="595991" y="388323"/>
                </a:moveTo>
                <a:lnTo>
                  <a:pt x="530062" y="388323"/>
                </a:lnTo>
                <a:lnTo>
                  <a:pt x="538222" y="392076"/>
                </a:lnTo>
                <a:lnTo>
                  <a:pt x="544298" y="394003"/>
                </a:lnTo>
                <a:lnTo>
                  <a:pt x="551311" y="394713"/>
                </a:lnTo>
                <a:lnTo>
                  <a:pt x="562281" y="394815"/>
                </a:lnTo>
                <a:lnTo>
                  <a:pt x="572063" y="394284"/>
                </a:lnTo>
                <a:lnTo>
                  <a:pt x="581707" y="392723"/>
                </a:lnTo>
                <a:lnTo>
                  <a:pt x="591135" y="390176"/>
                </a:lnTo>
                <a:lnTo>
                  <a:pt x="595991" y="388323"/>
                </a:lnTo>
                <a:close/>
              </a:path>
              <a:path w="697230" h="500380">
                <a:moveTo>
                  <a:pt x="206441" y="352607"/>
                </a:moveTo>
                <a:lnTo>
                  <a:pt x="35386" y="352607"/>
                </a:lnTo>
                <a:lnTo>
                  <a:pt x="46467" y="370136"/>
                </a:lnTo>
                <a:lnTo>
                  <a:pt x="62066" y="383362"/>
                </a:lnTo>
                <a:lnTo>
                  <a:pt x="82054" y="391715"/>
                </a:lnTo>
                <a:lnTo>
                  <a:pt x="106305" y="394626"/>
                </a:lnTo>
                <a:lnTo>
                  <a:pt x="149655" y="387809"/>
                </a:lnTo>
                <a:lnTo>
                  <a:pt x="183036" y="371546"/>
                </a:lnTo>
                <a:lnTo>
                  <a:pt x="206441" y="352607"/>
                </a:lnTo>
                <a:close/>
              </a:path>
              <a:path w="697230" h="500380">
                <a:moveTo>
                  <a:pt x="308477" y="301592"/>
                </a:moveTo>
                <a:lnTo>
                  <a:pt x="252081" y="301592"/>
                </a:lnTo>
                <a:lnTo>
                  <a:pt x="254506" y="341816"/>
                </a:lnTo>
                <a:lnTo>
                  <a:pt x="270767" y="370942"/>
                </a:lnTo>
                <a:lnTo>
                  <a:pt x="296722" y="388652"/>
                </a:lnTo>
                <a:lnTo>
                  <a:pt x="328225" y="394626"/>
                </a:lnTo>
                <a:lnTo>
                  <a:pt x="361366" y="391330"/>
                </a:lnTo>
                <a:lnTo>
                  <a:pt x="387964" y="380767"/>
                </a:lnTo>
                <a:lnTo>
                  <a:pt x="413985" y="361924"/>
                </a:lnTo>
                <a:lnTo>
                  <a:pt x="440777" y="337926"/>
                </a:lnTo>
                <a:lnTo>
                  <a:pt x="334068" y="337926"/>
                </a:lnTo>
                <a:lnTo>
                  <a:pt x="320636" y="335757"/>
                </a:lnTo>
                <a:lnTo>
                  <a:pt x="312067" y="329241"/>
                </a:lnTo>
                <a:lnTo>
                  <a:pt x="308051" y="318366"/>
                </a:lnTo>
                <a:lnTo>
                  <a:pt x="308278" y="303121"/>
                </a:lnTo>
                <a:lnTo>
                  <a:pt x="308477" y="301592"/>
                </a:lnTo>
                <a:close/>
              </a:path>
              <a:path w="697230" h="500380">
                <a:moveTo>
                  <a:pt x="141006" y="97871"/>
                </a:moveTo>
                <a:lnTo>
                  <a:pt x="74815" y="123282"/>
                </a:lnTo>
                <a:lnTo>
                  <a:pt x="44475" y="181701"/>
                </a:lnTo>
                <a:lnTo>
                  <a:pt x="28726" y="290546"/>
                </a:lnTo>
                <a:lnTo>
                  <a:pt x="10716" y="303299"/>
                </a:lnTo>
                <a:lnTo>
                  <a:pt x="3400" y="311727"/>
                </a:lnTo>
                <a:lnTo>
                  <a:pt x="0" y="321953"/>
                </a:lnTo>
                <a:lnTo>
                  <a:pt x="683" y="332713"/>
                </a:lnTo>
                <a:lnTo>
                  <a:pt x="5617" y="342743"/>
                </a:lnTo>
                <a:lnTo>
                  <a:pt x="11156" y="349916"/>
                </a:lnTo>
                <a:lnTo>
                  <a:pt x="19491" y="353685"/>
                </a:lnTo>
                <a:lnTo>
                  <a:pt x="30412" y="353685"/>
                </a:lnTo>
                <a:lnTo>
                  <a:pt x="32925" y="353277"/>
                </a:lnTo>
                <a:lnTo>
                  <a:pt x="35386" y="352607"/>
                </a:lnTo>
                <a:lnTo>
                  <a:pt x="206441" y="352607"/>
                </a:lnTo>
                <a:lnTo>
                  <a:pt x="207040" y="352122"/>
                </a:lnTo>
                <a:lnTo>
                  <a:pt x="219874" y="338377"/>
                </a:lnTo>
                <a:lnTo>
                  <a:pt x="108494" y="338377"/>
                </a:lnTo>
                <a:lnTo>
                  <a:pt x="96109" y="334990"/>
                </a:lnTo>
                <a:lnTo>
                  <a:pt x="89015" y="327539"/>
                </a:lnTo>
                <a:lnTo>
                  <a:pt x="85797" y="320089"/>
                </a:lnTo>
                <a:lnTo>
                  <a:pt x="85039" y="316702"/>
                </a:lnTo>
                <a:lnTo>
                  <a:pt x="144157" y="275509"/>
                </a:lnTo>
                <a:lnTo>
                  <a:pt x="166352" y="259291"/>
                </a:lnTo>
                <a:lnTo>
                  <a:pt x="178219" y="248463"/>
                </a:lnTo>
                <a:lnTo>
                  <a:pt x="88442" y="248463"/>
                </a:lnTo>
                <a:lnTo>
                  <a:pt x="96400" y="189135"/>
                </a:lnTo>
                <a:lnTo>
                  <a:pt x="101565" y="174116"/>
                </a:lnTo>
                <a:lnTo>
                  <a:pt x="111702" y="162320"/>
                </a:lnTo>
                <a:lnTo>
                  <a:pt x="125323" y="154610"/>
                </a:lnTo>
                <a:lnTo>
                  <a:pt x="140943" y="151848"/>
                </a:lnTo>
                <a:lnTo>
                  <a:pt x="215727" y="151848"/>
                </a:lnTo>
                <a:lnTo>
                  <a:pt x="213949" y="142920"/>
                </a:lnTo>
                <a:lnTo>
                  <a:pt x="197247" y="119030"/>
                </a:lnTo>
                <a:lnTo>
                  <a:pt x="172178" y="103445"/>
                </a:lnTo>
                <a:lnTo>
                  <a:pt x="141006" y="97871"/>
                </a:lnTo>
                <a:close/>
              </a:path>
              <a:path w="697230" h="500380">
                <a:moveTo>
                  <a:pt x="363407" y="97871"/>
                </a:moveTo>
                <a:lnTo>
                  <a:pt x="300717" y="121476"/>
                </a:lnTo>
                <a:lnTo>
                  <a:pt x="267504" y="181701"/>
                </a:lnTo>
                <a:lnTo>
                  <a:pt x="265179" y="194893"/>
                </a:lnTo>
                <a:lnTo>
                  <a:pt x="262060" y="204502"/>
                </a:lnTo>
                <a:lnTo>
                  <a:pt x="183853" y="297603"/>
                </a:lnTo>
                <a:lnTo>
                  <a:pt x="135787" y="333369"/>
                </a:lnTo>
                <a:lnTo>
                  <a:pt x="108494" y="338377"/>
                </a:lnTo>
                <a:lnTo>
                  <a:pt x="219874" y="338377"/>
                </a:lnTo>
                <a:lnTo>
                  <a:pt x="222316" y="335757"/>
                </a:lnTo>
                <a:lnTo>
                  <a:pt x="252081" y="301592"/>
                </a:lnTo>
                <a:lnTo>
                  <a:pt x="308477" y="301592"/>
                </a:lnTo>
                <a:lnTo>
                  <a:pt x="323429" y="186570"/>
                </a:lnTo>
                <a:lnTo>
                  <a:pt x="347591" y="153725"/>
                </a:lnTo>
                <a:lnTo>
                  <a:pt x="358884" y="151754"/>
                </a:lnTo>
                <a:lnTo>
                  <a:pt x="445940" y="151754"/>
                </a:lnTo>
                <a:lnTo>
                  <a:pt x="452108" y="104174"/>
                </a:lnTo>
                <a:lnTo>
                  <a:pt x="395354" y="104174"/>
                </a:lnTo>
                <a:lnTo>
                  <a:pt x="387339" y="100530"/>
                </a:lnTo>
                <a:lnTo>
                  <a:pt x="381340" y="98659"/>
                </a:lnTo>
                <a:lnTo>
                  <a:pt x="374361" y="97969"/>
                </a:lnTo>
                <a:lnTo>
                  <a:pt x="363407" y="97871"/>
                </a:lnTo>
                <a:close/>
              </a:path>
              <a:path w="697230" h="500380">
                <a:moveTo>
                  <a:pt x="445940" y="151754"/>
                </a:moveTo>
                <a:lnTo>
                  <a:pt x="358884" y="151754"/>
                </a:lnTo>
                <a:lnTo>
                  <a:pt x="372297" y="153925"/>
                </a:lnTo>
                <a:lnTo>
                  <a:pt x="380866" y="160445"/>
                </a:lnTo>
                <a:lnTo>
                  <a:pt x="384886" y="171323"/>
                </a:lnTo>
                <a:lnTo>
                  <a:pt x="384653" y="186570"/>
                </a:lnTo>
                <a:lnTo>
                  <a:pt x="369480" y="303121"/>
                </a:lnTo>
                <a:lnTo>
                  <a:pt x="364653" y="318967"/>
                </a:lnTo>
                <a:lnTo>
                  <a:pt x="356074" y="329775"/>
                </a:lnTo>
                <a:lnTo>
                  <a:pt x="345345" y="335957"/>
                </a:lnTo>
                <a:lnTo>
                  <a:pt x="334068" y="337926"/>
                </a:lnTo>
                <a:lnTo>
                  <a:pt x="440777" y="337926"/>
                </a:lnTo>
                <a:lnTo>
                  <a:pt x="445394" y="333790"/>
                </a:lnTo>
                <a:lnTo>
                  <a:pt x="485561" y="295362"/>
                </a:lnTo>
                <a:lnTo>
                  <a:pt x="541992" y="295362"/>
                </a:lnTo>
                <a:lnTo>
                  <a:pt x="544619" y="275174"/>
                </a:lnTo>
                <a:lnTo>
                  <a:pt x="429939" y="275174"/>
                </a:lnTo>
                <a:lnTo>
                  <a:pt x="445940" y="151754"/>
                </a:lnTo>
                <a:close/>
              </a:path>
              <a:path w="697230" h="500380">
                <a:moveTo>
                  <a:pt x="670866" y="151754"/>
                </a:moveTo>
                <a:lnTo>
                  <a:pt x="591568" y="151754"/>
                </a:lnTo>
                <a:lnTo>
                  <a:pt x="604986" y="153925"/>
                </a:lnTo>
                <a:lnTo>
                  <a:pt x="613557" y="160445"/>
                </a:lnTo>
                <a:lnTo>
                  <a:pt x="617580" y="171323"/>
                </a:lnTo>
                <a:lnTo>
                  <a:pt x="617358" y="186570"/>
                </a:lnTo>
                <a:lnTo>
                  <a:pt x="602175" y="303121"/>
                </a:lnTo>
                <a:lnTo>
                  <a:pt x="597357" y="318967"/>
                </a:lnTo>
                <a:lnTo>
                  <a:pt x="588780" y="329775"/>
                </a:lnTo>
                <a:lnTo>
                  <a:pt x="578047" y="335957"/>
                </a:lnTo>
                <a:lnTo>
                  <a:pt x="566762" y="337926"/>
                </a:lnTo>
                <a:lnTo>
                  <a:pt x="693596" y="337926"/>
                </a:lnTo>
                <a:lnTo>
                  <a:pt x="694714" y="336155"/>
                </a:lnTo>
                <a:lnTo>
                  <a:pt x="696626" y="325542"/>
                </a:lnTo>
                <a:lnTo>
                  <a:pt x="694235" y="314629"/>
                </a:lnTo>
                <a:lnTo>
                  <a:pt x="688264" y="305938"/>
                </a:lnTo>
                <a:lnTo>
                  <a:pt x="679835" y="300217"/>
                </a:lnTo>
                <a:lnTo>
                  <a:pt x="675816" y="299257"/>
                </a:lnTo>
                <a:lnTo>
                  <a:pt x="659639" y="299257"/>
                </a:lnTo>
                <a:lnTo>
                  <a:pt x="674099" y="188517"/>
                </a:lnTo>
                <a:lnTo>
                  <a:pt x="671430" y="152762"/>
                </a:lnTo>
                <a:lnTo>
                  <a:pt x="670866" y="151754"/>
                </a:lnTo>
                <a:close/>
              </a:path>
              <a:path w="697230" h="500380">
                <a:moveTo>
                  <a:pt x="669957" y="297859"/>
                </a:moveTo>
                <a:lnTo>
                  <a:pt x="659639" y="299257"/>
                </a:lnTo>
                <a:lnTo>
                  <a:pt x="675816" y="299257"/>
                </a:lnTo>
                <a:lnTo>
                  <a:pt x="669957" y="297859"/>
                </a:lnTo>
                <a:close/>
              </a:path>
              <a:path w="697230" h="500380">
                <a:moveTo>
                  <a:pt x="28726" y="290483"/>
                </a:moveTo>
                <a:close/>
              </a:path>
              <a:path w="697230" h="500380">
                <a:moveTo>
                  <a:pt x="594835" y="97871"/>
                </a:moveTo>
                <a:lnTo>
                  <a:pt x="530618" y="124861"/>
                </a:lnTo>
                <a:lnTo>
                  <a:pt x="502458" y="181701"/>
                </a:lnTo>
                <a:lnTo>
                  <a:pt x="499590" y="195607"/>
                </a:lnTo>
                <a:lnTo>
                  <a:pt x="496590" y="204671"/>
                </a:lnTo>
                <a:lnTo>
                  <a:pt x="492843" y="210975"/>
                </a:lnTo>
                <a:lnTo>
                  <a:pt x="487718" y="216663"/>
                </a:lnTo>
                <a:lnTo>
                  <a:pt x="429939" y="275174"/>
                </a:lnTo>
                <a:lnTo>
                  <a:pt x="544619" y="275174"/>
                </a:lnTo>
                <a:lnTo>
                  <a:pt x="556145" y="186570"/>
                </a:lnTo>
                <a:lnTo>
                  <a:pt x="580282" y="153725"/>
                </a:lnTo>
                <a:lnTo>
                  <a:pt x="591568" y="151754"/>
                </a:lnTo>
                <a:lnTo>
                  <a:pt x="670866" y="151754"/>
                </a:lnTo>
                <a:lnTo>
                  <a:pt x="655341" y="124001"/>
                </a:lnTo>
                <a:lnTo>
                  <a:pt x="628815" y="104837"/>
                </a:lnTo>
                <a:lnTo>
                  <a:pt x="594835" y="97871"/>
                </a:lnTo>
                <a:close/>
              </a:path>
              <a:path w="697230" h="500380">
                <a:moveTo>
                  <a:pt x="215727" y="151848"/>
                </a:moveTo>
                <a:lnTo>
                  <a:pt x="140943" y="151848"/>
                </a:lnTo>
                <a:lnTo>
                  <a:pt x="153680" y="154251"/>
                </a:lnTo>
                <a:lnTo>
                  <a:pt x="160742" y="159975"/>
                </a:lnTo>
                <a:lnTo>
                  <a:pt x="163773" y="166792"/>
                </a:lnTo>
                <a:lnTo>
                  <a:pt x="164419" y="172476"/>
                </a:lnTo>
                <a:lnTo>
                  <a:pt x="158137" y="190012"/>
                </a:lnTo>
                <a:lnTo>
                  <a:pt x="141336" y="208514"/>
                </a:lnTo>
                <a:lnTo>
                  <a:pt x="117082" y="227994"/>
                </a:lnTo>
                <a:lnTo>
                  <a:pt x="88442" y="248463"/>
                </a:lnTo>
                <a:lnTo>
                  <a:pt x="178219" y="248463"/>
                </a:lnTo>
                <a:lnTo>
                  <a:pt x="191280" y="236545"/>
                </a:lnTo>
                <a:lnTo>
                  <a:pt x="211613" y="207755"/>
                </a:lnTo>
                <a:lnTo>
                  <a:pt x="220019" y="173408"/>
                </a:lnTo>
                <a:lnTo>
                  <a:pt x="215727" y="151848"/>
                </a:lnTo>
                <a:close/>
              </a:path>
              <a:path w="697230" h="500380">
                <a:moveTo>
                  <a:pt x="437258" y="0"/>
                </a:moveTo>
                <a:lnTo>
                  <a:pt x="405752" y="24250"/>
                </a:lnTo>
                <a:lnTo>
                  <a:pt x="395354" y="104174"/>
                </a:lnTo>
                <a:lnTo>
                  <a:pt x="452108" y="104174"/>
                </a:lnTo>
                <a:lnTo>
                  <a:pt x="461530" y="31496"/>
                </a:lnTo>
                <a:lnTo>
                  <a:pt x="460746" y="20356"/>
                </a:lnTo>
                <a:lnTo>
                  <a:pt x="455916" y="10718"/>
                </a:lnTo>
                <a:lnTo>
                  <a:pt x="447826" y="3594"/>
                </a:lnTo>
                <a:lnTo>
                  <a:pt x="43725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7E6FED61-607D-4EA5-A4F7-6D7CFB175200}"/>
              </a:ext>
            </a:extLst>
          </p:cNvPr>
          <p:cNvSpPr txBox="1"/>
          <p:nvPr userDrawn="1"/>
        </p:nvSpPr>
        <p:spPr>
          <a:xfrm>
            <a:off x="11802035" y="6667145"/>
            <a:ext cx="315951" cy="17959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  <a:buNone/>
            </a:pPr>
            <a:fld id="{46CCA082-9802-4EAF-9A9B-C8C63827BA5D}" type="slidenum">
              <a:rPr lang="pt-BR" sz="1000" baseline="30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‹nº›</a:t>
            </a:fld>
            <a:endParaRPr lang="pt-BR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6862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BF5B6928-EB38-4936-9781-AB4B96C1D4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1D3B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pt-BR" sz="1600" dirty="0" err="1">
              <a:solidFill>
                <a:schemeClr val="bg1"/>
              </a:solidFill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62CBC44B-B6AB-4177-8B1C-434838754C6D}"/>
              </a:ext>
            </a:extLst>
          </p:cNvPr>
          <p:cNvSpPr/>
          <p:nvPr userDrawn="1"/>
        </p:nvSpPr>
        <p:spPr>
          <a:xfrm>
            <a:off x="11480182" y="257236"/>
            <a:ext cx="432925" cy="310696"/>
          </a:xfrm>
          <a:custGeom>
            <a:avLst/>
            <a:gdLst/>
            <a:ahLst/>
            <a:cxnLst/>
            <a:rect l="l" t="t" r="r" b="b"/>
            <a:pathLst>
              <a:path w="697230" h="500380">
                <a:moveTo>
                  <a:pt x="541992" y="295362"/>
                </a:moveTo>
                <a:lnTo>
                  <a:pt x="485561" y="295362"/>
                </a:lnTo>
                <a:lnTo>
                  <a:pt x="462944" y="468278"/>
                </a:lnTo>
                <a:lnTo>
                  <a:pt x="463732" y="479427"/>
                </a:lnTo>
                <a:lnTo>
                  <a:pt x="468552" y="489075"/>
                </a:lnTo>
                <a:lnTo>
                  <a:pt x="476633" y="496204"/>
                </a:lnTo>
                <a:lnTo>
                  <a:pt x="487205" y="499796"/>
                </a:lnTo>
                <a:lnTo>
                  <a:pt x="498343" y="499018"/>
                </a:lnTo>
                <a:lnTo>
                  <a:pt x="507988" y="494190"/>
                </a:lnTo>
                <a:lnTo>
                  <a:pt x="515118" y="486097"/>
                </a:lnTo>
                <a:lnTo>
                  <a:pt x="518711" y="475524"/>
                </a:lnTo>
                <a:lnTo>
                  <a:pt x="530062" y="388323"/>
                </a:lnTo>
                <a:lnTo>
                  <a:pt x="595991" y="388323"/>
                </a:lnTo>
                <a:lnTo>
                  <a:pt x="600269" y="386689"/>
                </a:lnTo>
                <a:lnTo>
                  <a:pt x="679816" y="351706"/>
                </a:lnTo>
                <a:lnTo>
                  <a:pt x="688958" y="345275"/>
                </a:lnTo>
                <a:lnTo>
                  <a:pt x="693596" y="337926"/>
                </a:lnTo>
                <a:lnTo>
                  <a:pt x="566762" y="337926"/>
                </a:lnTo>
                <a:lnTo>
                  <a:pt x="553336" y="335757"/>
                </a:lnTo>
                <a:lnTo>
                  <a:pt x="544767" y="329241"/>
                </a:lnTo>
                <a:lnTo>
                  <a:pt x="540751" y="318366"/>
                </a:lnTo>
                <a:lnTo>
                  <a:pt x="540983" y="303121"/>
                </a:lnTo>
                <a:lnTo>
                  <a:pt x="541992" y="295362"/>
                </a:lnTo>
                <a:close/>
              </a:path>
              <a:path w="697230" h="500380">
                <a:moveTo>
                  <a:pt x="595991" y="388323"/>
                </a:moveTo>
                <a:lnTo>
                  <a:pt x="530062" y="388323"/>
                </a:lnTo>
                <a:lnTo>
                  <a:pt x="538222" y="392076"/>
                </a:lnTo>
                <a:lnTo>
                  <a:pt x="544298" y="394003"/>
                </a:lnTo>
                <a:lnTo>
                  <a:pt x="551311" y="394713"/>
                </a:lnTo>
                <a:lnTo>
                  <a:pt x="562281" y="394815"/>
                </a:lnTo>
                <a:lnTo>
                  <a:pt x="572063" y="394284"/>
                </a:lnTo>
                <a:lnTo>
                  <a:pt x="581707" y="392723"/>
                </a:lnTo>
                <a:lnTo>
                  <a:pt x="591135" y="390176"/>
                </a:lnTo>
                <a:lnTo>
                  <a:pt x="595991" y="388323"/>
                </a:lnTo>
                <a:close/>
              </a:path>
              <a:path w="697230" h="500380">
                <a:moveTo>
                  <a:pt x="206441" y="352607"/>
                </a:moveTo>
                <a:lnTo>
                  <a:pt x="35386" y="352607"/>
                </a:lnTo>
                <a:lnTo>
                  <a:pt x="46467" y="370136"/>
                </a:lnTo>
                <a:lnTo>
                  <a:pt x="62066" y="383362"/>
                </a:lnTo>
                <a:lnTo>
                  <a:pt x="82054" y="391715"/>
                </a:lnTo>
                <a:lnTo>
                  <a:pt x="106305" y="394626"/>
                </a:lnTo>
                <a:lnTo>
                  <a:pt x="149655" y="387809"/>
                </a:lnTo>
                <a:lnTo>
                  <a:pt x="183036" y="371546"/>
                </a:lnTo>
                <a:lnTo>
                  <a:pt x="206441" y="352607"/>
                </a:lnTo>
                <a:close/>
              </a:path>
              <a:path w="697230" h="500380">
                <a:moveTo>
                  <a:pt x="308477" y="301592"/>
                </a:moveTo>
                <a:lnTo>
                  <a:pt x="252081" y="301592"/>
                </a:lnTo>
                <a:lnTo>
                  <a:pt x="254506" y="341816"/>
                </a:lnTo>
                <a:lnTo>
                  <a:pt x="270767" y="370942"/>
                </a:lnTo>
                <a:lnTo>
                  <a:pt x="296722" y="388652"/>
                </a:lnTo>
                <a:lnTo>
                  <a:pt x="328225" y="394626"/>
                </a:lnTo>
                <a:lnTo>
                  <a:pt x="361366" y="391330"/>
                </a:lnTo>
                <a:lnTo>
                  <a:pt x="387964" y="380767"/>
                </a:lnTo>
                <a:lnTo>
                  <a:pt x="413985" y="361924"/>
                </a:lnTo>
                <a:lnTo>
                  <a:pt x="440777" y="337926"/>
                </a:lnTo>
                <a:lnTo>
                  <a:pt x="334068" y="337926"/>
                </a:lnTo>
                <a:lnTo>
                  <a:pt x="320636" y="335757"/>
                </a:lnTo>
                <a:lnTo>
                  <a:pt x="312067" y="329241"/>
                </a:lnTo>
                <a:lnTo>
                  <a:pt x="308051" y="318366"/>
                </a:lnTo>
                <a:lnTo>
                  <a:pt x="308278" y="303121"/>
                </a:lnTo>
                <a:lnTo>
                  <a:pt x="308477" y="301592"/>
                </a:lnTo>
                <a:close/>
              </a:path>
              <a:path w="697230" h="500380">
                <a:moveTo>
                  <a:pt x="141006" y="97871"/>
                </a:moveTo>
                <a:lnTo>
                  <a:pt x="74815" y="123282"/>
                </a:lnTo>
                <a:lnTo>
                  <a:pt x="44475" y="181701"/>
                </a:lnTo>
                <a:lnTo>
                  <a:pt x="28726" y="290546"/>
                </a:lnTo>
                <a:lnTo>
                  <a:pt x="10716" y="303299"/>
                </a:lnTo>
                <a:lnTo>
                  <a:pt x="3400" y="311727"/>
                </a:lnTo>
                <a:lnTo>
                  <a:pt x="0" y="321953"/>
                </a:lnTo>
                <a:lnTo>
                  <a:pt x="683" y="332713"/>
                </a:lnTo>
                <a:lnTo>
                  <a:pt x="5617" y="342743"/>
                </a:lnTo>
                <a:lnTo>
                  <a:pt x="11156" y="349916"/>
                </a:lnTo>
                <a:lnTo>
                  <a:pt x="19491" y="353685"/>
                </a:lnTo>
                <a:lnTo>
                  <a:pt x="30412" y="353685"/>
                </a:lnTo>
                <a:lnTo>
                  <a:pt x="32925" y="353277"/>
                </a:lnTo>
                <a:lnTo>
                  <a:pt x="35386" y="352607"/>
                </a:lnTo>
                <a:lnTo>
                  <a:pt x="206441" y="352607"/>
                </a:lnTo>
                <a:lnTo>
                  <a:pt x="207040" y="352122"/>
                </a:lnTo>
                <a:lnTo>
                  <a:pt x="219874" y="338377"/>
                </a:lnTo>
                <a:lnTo>
                  <a:pt x="108494" y="338377"/>
                </a:lnTo>
                <a:lnTo>
                  <a:pt x="96109" y="334990"/>
                </a:lnTo>
                <a:lnTo>
                  <a:pt x="89015" y="327539"/>
                </a:lnTo>
                <a:lnTo>
                  <a:pt x="85797" y="320089"/>
                </a:lnTo>
                <a:lnTo>
                  <a:pt x="85039" y="316702"/>
                </a:lnTo>
                <a:lnTo>
                  <a:pt x="144157" y="275509"/>
                </a:lnTo>
                <a:lnTo>
                  <a:pt x="166352" y="259291"/>
                </a:lnTo>
                <a:lnTo>
                  <a:pt x="178219" y="248463"/>
                </a:lnTo>
                <a:lnTo>
                  <a:pt x="88442" y="248463"/>
                </a:lnTo>
                <a:lnTo>
                  <a:pt x="96400" y="189135"/>
                </a:lnTo>
                <a:lnTo>
                  <a:pt x="101565" y="174116"/>
                </a:lnTo>
                <a:lnTo>
                  <a:pt x="111702" y="162320"/>
                </a:lnTo>
                <a:lnTo>
                  <a:pt x="125323" y="154610"/>
                </a:lnTo>
                <a:lnTo>
                  <a:pt x="140943" y="151848"/>
                </a:lnTo>
                <a:lnTo>
                  <a:pt x="215727" y="151848"/>
                </a:lnTo>
                <a:lnTo>
                  <a:pt x="213949" y="142920"/>
                </a:lnTo>
                <a:lnTo>
                  <a:pt x="197247" y="119030"/>
                </a:lnTo>
                <a:lnTo>
                  <a:pt x="172178" y="103445"/>
                </a:lnTo>
                <a:lnTo>
                  <a:pt x="141006" y="97871"/>
                </a:lnTo>
                <a:close/>
              </a:path>
              <a:path w="697230" h="500380">
                <a:moveTo>
                  <a:pt x="363407" y="97871"/>
                </a:moveTo>
                <a:lnTo>
                  <a:pt x="300717" y="121476"/>
                </a:lnTo>
                <a:lnTo>
                  <a:pt x="267504" y="181701"/>
                </a:lnTo>
                <a:lnTo>
                  <a:pt x="265179" y="194893"/>
                </a:lnTo>
                <a:lnTo>
                  <a:pt x="262060" y="204502"/>
                </a:lnTo>
                <a:lnTo>
                  <a:pt x="183853" y="297603"/>
                </a:lnTo>
                <a:lnTo>
                  <a:pt x="135787" y="333369"/>
                </a:lnTo>
                <a:lnTo>
                  <a:pt x="108494" y="338377"/>
                </a:lnTo>
                <a:lnTo>
                  <a:pt x="219874" y="338377"/>
                </a:lnTo>
                <a:lnTo>
                  <a:pt x="222316" y="335757"/>
                </a:lnTo>
                <a:lnTo>
                  <a:pt x="252081" y="301592"/>
                </a:lnTo>
                <a:lnTo>
                  <a:pt x="308477" y="301592"/>
                </a:lnTo>
                <a:lnTo>
                  <a:pt x="323429" y="186570"/>
                </a:lnTo>
                <a:lnTo>
                  <a:pt x="347591" y="153725"/>
                </a:lnTo>
                <a:lnTo>
                  <a:pt x="358884" y="151754"/>
                </a:lnTo>
                <a:lnTo>
                  <a:pt x="445940" y="151754"/>
                </a:lnTo>
                <a:lnTo>
                  <a:pt x="452108" y="104174"/>
                </a:lnTo>
                <a:lnTo>
                  <a:pt x="395354" y="104174"/>
                </a:lnTo>
                <a:lnTo>
                  <a:pt x="387339" y="100530"/>
                </a:lnTo>
                <a:lnTo>
                  <a:pt x="381340" y="98659"/>
                </a:lnTo>
                <a:lnTo>
                  <a:pt x="374361" y="97969"/>
                </a:lnTo>
                <a:lnTo>
                  <a:pt x="363407" y="97871"/>
                </a:lnTo>
                <a:close/>
              </a:path>
              <a:path w="697230" h="500380">
                <a:moveTo>
                  <a:pt x="445940" y="151754"/>
                </a:moveTo>
                <a:lnTo>
                  <a:pt x="358884" y="151754"/>
                </a:lnTo>
                <a:lnTo>
                  <a:pt x="372297" y="153925"/>
                </a:lnTo>
                <a:lnTo>
                  <a:pt x="380866" y="160445"/>
                </a:lnTo>
                <a:lnTo>
                  <a:pt x="384886" y="171323"/>
                </a:lnTo>
                <a:lnTo>
                  <a:pt x="384653" y="186570"/>
                </a:lnTo>
                <a:lnTo>
                  <a:pt x="369480" y="303121"/>
                </a:lnTo>
                <a:lnTo>
                  <a:pt x="364653" y="318967"/>
                </a:lnTo>
                <a:lnTo>
                  <a:pt x="356074" y="329775"/>
                </a:lnTo>
                <a:lnTo>
                  <a:pt x="345345" y="335957"/>
                </a:lnTo>
                <a:lnTo>
                  <a:pt x="334068" y="337926"/>
                </a:lnTo>
                <a:lnTo>
                  <a:pt x="440777" y="337926"/>
                </a:lnTo>
                <a:lnTo>
                  <a:pt x="445394" y="333790"/>
                </a:lnTo>
                <a:lnTo>
                  <a:pt x="485561" y="295362"/>
                </a:lnTo>
                <a:lnTo>
                  <a:pt x="541992" y="295362"/>
                </a:lnTo>
                <a:lnTo>
                  <a:pt x="544619" y="275174"/>
                </a:lnTo>
                <a:lnTo>
                  <a:pt x="429939" y="275174"/>
                </a:lnTo>
                <a:lnTo>
                  <a:pt x="445940" y="151754"/>
                </a:lnTo>
                <a:close/>
              </a:path>
              <a:path w="697230" h="500380">
                <a:moveTo>
                  <a:pt x="670866" y="151754"/>
                </a:moveTo>
                <a:lnTo>
                  <a:pt x="591568" y="151754"/>
                </a:lnTo>
                <a:lnTo>
                  <a:pt x="604986" y="153925"/>
                </a:lnTo>
                <a:lnTo>
                  <a:pt x="613557" y="160445"/>
                </a:lnTo>
                <a:lnTo>
                  <a:pt x="617580" y="171323"/>
                </a:lnTo>
                <a:lnTo>
                  <a:pt x="617358" y="186570"/>
                </a:lnTo>
                <a:lnTo>
                  <a:pt x="602175" y="303121"/>
                </a:lnTo>
                <a:lnTo>
                  <a:pt x="597357" y="318967"/>
                </a:lnTo>
                <a:lnTo>
                  <a:pt x="588780" y="329775"/>
                </a:lnTo>
                <a:lnTo>
                  <a:pt x="578047" y="335957"/>
                </a:lnTo>
                <a:lnTo>
                  <a:pt x="566762" y="337926"/>
                </a:lnTo>
                <a:lnTo>
                  <a:pt x="693596" y="337926"/>
                </a:lnTo>
                <a:lnTo>
                  <a:pt x="694714" y="336155"/>
                </a:lnTo>
                <a:lnTo>
                  <a:pt x="696626" y="325542"/>
                </a:lnTo>
                <a:lnTo>
                  <a:pt x="694235" y="314629"/>
                </a:lnTo>
                <a:lnTo>
                  <a:pt x="688264" y="305938"/>
                </a:lnTo>
                <a:lnTo>
                  <a:pt x="679835" y="300217"/>
                </a:lnTo>
                <a:lnTo>
                  <a:pt x="675816" y="299257"/>
                </a:lnTo>
                <a:lnTo>
                  <a:pt x="659639" y="299257"/>
                </a:lnTo>
                <a:lnTo>
                  <a:pt x="674099" y="188517"/>
                </a:lnTo>
                <a:lnTo>
                  <a:pt x="671430" y="152762"/>
                </a:lnTo>
                <a:lnTo>
                  <a:pt x="670866" y="151754"/>
                </a:lnTo>
                <a:close/>
              </a:path>
              <a:path w="697230" h="500380">
                <a:moveTo>
                  <a:pt x="669957" y="297859"/>
                </a:moveTo>
                <a:lnTo>
                  <a:pt x="659639" y="299257"/>
                </a:lnTo>
                <a:lnTo>
                  <a:pt x="675816" y="299257"/>
                </a:lnTo>
                <a:lnTo>
                  <a:pt x="669957" y="297859"/>
                </a:lnTo>
                <a:close/>
              </a:path>
              <a:path w="697230" h="500380">
                <a:moveTo>
                  <a:pt x="28726" y="290483"/>
                </a:moveTo>
                <a:close/>
              </a:path>
              <a:path w="697230" h="500380">
                <a:moveTo>
                  <a:pt x="594835" y="97871"/>
                </a:moveTo>
                <a:lnTo>
                  <a:pt x="530618" y="124861"/>
                </a:lnTo>
                <a:lnTo>
                  <a:pt x="502458" y="181701"/>
                </a:lnTo>
                <a:lnTo>
                  <a:pt x="499590" y="195607"/>
                </a:lnTo>
                <a:lnTo>
                  <a:pt x="496590" y="204671"/>
                </a:lnTo>
                <a:lnTo>
                  <a:pt x="492843" y="210975"/>
                </a:lnTo>
                <a:lnTo>
                  <a:pt x="487718" y="216663"/>
                </a:lnTo>
                <a:lnTo>
                  <a:pt x="429939" y="275174"/>
                </a:lnTo>
                <a:lnTo>
                  <a:pt x="544619" y="275174"/>
                </a:lnTo>
                <a:lnTo>
                  <a:pt x="556145" y="186570"/>
                </a:lnTo>
                <a:lnTo>
                  <a:pt x="580282" y="153725"/>
                </a:lnTo>
                <a:lnTo>
                  <a:pt x="591568" y="151754"/>
                </a:lnTo>
                <a:lnTo>
                  <a:pt x="670866" y="151754"/>
                </a:lnTo>
                <a:lnTo>
                  <a:pt x="655341" y="124001"/>
                </a:lnTo>
                <a:lnTo>
                  <a:pt x="628815" y="104837"/>
                </a:lnTo>
                <a:lnTo>
                  <a:pt x="594835" y="97871"/>
                </a:lnTo>
                <a:close/>
              </a:path>
              <a:path w="697230" h="500380">
                <a:moveTo>
                  <a:pt x="215727" y="151848"/>
                </a:moveTo>
                <a:lnTo>
                  <a:pt x="140943" y="151848"/>
                </a:lnTo>
                <a:lnTo>
                  <a:pt x="153680" y="154251"/>
                </a:lnTo>
                <a:lnTo>
                  <a:pt x="160742" y="159975"/>
                </a:lnTo>
                <a:lnTo>
                  <a:pt x="163773" y="166792"/>
                </a:lnTo>
                <a:lnTo>
                  <a:pt x="164419" y="172476"/>
                </a:lnTo>
                <a:lnTo>
                  <a:pt x="158137" y="190012"/>
                </a:lnTo>
                <a:lnTo>
                  <a:pt x="141336" y="208514"/>
                </a:lnTo>
                <a:lnTo>
                  <a:pt x="117082" y="227994"/>
                </a:lnTo>
                <a:lnTo>
                  <a:pt x="88442" y="248463"/>
                </a:lnTo>
                <a:lnTo>
                  <a:pt x="178219" y="248463"/>
                </a:lnTo>
                <a:lnTo>
                  <a:pt x="191280" y="236545"/>
                </a:lnTo>
                <a:lnTo>
                  <a:pt x="211613" y="207755"/>
                </a:lnTo>
                <a:lnTo>
                  <a:pt x="220019" y="173408"/>
                </a:lnTo>
                <a:lnTo>
                  <a:pt x="215727" y="151848"/>
                </a:lnTo>
                <a:close/>
              </a:path>
              <a:path w="697230" h="500380">
                <a:moveTo>
                  <a:pt x="437258" y="0"/>
                </a:moveTo>
                <a:lnTo>
                  <a:pt x="405752" y="24250"/>
                </a:lnTo>
                <a:lnTo>
                  <a:pt x="395354" y="104174"/>
                </a:lnTo>
                <a:lnTo>
                  <a:pt x="452108" y="104174"/>
                </a:lnTo>
                <a:lnTo>
                  <a:pt x="461530" y="31496"/>
                </a:lnTo>
                <a:lnTo>
                  <a:pt x="460746" y="20356"/>
                </a:lnTo>
                <a:lnTo>
                  <a:pt x="455916" y="10718"/>
                </a:lnTo>
                <a:lnTo>
                  <a:pt x="447826" y="3594"/>
                </a:lnTo>
                <a:lnTo>
                  <a:pt x="43725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720CA2F-6BC3-4BCF-B10B-7DA34DF24722}"/>
              </a:ext>
            </a:extLst>
          </p:cNvPr>
          <p:cNvSpPr txBox="1"/>
          <p:nvPr userDrawn="1"/>
        </p:nvSpPr>
        <p:spPr>
          <a:xfrm>
            <a:off x="11802035" y="6667145"/>
            <a:ext cx="315951" cy="17959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  <a:buNone/>
            </a:pPr>
            <a:fld id="{46CCA082-9802-4EAF-9A9B-C8C63827BA5D}" type="slidenum">
              <a:rPr lang="pt-BR" sz="1000" baseline="30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‹nº›</a:t>
            </a:fld>
            <a:endParaRPr lang="pt-BR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15892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134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1" y="6125131"/>
            <a:ext cx="746263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5707522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739817"/>
            <a:ext cx="746175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pt-BR"/>
              <a:t>Clique para editar o título Mest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CA9F67A-EDA4-4E38-8069-045316E13ABE}"/>
              </a:ext>
            </a:extLst>
          </p:cNvPr>
          <p:cNvPicPr>
            <a:picLocks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1" y="551942"/>
            <a:ext cx="2446638" cy="912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4225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54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EFD65052-34F1-415C-AC60-018A427E70A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177823" y="6163231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3554872"/>
            <a:ext cx="6477508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1304138"/>
            <a:ext cx="647750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pt-BR"/>
              <a:t>Clique para editar o títul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1567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370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5" y="637721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pt-BR"/>
              <a:t>Clique para editar o título Mestre</a:t>
            </a:r>
            <a:endParaRPr lang="en-US" dirty="0"/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235AED78-8F32-0367-0075-38E68CB163F7}"/>
              </a:ext>
            </a:extLst>
          </p:cNvPr>
          <p:cNvPicPr>
            <a:picLocks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0151" y="164708"/>
            <a:ext cx="997112" cy="37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7515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D1F9BF-2F4C-1758-D46C-A2399CC8C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1B8B0B0-8D62-0086-E31A-B4AE1E4364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FF20214-79C4-0C68-ADA6-50C6C3FED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F916F21-0FFA-DAFB-E174-6C35470172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BB8E7B9-81B4-3A63-901B-8DEA4C2DA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9044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880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9" name="Sticker" hidden="1">
            <a:extLst>
              <a:ext uri="{FF2B5EF4-FFF2-40B4-BE49-F238E27FC236}">
                <a16:creationId xmlns:a16="http://schemas.microsoft.com/office/drawing/2014/main" id="{64F3132B-1605-45D5-B06F-B703D774997D}"/>
              </a:ext>
            </a:extLst>
          </p:cNvPr>
          <p:cNvSpPr txBox="1"/>
          <p:nvPr userDrawn="1"/>
        </p:nvSpPr>
        <p:spPr bwMode="gray"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 dirty="0"/>
              <a:t>STICKER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3"/>
            </p:custDataLst>
          </p:nvPr>
        </p:nvSpPr>
        <p:spPr bwMode="gray">
          <a:xfrm>
            <a:off x="554736" y="1022441"/>
            <a:ext cx="984656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 userDrawn="1">
            <p:ph type="title" hasCustomPrompt="1"/>
            <p:custDataLst>
              <p:tags r:id="rId7"/>
            </p:custDataLst>
          </p:nvPr>
        </p:nvSpPr>
        <p:spPr bwMode="gray">
          <a:xfrm>
            <a:off x="554736" y="172212"/>
            <a:ext cx="9846564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7466209-2161-4B5A-9C2C-427BC509E352}"/>
              </a:ext>
            </a:extLst>
          </p:cNvPr>
          <p:cNvPicPr>
            <a:picLocks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8872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35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408557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5061312-332E-4343-8DB7-1E08D43D46A4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827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950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8FB094D-B5B5-4375-957F-DD30FE347F7B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7952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2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69B2753-09E1-4347-ABFF-5E297D99A478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208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503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80210"/>
            <a:ext cx="9180576" cy="499239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215F360-B9EC-4375-886B-39F80E3FDB92}"/>
              </a:ext>
            </a:extLst>
          </p:cNvPr>
          <p:cNvPicPr>
            <a:picLocks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5626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326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72212"/>
            <a:ext cx="9846564" cy="1154162"/>
          </a:xfrm>
        </p:spPr>
        <p:txBody>
          <a:bodyPr vert="horz" wrap="square">
            <a:sp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Sticker" hidden="1">
            <a:extLst>
              <a:ext uri="{FF2B5EF4-FFF2-40B4-BE49-F238E27FC236}">
                <a16:creationId xmlns:a16="http://schemas.microsoft.com/office/drawing/2014/main" id="{2B5F1846-DB86-4338-8AFA-F2C1B534B900}"/>
              </a:ext>
            </a:extLst>
          </p:cNvPr>
          <p:cNvSpPr txBox="1"/>
          <p:nvPr userDrawn="1"/>
        </p:nvSpPr>
        <p:spPr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 dirty="0"/>
              <a:t>STI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1A6A888-E32C-4B18-BBDA-3FA2DD350A31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716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B516E34-A7B9-4C57-A27F-0C5FE7AB7957}"/>
              </a:ext>
            </a:extLst>
          </p:cNvPr>
          <p:cNvPicPr>
            <a:picLocks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3667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E8E490-BED6-461A-8A68-1690328DE38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757" y="-138896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3046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EB4FA6-AF34-4C7E-9980-A4096B6AC81C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196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12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585D32C4-C36A-4DFE-883F-6ECA1D071C8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32435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77287"/>
            <a:ext cx="6513722" cy="1846659"/>
          </a:xfrm>
          <a:prstGeom prst="rect">
            <a:avLst/>
          </a:prstGeom>
        </p:spPr>
        <p:txBody>
          <a:bodyPr vert="horz" wrap="square" rIns="365760" anchor="ctr" anchorCtr="0">
            <a:spAutoFit/>
          </a:bodyPr>
          <a:lstStyle>
            <a:lvl1pPr rtl="0">
              <a:defRPr sz="6000" b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34725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647C707-7575-CF09-3B09-D10DEA1FB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C9BBDDA-9AE2-46D3-7199-86B8FDA3A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23B245E-74DB-CE9D-F632-FA15D5CFF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2E04058-10BA-0520-F2C5-1A5F4FB300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D1133AF-96CE-FB97-FD63-3C6106AD8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98812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Conteúdo">
  <p:cSld name="Título e Conteúdo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 descr="Logotipo, nome da empresa&#10;&#10;Descrição gerada automaticamente">
            <a:extLst>
              <a:ext uri="{FF2B5EF4-FFF2-40B4-BE49-F238E27FC236}">
                <a16:creationId xmlns:a16="http://schemas.microsoft.com/office/drawing/2014/main" id="{0D484463-79B5-7AB6-F63B-6FEA866EB3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98" b="28047"/>
          <a:stretch/>
        </p:blipFill>
        <p:spPr>
          <a:xfrm>
            <a:off x="10900842" y="5665"/>
            <a:ext cx="1119074" cy="527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4717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uas Partes de Conteúdo" type="twoObj">
  <p:cSld name="Duas Partes de Conteúdo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2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20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6290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ção" type="twoTxTwoObj">
  <p:cSld name="Comparação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21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21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" name="Google Shape;50;p21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2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" name="Google Shape;52;p2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84353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mente Título" type="titleOnly">
  <p:cSld name="Somente Título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0546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 Branco" type="blank">
  <p:cSld name="Em Branco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  <p:pic>
        <p:nvPicPr>
          <p:cNvPr id="65" name="Google Shape;65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23139" y="168456"/>
            <a:ext cx="1150596" cy="537661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66;p23"/>
          <p:cNvPicPr preferRelativeResize="0"/>
          <p:nvPr/>
        </p:nvPicPr>
        <p:blipFill rotWithShape="1">
          <a:blip r:embed="rId3">
            <a:alphaModFix/>
          </a:blip>
          <a:srcRect r="77836"/>
          <a:stretch/>
        </p:blipFill>
        <p:spPr>
          <a:xfrm>
            <a:off x="159152" y="-331058"/>
            <a:ext cx="1044000" cy="15700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193314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údo com Legenda" type="objTx">
  <p:cSld name="Conteúdo com Legenda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2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24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70" name="Google Shape;70;p24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1" name="Google Shape;71;p2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840835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m com Legenda" type="picTx">
  <p:cSld name="Imagem com Legenda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5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5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77" name="Google Shape;77;p25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8" name="Google Shape;78;p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00206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Texto Vertical" type="vertTx">
  <p:cSld name="Título e Texto Vertical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2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26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" name="Google Shape;84;p2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2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27682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o e Título Vertical" type="vertTitleAndTx">
  <p:cSld name="Texto e Título Vertical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7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7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2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2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2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093272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9_Custom Layout">
  <p:cSld name="29_Custom Layout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Google Shape;94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23139" y="168456"/>
            <a:ext cx="1150596" cy="537661"/>
          </a:xfrm>
          <a:prstGeom prst="rect">
            <a:avLst/>
          </a:prstGeom>
          <a:noFill/>
          <a:ln>
            <a:noFill/>
          </a:ln>
        </p:spPr>
      </p:pic>
      <p:pic>
        <p:nvPicPr>
          <p:cNvPr id="95" name="Google Shape;95;p28"/>
          <p:cNvPicPr preferRelativeResize="0"/>
          <p:nvPr/>
        </p:nvPicPr>
        <p:blipFill rotWithShape="1">
          <a:blip r:embed="rId3">
            <a:alphaModFix/>
          </a:blip>
          <a:srcRect r="77836"/>
          <a:stretch/>
        </p:blipFill>
        <p:spPr>
          <a:xfrm>
            <a:off x="159152" y="-331058"/>
            <a:ext cx="1044000" cy="15700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15662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C1928A-CFD6-50C9-3EFC-F37B02CCD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0A19C53-C19B-C0A7-8983-94E783B456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BD45D43-0128-DAF6-9B0E-B4E02595BC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A7F0D8D-EC96-FECE-2B0A-7799E77C0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9F84056-970C-2BAD-BA44-B3F3C9E20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89214EE-501A-99FB-C118-445995A56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55951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53AF274-67A2-4A18-AA64-F4F47695B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E726FF7-D9AA-48F4-845D-2BFD90AC5C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FF16642-7FF5-4692-98D0-284ADA881D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075014-94D2-4C3A-8D96-9C2A59331C8B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D0DD137-6956-4DA4-8284-8D963060F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CB82326-EDAD-4AFC-8B3A-E92A98499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B9597-668F-41AD-9FFD-1700E3CA180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40155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7794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40000" y="683965"/>
            <a:ext cx="11124000" cy="3046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2200" b="0" i="0" dirty="0">
                <a:latin typeface="FT Base" pitchFamily="2" charset="77"/>
                <a:sym typeface="Mulish" pitchFamily="2" charset="0"/>
              </a:defRPr>
            </a:lvl1pPr>
          </a:lstStyle>
          <a:p>
            <a:pPr lvl="0"/>
            <a:r>
              <a:rPr lang="en-US" dirty="0"/>
              <a:t>Title (one or two lines)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b="0" i="0" dirty="0">
                <a:latin typeface="FT Base" pitchFamily="2" charset="77"/>
                <a:sym typeface="Mulish" pitchFamily="2" charset="0"/>
              </a:rPr>
              <a:t>Source: …</a:t>
            </a:r>
          </a:p>
        </p:txBody>
      </p:sp>
      <p:sp>
        <p:nvSpPr>
          <p:cNvPr id="12" name="SlideLogoText" hidden="1">
            <a:extLst>
              <a:ext uri="{FF2B5EF4-FFF2-40B4-BE49-F238E27FC236}">
                <a16:creationId xmlns:a16="http://schemas.microsoft.com/office/drawing/2014/main" id="{654495FC-B9E7-4168-A313-50737F25F0A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9561475" y="6499381"/>
            <a:ext cx="1793761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i="0" kern="1200" dirty="0">
                <a:solidFill>
                  <a:schemeClr val="tx1"/>
                </a:solidFill>
                <a:latin typeface="FT Base Semibold" pitchFamily="2" charset="77"/>
                <a:ea typeface="+mn-ea"/>
                <a:cs typeface="Arial" panose="020B0604020202020204" pitchFamily="34" charset="0"/>
                <a:sym typeface="Mulish" pitchFamily="2" charset="0"/>
              </a:rPr>
              <a:t>Strategic Update </a:t>
            </a:r>
            <a:r>
              <a:rPr lang="en-US" sz="900" b="0" i="0" kern="1200" dirty="0">
                <a:solidFill>
                  <a:schemeClr val="tx1"/>
                </a:solidFill>
                <a:latin typeface="FT Base" pitchFamily="2" charset="77"/>
                <a:ea typeface="+mn-ea"/>
                <a:cs typeface="Arial" panose="020B0604020202020204" pitchFamily="34" charset="0"/>
                <a:sym typeface="Mulish" pitchFamily="2" charset="0"/>
              </a:rPr>
              <a:t>2021 – 2025   |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F0F6D92B-8C7F-D9C1-C833-9632901EF6E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7600" y="237600"/>
            <a:ext cx="936107" cy="34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2578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2776483-6D78-4DC2-877D-B5FE8E16F5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C33CBD1-8036-48BB-A59D-3A6E7BC713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FE38E47-A118-4B85-A869-780184BB06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BFEC309-B18E-4717-8EB0-17D0D5A15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89AB485-E812-4F73-A09F-ECCE3AD8E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19377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A0E1ED6-C59B-45B5-B5D5-CF97A03AC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3154A4E-CB31-4932-8B23-85DFD25B5E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B70E376-AB34-4F26-9FA4-50DEA55B71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B997E2B-DD28-45FE-8FD2-DB255C202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3E18354-242A-4AB2-B3F7-E0E1916E79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37251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9AF75ED-8613-4060-88D2-E58095B2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568EF4C-2D47-4F84-BAEC-5B747AC09F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03F860-B888-441A-8F21-9352634007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E4D71F7-831A-436C-8EB7-A0871FC3E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548316B-9E70-40BC-A8E3-3A6906C5A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95491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27D127A-8D31-4115-82FC-5C54AE772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E026224-B85D-416D-B68D-631581B334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5C375C8-93C2-4E42-A146-8693403BC1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38E4DCB-8887-46B3-B1D5-EFE425B404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E67BA11-8AE5-453B-A648-68553E99E1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58AD511-B294-4771-8A05-F994D61C6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710705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25C936E-1B4B-4243-A675-790F57A54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C1C8D47-A312-45BF-8E05-9682735DC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CFCB3F8-EFBF-4470-BB13-60F860AA5E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5FFF4344-0DB3-4557-A7F0-23EE23E26E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4045A25-3C9A-416B-A2CB-5AE675F0FFF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A0F5774E-18FD-4BFE-927B-5671467D42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7B77850-DF3C-454E-9F47-4F94B7B0F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E2B0074-4543-4091-9655-7008D71FE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880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82884A7-6D3C-435C-83F6-ACCC96ED2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917AA72-3BD5-4A5A-B06A-FB79E610B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4DF9503-29E4-46CB-AE40-53E61A84D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BC79EFF-C0B0-4971-9930-C7F25CA82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394366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5104E84A-84D1-41E5-B368-30F47FB65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23B685C-A315-42E8-AFE3-A70882067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50EE689-D582-407B-9006-2DD095FCE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708374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F4D5837-0D5B-44DA-961E-9DAEB9DFC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C981C6F-BDF3-4EFD-B287-02747E738E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7AB6240-8441-4D42-A9D2-3D3F660802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0377D82F-91F6-44F2-A1C7-F8B43C9C6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B017F1B-0A9C-4268-BC8D-426030D181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D85C944-95D4-47B1-97CF-B3388F8CC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0455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DB6873D-4F06-E470-92AD-773BAE1D7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A491D43-273D-4D98-FD30-DC8B774818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5E8D072-3F75-08D4-992F-24E86294CD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3E5DE4FA-F207-D8BB-4B33-ADC55AEFFB1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60FE209-86BB-B352-C154-275975DCA7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FD57B95-D244-DB37-B538-EBFC85AFCE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5D7FD4F6-074F-C4DC-1D97-3190BCE25D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908C16A-450B-0EF2-8FDB-098A65241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56835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F97CDA0-82EE-4FEF-A69C-59BB58340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7EB57362-0408-432C-9735-88962B15A1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960CCC5-B244-46D1-B91B-D27BE93EE1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F5C6C88-D6A1-4682-A15D-953F4FFA5E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0898C0F-925E-49DF-8576-04EDD5EE4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01D1CE2-D19F-4974-9A68-35A8F3C3C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99282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5FA99A-2D21-4ACF-AFA7-6C5BC4028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66604D59-CCA4-4BD8-BA0B-B1DC912F3D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B6E7903-A44B-488B-B9B5-A7AF0975F2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B8DD7D-661B-4D54-8ADB-1ADE79743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9551148-F8D5-4DC6-BEA8-27B9D339C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411692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2FB7914-0170-4F29-93C0-4D147A9A18B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E61FE05-C13A-4A8B-B138-A8C5E395F4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5A5B27F-7767-45DC-A0A5-652712EEA7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A7FA9A8-B853-43E6-9087-BA7635E71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E8A405A-3735-4B75-A56D-59CAC0A5E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62016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200">
                <a:solidFill>
                  <a:schemeClr val="tx2">
                    <a:lumMod val="50000"/>
                    <a:lumOff val="50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449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1056">
          <p15:clr>
            <a:srgbClr val="FBAE40"/>
          </p15:clr>
        </p15:guide>
        <p15:guide id="2" pos="14304">
          <p15:clr>
            <a:srgbClr val="FBAE40"/>
          </p15:clr>
        </p15:guide>
        <p15:guide id="3" orient="horz" pos="8064">
          <p15:clr>
            <a:srgbClr val="FBAE40"/>
          </p15:clr>
        </p15:guide>
        <p15:guide id="4" orient="horz" pos="576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iagram&#10;&#10;Description automatically generated">
            <a:extLst>
              <a:ext uri="{FF2B5EF4-FFF2-40B4-BE49-F238E27FC236}">
                <a16:creationId xmlns:a16="http://schemas.microsoft.com/office/drawing/2014/main" id="{EFBEA591-5928-97C0-6477-4920BC904A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5248" y="-64827"/>
            <a:ext cx="12422496" cy="6987654"/>
          </a:xfrm>
          <a:prstGeom prst="rect">
            <a:avLst/>
          </a:prstGeom>
        </p:spPr>
      </p:pic>
      <p:pic>
        <p:nvPicPr>
          <p:cNvPr id="3" name="Picture 2" descr="A picture containing diagram&#10;&#10;Description automatically generated">
            <a:extLst>
              <a:ext uri="{FF2B5EF4-FFF2-40B4-BE49-F238E27FC236}">
                <a16:creationId xmlns:a16="http://schemas.microsoft.com/office/drawing/2014/main" id="{0C9F8582-8581-02AD-09C3-155914A04F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15248" y="-64827"/>
            <a:ext cx="12422496" cy="6987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15339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5134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1" y="6125131"/>
            <a:ext cx="746263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5707522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739817"/>
            <a:ext cx="746175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CA9F67A-EDA4-4E38-8069-045316E13ABE}"/>
              </a:ext>
            </a:extLst>
          </p:cNvPr>
          <p:cNvPicPr>
            <a:picLocks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1" y="551942"/>
            <a:ext cx="2446638" cy="912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5810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5403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EFD65052-34F1-415C-AC60-018A427E70A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177823" y="6163231"/>
            <a:ext cx="746263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3554872"/>
            <a:ext cx="6477508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8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1304138"/>
            <a:ext cx="6477509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000" b="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0982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370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5" y="637721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9B9BBBE-145E-48CE-98B4-C058153BA73B}"/>
              </a:ext>
            </a:extLst>
          </p:cNvPr>
          <p:cNvPicPr>
            <a:picLocks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0233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880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9" name="Sticker" hidden="1">
            <a:extLst>
              <a:ext uri="{FF2B5EF4-FFF2-40B4-BE49-F238E27FC236}">
                <a16:creationId xmlns:a16="http://schemas.microsoft.com/office/drawing/2014/main" id="{64F3132B-1605-45D5-B06F-B703D774997D}"/>
              </a:ext>
            </a:extLst>
          </p:cNvPr>
          <p:cNvSpPr txBox="1"/>
          <p:nvPr userDrawn="1"/>
        </p:nvSpPr>
        <p:spPr bwMode="gray"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 dirty="0"/>
              <a:t>STICKER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3"/>
            </p:custDataLst>
          </p:nvPr>
        </p:nvSpPr>
        <p:spPr bwMode="gray">
          <a:xfrm>
            <a:off x="554736" y="1022441"/>
            <a:ext cx="984656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 userDrawn="1">
            <p:ph type="title" hasCustomPrompt="1"/>
            <p:custDataLst>
              <p:tags r:id="rId7"/>
            </p:custDataLst>
          </p:nvPr>
        </p:nvSpPr>
        <p:spPr bwMode="gray">
          <a:xfrm>
            <a:off x="554736" y="172212"/>
            <a:ext cx="9846564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7466209-2161-4B5A-9C2C-427BC509E352}"/>
              </a:ext>
            </a:extLst>
          </p:cNvPr>
          <p:cNvPicPr>
            <a:picLocks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7105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357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408557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5061312-332E-4343-8DB7-1E08D43D46A4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913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7FB9F0B-4FC9-F994-4398-410DAB534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9AF7E97-6396-E178-0B1C-9CB271115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3686FB4-0A4A-C49D-33E3-C748B781A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5ED612CF-EEF9-8CE6-7DCA-BB8BD8C06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384111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950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8FB094D-B5B5-4375-957F-DD30FE347F7B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6600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244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69B2753-09E1-4347-ABFF-5E297D99A478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195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503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80210"/>
            <a:ext cx="9180576" cy="499239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215F360-B9EC-4375-886B-39F80E3FDB92}"/>
              </a:ext>
            </a:extLst>
          </p:cNvPr>
          <p:cNvPicPr>
            <a:picLocks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1412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326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4736" y="172212"/>
            <a:ext cx="9846564" cy="1154162"/>
          </a:xfrm>
        </p:spPr>
        <p:txBody>
          <a:bodyPr vert="horz" wrap="square">
            <a:sp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Sticker" hidden="1">
            <a:extLst>
              <a:ext uri="{FF2B5EF4-FFF2-40B4-BE49-F238E27FC236}">
                <a16:creationId xmlns:a16="http://schemas.microsoft.com/office/drawing/2014/main" id="{2B5F1846-DB86-4338-8AFA-F2C1B534B900}"/>
              </a:ext>
            </a:extLst>
          </p:cNvPr>
          <p:cNvSpPr txBox="1"/>
          <p:nvPr userDrawn="1"/>
        </p:nvSpPr>
        <p:spPr>
          <a:xfrm>
            <a:off x="558489" y="1401800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 dirty="0"/>
              <a:t>STI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1A6A888-E32C-4B18-BBDA-3FA2DD350A31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0117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B516E34-A7B9-4C57-A27F-0C5FE7AB7957}"/>
              </a:ext>
            </a:extLst>
          </p:cNvPr>
          <p:cNvPicPr>
            <a:picLocks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2" y="158750"/>
            <a:ext cx="1031425" cy="38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6119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E8E490-BED6-461A-8A68-1690328DE38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8416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DEB4FA6-AF34-4C7E-9980-A4096B6AC81C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7582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200">
                <a:solidFill>
                  <a:schemeClr val="tx2">
                    <a:lumMod val="50000"/>
                    <a:lumOff val="50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819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1056">
          <p15:clr>
            <a:srgbClr val="FBAE40"/>
          </p15:clr>
        </p15:guide>
        <p15:guide id="2" pos="14304">
          <p15:clr>
            <a:srgbClr val="FBAE40"/>
          </p15:clr>
        </p15:guide>
        <p15:guide id="3" orient="horz" pos="8064">
          <p15:clr>
            <a:srgbClr val="FBAE40"/>
          </p15:clr>
        </p15:guide>
        <p15:guide id="4" orient="horz" pos="57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2776483-6D78-4DC2-877D-B5FE8E16F5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C33CBD1-8036-48BB-A59D-3A6E7BC713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FE38E47-A118-4B85-A869-780184BB06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BFEC309-B18E-4717-8EB0-17D0D5A15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89AB485-E812-4F73-A09F-ECCE3AD8E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676069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A0E1ED6-C59B-45B5-B5D5-CF97A03AC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3154A4E-CB31-4932-8B23-85DFD25B5E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B70E376-AB34-4F26-9FA4-50DEA55B71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B997E2B-DD28-45FE-8FD2-DB255C202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3E18354-242A-4AB2-B3F7-E0E1916E79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771505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34865CD-D451-344A-776E-A86B72B52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05AC168-0357-24F4-0084-0ADC914CA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2FC61E6-A465-AAE8-4A4A-A330137BF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904355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9AF75ED-8613-4060-88D2-E58095B27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568EF4C-2D47-4F84-BAEC-5B747AC09F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403F860-B888-441A-8F21-9352634007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E4D71F7-831A-436C-8EB7-A0871FC3E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548316B-9E70-40BC-A8E3-3A6906C5A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94540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27D127A-8D31-4115-82FC-5C54AE7729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E026224-B85D-416D-B68D-631581B334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5C375C8-93C2-4E42-A146-8693403BC1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38E4DCB-8887-46B3-B1D5-EFE425B404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E67BA11-8AE5-453B-A648-68553E99E1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58AD511-B294-4771-8A05-F994D61C6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0064381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25C936E-1B4B-4243-A675-790F57A542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C1C8D47-A312-45BF-8E05-9682735DC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CFCB3F8-EFBF-4470-BB13-60F860AA5E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5FFF4344-0DB3-4557-A7F0-23EE23E26E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4045A25-3C9A-416B-A2CB-5AE675F0FFF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A0F5774E-18FD-4BFE-927B-5671467D42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7B77850-DF3C-454E-9F47-4F94B7B0F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E2B0074-4543-4091-9655-7008D71FE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91039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82884A7-6D3C-435C-83F6-ACCC96ED2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917AA72-3BD5-4A5A-B06A-FB79E610B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4DF9503-29E4-46CB-AE40-53E61A84D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6BC79EFF-C0B0-4971-9930-C7F25CA82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00067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5104E84A-84D1-41E5-B368-30F47FB65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623B685C-A315-42E8-AFE3-A70882067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50EE689-D582-407B-9006-2DD095FCE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028667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F4D5837-0D5B-44DA-961E-9DAEB9DFC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C981C6F-BDF3-4EFD-B287-02747E738E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7AB6240-8441-4D42-A9D2-3D3F660802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0377D82F-91F6-44F2-A1C7-F8B43C9C6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B017F1B-0A9C-4268-BC8D-426030D181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D85C944-95D4-47B1-97CF-B3388F8CC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986657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F97CDA0-82EE-4FEF-A69C-59BB58340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7EB57362-0408-432C-9735-88962B15A1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2960CCC5-B244-46D1-B91B-D27BE93EE1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F5C6C88-D6A1-4682-A15D-953F4FFA5E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0898C0F-925E-49DF-8576-04EDD5EE4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01D1CE2-D19F-4974-9A68-35A8F3C3C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21342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5FA99A-2D21-4ACF-AFA7-6C5BC4028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66604D59-CCA4-4BD8-BA0B-B1DC912F3D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B6E7903-A44B-488B-B9B5-A7AF0975F2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B8DD7D-661B-4D54-8ADB-1ADE79743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9551148-F8D5-4DC6-BEA8-27B9D339C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7397491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2FB7914-0170-4F29-93C0-4D147A9A18B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E61FE05-C13A-4A8B-B138-A8C5E395F4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5A5B27F-7767-45DC-A0A5-652712EEA7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A7FA9A8-B853-43E6-9087-BA7635E71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E8A405A-3735-4B75-A56D-59CAC0A5E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540111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buFontTx/>
              <a:buNone/>
              <a:defRPr sz="1200">
                <a:solidFill>
                  <a:schemeClr val="tx2">
                    <a:lumMod val="50000"/>
                    <a:lumOff val="50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882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extLst>
    <p:ext uri="{DCECCB84-F9BA-43D5-87BE-67443E8EF086}">
      <p15:sldGuideLst xmlns:p15="http://schemas.microsoft.com/office/powerpoint/2012/main">
        <p15:guide id="1" pos="1056">
          <p15:clr>
            <a:srgbClr val="FBAE40"/>
          </p15:clr>
        </p15:guide>
        <p15:guide id="2" pos="14304">
          <p15:clr>
            <a:srgbClr val="FBAE40"/>
          </p15:clr>
        </p15:guide>
        <p15:guide id="3" orient="horz" pos="8064">
          <p15:clr>
            <a:srgbClr val="FBAE40"/>
          </p15:clr>
        </p15:guide>
        <p15:guide id="4" orient="horz" pos="57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148CB5-559B-C23A-FD22-37542A5E1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B8968B5-7B47-AAF5-E958-BE38A1CF76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9E749A3-66AF-1FBC-449F-E07D31BDBC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447013C7-5DF4-4656-A855-B97C7E5D2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23C5D1D-AE85-2715-06CA-30F837FE03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9A4D42A-6F0E-8AB2-5131-0A78449D8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736773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E8E490-BED6-461A-8A68-1690328DE38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0885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D929E2-28AA-79F9-670A-0C51380B9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38930BA5-5D64-4B99-A3C9-E2276DE6BE1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725C625C-C749-18CF-A30B-B158D0DEE0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0A94733F-2C5A-4A8A-BE7A-09E235A597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732F80D-ABD2-0F5A-6C1C-5D595456A3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071A356D-DBA3-4D75-EC62-A1756349D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06222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heme" Target="../theme/theme2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tags" Target="../tags/tag39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3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oleObject" Target="../embeddings/oleObject3.bin"/><Relationship Id="rId8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tags" Target="../tags/tag120.xml"/><Relationship Id="rId26" Type="http://schemas.openxmlformats.org/officeDocument/2006/relationships/tags" Target="../tags/tag128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123.xml"/><Relationship Id="rId34" Type="http://schemas.openxmlformats.org/officeDocument/2006/relationships/tags" Target="../tags/tag136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tags" Target="../tags/tag119.xml"/><Relationship Id="rId25" Type="http://schemas.openxmlformats.org/officeDocument/2006/relationships/tags" Target="../tags/tag127.xml"/><Relationship Id="rId33" Type="http://schemas.openxmlformats.org/officeDocument/2006/relationships/tags" Target="../tags/tag135.xml"/><Relationship Id="rId2" Type="http://schemas.openxmlformats.org/officeDocument/2006/relationships/slideLayout" Target="../slideLayouts/slideLayout56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29" Type="http://schemas.openxmlformats.org/officeDocument/2006/relationships/tags" Target="../tags/tag131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tags" Target="../tags/tag126.xml"/><Relationship Id="rId32" Type="http://schemas.openxmlformats.org/officeDocument/2006/relationships/tags" Target="../tags/tag134.xml"/><Relationship Id="rId5" Type="http://schemas.openxmlformats.org/officeDocument/2006/relationships/slideLayout" Target="../slideLayouts/slideLayout59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28" Type="http://schemas.openxmlformats.org/officeDocument/2006/relationships/tags" Target="../tags/tag130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64.xml"/><Relationship Id="rId19" Type="http://schemas.openxmlformats.org/officeDocument/2006/relationships/tags" Target="../tags/tag121.xml"/><Relationship Id="rId31" Type="http://schemas.openxmlformats.org/officeDocument/2006/relationships/tags" Target="../tags/tag13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theme" Target="../theme/theme6.xml"/><Relationship Id="rId22" Type="http://schemas.openxmlformats.org/officeDocument/2006/relationships/tags" Target="../tags/tag124.xml"/><Relationship Id="rId27" Type="http://schemas.openxmlformats.org/officeDocument/2006/relationships/tags" Target="../tags/tag129.xml"/><Relationship Id="rId30" Type="http://schemas.openxmlformats.org/officeDocument/2006/relationships/tags" Target="../tags/tag132.xml"/><Relationship Id="rId35" Type="http://schemas.openxmlformats.org/officeDocument/2006/relationships/oleObject" Target="../embeddings/oleObject17.bin"/><Relationship Id="rId8" Type="http://schemas.openxmlformats.org/officeDocument/2006/relationships/slideLayout" Target="../slideLayouts/slideLayout6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19A47979-B3E5-D72C-C7CC-69BABBF06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F37F4AC-C292-4E3D-4E1B-52FF31BD80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5DB9377-C75B-21B0-456A-7E4B2DC81B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B3ECDB-EFAA-4C1D-A6F4-BAB582A73252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979478B-0C1B-6111-53A4-8FF42C8602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5449A91-F7D7-079D-A345-603A794717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1FC127-3F05-4576-9556-4A80AD36611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53684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96396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5" imgW="413" imgH="416" progId="TCLayout.ActiveDocument.1">
                  <p:embed/>
                </p:oleObj>
              </mc:Choice>
              <mc:Fallback>
                <p:oleObj name="Slide do think-cell" r:id="rId2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59C5EA-2A58-4DB5-AAE2-EB77F19226C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00" b="0" i="0" baseline="0" dirty="0">
              <a:solidFill>
                <a:schemeClr val="bg1"/>
              </a:solidFill>
              <a:latin typeface="Mulish" pitchFamily="2" charset="0"/>
              <a:ea typeface="+mj-ea"/>
              <a:cs typeface="+mj-cs"/>
              <a:sym typeface="Mulish" pitchFamily="2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Mulish" pitchFamily="2" charset="0"/>
                <a:ea typeface="+mn-ea"/>
                <a:cs typeface="Arial" panose="020B0604020202020204" pitchFamily="34" charset="0"/>
                <a:sym typeface="Mulish" pitchFamily="2" charset="0"/>
              </a:rPr>
              <a:t>Footnotes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14801" y="4322824"/>
            <a:ext cx="941699" cy="1717282"/>
            <a:chOff x="9585951" y="2980105"/>
            <a:chExt cx="941699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Mulish" pitchFamily="2" charset="0"/>
                <a:sym typeface="Mulish" pitchFamily="2" charset="0"/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88315" y="1374156"/>
            <a:ext cx="968185" cy="1731859"/>
            <a:chOff x="7723680" y="1702457"/>
            <a:chExt cx="968185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Mulish" pitchFamily="2" charset="0"/>
                  <a:sym typeface="Mulish" pitchFamily="2" charset="0"/>
                </a:endParaRPr>
              </a:p>
            </p:txBody>
          </p:sp>
          <p:sp>
            <p:nvSpPr>
              <p:cNvPr id="168" name="Arc 167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Mulish" pitchFamily="2" charset="0"/>
                  <a:sym typeface="Mulish" pitchFamily="2" charset="0"/>
                </a:endParaRPr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Mulish" pitchFamily="2" charset="0"/>
                  <a:sym typeface="Mulish" pitchFamily="2" charset="0"/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Mulish" pitchFamily="2" charset="0"/>
                  <a:sym typeface="Mulish" pitchFamily="2" charset="0"/>
                </a:endParaRPr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Mulish" pitchFamily="2" charset="0"/>
                  <a:sym typeface="Mulish" pitchFamily="2" charset="0"/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Mulish" pitchFamily="2" charset="0"/>
                  <a:sym typeface="Mulish" pitchFamily="2" charset="0"/>
                </a:endParaRPr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Mulish" pitchFamily="2" charset="0"/>
                  <a:sym typeface="Mulish" pitchFamily="2" charset="0"/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Mulish" pitchFamily="2" charset="0"/>
                  <a:sym typeface="Mulish" pitchFamily="2" charset="0"/>
                </a:endParaRPr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  <a:latin typeface="Mulish" pitchFamily="2" charset="0"/>
                  <a:sym typeface="Mulish" pitchFamily="2" charset="0"/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Mulish" pitchFamily="2" charset="0"/>
                  <a:sym typeface="Mulish" pitchFamily="2" charset="0"/>
                </a:endParaRPr>
              </a:p>
            </p:txBody>
          </p:sp>
        </p:grp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24723" y="3235276"/>
            <a:ext cx="1231777" cy="958286"/>
            <a:chOff x="4372690" y="3739101"/>
            <a:chExt cx="1231777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155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Mulish" pitchFamily="2" charset="0"/>
                  <a:sym typeface="Mulish" pitchFamily="2" charset="0"/>
                </a:rPr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latin typeface="Mulish" pitchFamily="2" charset="0"/>
                <a:ea typeface="+mn-ea"/>
                <a:sym typeface="Mulish" pitchFamily="2" charset="0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latin typeface="Mulish" pitchFamily="2" charset="0"/>
                <a:ea typeface="+mn-ea"/>
                <a:sym typeface="Mulish" pitchFamily="2" charset="0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latin typeface="Mulish" pitchFamily="2" charset="0"/>
                <a:ea typeface="+mn-ea"/>
                <a:sym typeface="Mulish" pitchFamily="2" charset="0"/>
              </a:endParaRPr>
            </a:p>
          </p:txBody>
        </p: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3120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 dirty="0">
                <a:latin typeface="Mulish" pitchFamily="2" charset="0"/>
                <a:sym typeface="Mulish" pitchFamily="2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2171700"/>
            <a:ext cx="3049253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latin typeface="Mulish" pitchFamily="2" charset="0"/>
                <a:sym typeface="Mulish" pitchFamily="2" charset="0"/>
              </a:rPr>
              <a:t>Above Chart Exhibit Titl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dirty="0">
                <a:latin typeface="Mulish" pitchFamily="2" charset="0"/>
                <a:sym typeface="Mulish" pitchFamily="2" charset="0"/>
              </a:rPr>
              <a:t>Unit of Measure</a:t>
            </a:r>
          </a:p>
        </p:txBody>
      </p:sp>
      <p:sp>
        <p:nvSpPr>
          <p:cNvPr id="173" name="object 3">
            <a:extLst>
              <a:ext uri="{FF2B5EF4-FFF2-40B4-BE49-F238E27FC236}">
                <a16:creationId xmlns:a16="http://schemas.microsoft.com/office/drawing/2014/main" id="{F72BB4BA-0404-4173-A7E5-EE15AE563BA4}"/>
              </a:ext>
            </a:extLst>
          </p:cNvPr>
          <p:cNvSpPr/>
          <p:nvPr userDrawn="1"/>
        </p:nvSpPr>
        <p:spPr>
          <a:xfrm>
            <a:off x="11480182" y="257236"/>
            <a:ext cx="432925" cy="310696"/>
          </a:xfrm>
          <a:custGeom>
            <a:avLst/>
            <a:gdLst/>
            <a:ahLst/>
            <a:cxnLst/>
            <a:rect l="l" t="t" r="r" b="b"/>
            <a:pathLst>
              <a:path w="697230" h="500380">
                <a:moveTo>
                  <a:pt x="541992" y="295362"/>
                </a:moveTo>
                <a:lnTo>
                  <a:pt x="485561" y="295362"/>
                </a:lnTo>
                <a:lnTo>
                  <a:pt x="462944" y="468278"/>
                </a:lnTo>
                <a:lnTo>
                  <a:pt x="463732" y="479427"/>
                </a:lnTo>
                <a:lnTo>
                  <a:pt x="468552" y="489075"/>
                </a:lnTo>
                <a:lnTo>
                  <a:pt x="476633" y="496204"/>
                </a:lnTo>
                <a:lnTo>
                  <a:pt x="487205" y="499796"/>
                </a:lnTo>
                <a:lnTo>
                  <a:pt x="498343" y="499018"/>
                </a:lnTo>
                <a:lnTo>
                  <a:pt x="507988" y="494190"/>
                </a:lnTo>
                <a:lnTo>
                  <a:pt x="515118" y="486097"/>
                </a:lnTo>
                <a:lnTo>
                  <a:pt x="518711" y="475524"/>
                </a:lnTo>
                <a:lnTo>
                  <a:pt x="530062" y="388323"/>
                </a:lnTo>
                <a:lnTo>
                  <a:pt x="595991" y="388323"/>
                </a:lnTo>
                <a:lnTo>
                  <a:pt x="600269" y="386689"/>
                </a:lnTo>
                <a:lnTo>
                  <a:pt x="679816" y="351706"/>
                </a:lnTo>
                <a:lnTo>
                  <a:pt x="688958" y="345275"/>
                </a:lnTo>
                <a:lnTo>
                  <a:pt x="693596" y="337926"/>
                </a:lnTo>
                <a:lnTo>
                  <a:pt x="566762" y="337926"/>
                </a:lnTo>
                <a:lnTo>
                  <a:pt x="553336" y="335757"/>
                </a:lnTo>
                <a:lnTo>
                  <a:pt x="544767" y="329241"/>
                </a:lnTo>
                <a:lnTo>
                  <a:pt x="540751" y="318366"/>
                </a:lnTo>
                <a:lnTo>
                  <a:pt x="540983" y="303121"/>
                </a:lnTo>
                <a:lnTo>
                  <a:pt x="541992" y="295362"/>
                </a:lnTo>
                <a:close/>
              </a:path>
              <a:path w="697230" h="500380">
                <a:moveTo>
                  <a:pt x="595991" y="388323"/>
                </a:moveTo>
                <a:lnTo>
                  <a:pt x="530062" y="388323"/>
                </a:lnTo>
                <a:lnTo>
                  <a:pt x="538222" y="392076"/>
                </a:lnTo>
                <a:lnTo>
                  <a:pt x="544298" y="394003"/>
                </a:lnTo>
                <a:lnTo>
                  <a:pt x="551311" y="394713"/>
                </a:lnTo>
                <a:lnTo>
                  <a:pt x="562281" y="394815"/>
                </a:lnTo>
                <a:lnTo>
                  <a:pt x="572063" y="394284"/>
                </a:lnTo>
                <a:lnTo>
                  <a:pt x="581707" y="392723"/>
                </a:lnTo>
                <a:lnTo>
                  <a:pt x="591135" y="390176"/>
                </a:lnTo>
                <a:lnTo>
                  <a:pt x="595991" y="388323"/>
                </a:lnTo>
                <a:close/>
              </a:path>
              <a:path w="697230" h="500380">
                <a:moveTo>
                  <a:pt x="206441" y="352607"/>
                </a:moveTo>
                <a:lnTo>
                  <a:pt x="35386" y="352607"/>
                </a:lnTo>
                <a:lnTo>
                  <a:pt x="46467" y="370136"/>
                </a:lnTo>
                <a:lnTo>
                  <a:pt x="62066" y="383362"/>
                </a:lnTo>
                <a:lnTo>
                  <a:pt x="82054" y="391715"/>
                </a:lnTo>
                <a:lnTo>
                  <a:pt x="106305" y="394626"/>
                </a:lnTo>
                <a:lnTo>
                  <a:pt x="149655" y="387809"/>
                </a:lnTo>
                <a:lnTo>
                  <a:pt x="183036" y="371546"/>
                </a:lnTo>
                <a:lnTo>
                  <a:pt x="206441" y="352607"/>
                </a:lnTo>
                <a:close/>
              </a:path>
              <a:path w="697230" h="500380">
                <a:moveTo>
                  <a:pt x="308477" y="301592"/>
                </a:moveTo>
                <a:lnTo>
                  <a:pt x="252081" y="301592"/>
                </a:lnTo>
                <a:lnTo>
                  <a:pt x="254506" y="341816"/>
                </a:lnTo>
                <a:lnTo>
                  <a:pt x="270767" y="370942"/>
                </a:lnTo>
                <a:lnTo>
                  <a:pt x="296722" y="388652"/>
                </a:lnTo>
                <a:lnTo>
                  <a:pt x="328225" y="394626"/>
                </a:lnTo>
                <a:lnTo>
                  <a:pt x="361366" y="391330"/>
                </a:lnTo>
                <a:lnTo>
                  <a:pt x="387964" y="380767"/>
                </a:lnTo>
                <a:lnTo>
                  <a:pt x="413985" y="361924"/>
                </a:lnTo>
                <a:lnTo>
                  <a:pt x="440777" y="337926"/>
                </a:lnTo>
                <a:lnTo>
                  <a:pt x="334068" y="337926"/>
                </a:lnTo>
                <a:lnTo>
                  <a:pt x="320636" y="335757"/>
                </a:lnTo>
                <a:lnTo>
                  <a:pt x="312067" y="329241"/>
                </a:lnTo>
                <a:lnTo>
                  <a:pt x="308051" y="318366"/>
                </a:lnTo>
                <a:lnTo>
                  <a:pt x="308278" y="303121"/>
                </a:lnTo>
                <a:lnTo>
                  <a:pt x="308477" y="301592"/>
                </a:lnTo>
                <a:close/>
              </a:path>
              <a:path w="697230" h="500380">
                <a:moveTo>
                  <a:pt x="141006" y="97871"/>
                </a:moveTo>
                <a:lnTo>
                  <a:pt x="74815" y="123282"/>
                </a:lnTo>
                <a:lnTo>
                  <a:pt x="44475" y="181701"/>
                </a:lnTo>
                <a:lnTo>
                  <a:pt x="28726" y="290546"/>
                </a:lnTo>
                <a:lnTo>
                  <a:pt x="10716" y="303299"/>
                </a:lnTo>
                <a:lnTo>
                  <a:pt x="3400" y="311727"/>
                </a:lnTo>
                <a:lnTo>
                  <a:pt x="0" y="321953"/>
                </a:lnTo>
                <a:lnTo>
                  <a:pt x="683" y="332713"/>
                </a:lnTo>
                <a:lnTo>
                  <a:pt x="5617" y="342743"/>
                </a:lnTo>
                <a:lnTo>
                  <a:pt x="11156" y="349916"/>
                </a:lnTo>
                <a:lnTo>
                  <a:pt x="19491" y="353685"/>
                </a:lnTo>
                <a:lnTo>
                  <a:pt x="30412" y="353685"/>
                </a:lnTo>
                <a:lnTo>
                  <a:pt x="32925" y="353277"/>
                </a:lnTo>
                <a:lnTo>
                  <a:pt x="35386" y="352607"/>
                </a:lnTo>
                <a:lnTo>
                  <a:pt x="206441" y="352607"/>
                </a:lnTo>
                <a:lnTo>
                  <a:pt x="207040" y="352122"/>
                </a:lnTo>
                <a:lnTo>
                  <a:pt x="219874" y="338377"/>
                </a:lnTo>
                <a:lnTo>
                  <a:pt x="108494" y="338377"/>
                </a:lnTo>
                <a:lnTo>
                  <a:pt x="96109" y="334990"/>
                </a:lnTo>
                <a:lnTo>
                  <a:pt x="89015" y="327539"/>
                </a:lnTo>
                <a:lnTo>
                  <a:pt x="85797" y="320089"/>
                </a:lnTo>
                <a:lnTo>
                  <a:pt x="85039" y="316702"/>
                </a:lnTo>
                <a:lnTo>
                  <a:pt x="144157" y="275509"/>
                </a:lnTo>
                <a:lnTo>
                  <a:pt x="166352" y="259291"/>
                </a:lnTo>
                <a:lnTo>
                  <a:pt x="178219" y="248463"/>
                </a:lnTo>
                <a:lnTo>
                  <a:pt x="88442" y="248463"/>
                </a:lnTo>
                <a:lnTo>
                  <a:pt x="96400" y="189135"/>
                </a:lnTo>
                <a:lnTo>
                  <a:pt x="101565" y="174116"/>
                </a:lnTo>
                <a:lnTo>
                  <a:pt x="111702" y="162320"/>
                </a:lnTo>
                <a:lnTo>
                  <a:pt x="125323" y="154610"/>
                </a:lnTo>
                <a:lnTo>
                  <a:pt x="140943" y="151848"/>
                </a:lnTo>
                <a:lnTo>
                  <a:pt x="215727" y="151848"/>
                </a:lnTo>
                <a:lnTo>
                  <a:pt x="213949" y="142920"/>
                </a:lnTo>
                <a:lnTo>
                  <a:pt x="197247" y="119030"/>
                </a:lnTo>
                <a:lnTo>
                  <a:pt x="172178" y="103445"/>
                </a:lnTo>
                <a:lnTo>
                  <a:pt x="141006" y="97871"/>
                </a:lnTo>
                <a:close/>
              </a:path>
              <a:path w="697230" h="500380">
                <a:moveTo>
                  <a:pt x="363407" y="97871"/>
                </a:moveTo>
                <a:lnTo>
                  <a:pt x="300717" y="121476"/>
                </a:lnTo>
                <a:lnTo>
                  <a:pt x="267504" y="181701"/>
                </a:lnTo>
                <a:lnTo>
                  <a:pt x="265179" y="194893"/>
                </a:lnTo>
                <a:lnTo>
                  <a:pt x="262060" y="204502"/>
                </a:lnTo>
                <a:lnTo>
                  <a:pt x="183853" y="297603"/>
                </a:lnTo>
                <a:lnTo>
                  <a:pt x="135787" y="333369"/>
                </a:lnTo>
                <a:lnTo>
                  <a:pt x="108494" y="338377"/>
                </a:lnTo>
                <a:lnTo>
                  <a:pt x="219874" y="338377"/>
                </a:lnTo>
                <a:lnTo>
                  <a:pt x="222316" y="335757"/>
                </a:lnTo>
                <a:lnTo>
                  <a:pt x="252081" y="301592"/>
                </a:lnTo>
                <a:lnTo>
                  <a:pt x="308477" y="301592"/>
                </a:lnTo>
                <a:lnTo>
                  <a:pt x="323429" y="186570"/>
                </a:lnTo>
                <a:lnTo>
                  <a:pt x="347591" y="153725"/>
                </a:lnTo>
                <a:lnTo>
                  <a:pt x="358884" y="151754"/>
                </a:lnTo>
                <a:lnTo>
                  <a:pt x="445940" y="151754"/>
                </a:lnTo>
                <a:lnTo>
                  <a:pt x="452108" y="104174"/>
                </a:lnTo>
                <a:lnTo>
                  <a:pt x="395354" y="104174"/>
                </a:lnTo>
                <a:lnTo>
                  <a:pt x="387339" y="100530"/>
                </a:lnTo>
                <a:lnTo>
                  <a:pt x="381340" y="98659"/>
                </a:lnTo>
                <a:lnTo>
                  <a:pt x="374361" y="97969"/>
                </a:lnTo>
                <a:lnTo>
                  <a:pt x="363407" y="97871"/>
                </a:lnTo>
                <a:close/>
              </a:path>
              <a:path w="697230" h="500380">
                <a:moveTo>
                  <a:pt x="445940" y="151754"/>
                </a:moveTo>
                <a:lnTo>
                  <a:pt x="358884" y="151754"/>
                </a:lnTo>
                <a:lnTo>
                  <a:pt x="372297" y="153925"/>
                </a:lnTo>
                <a:lnTo>
                  <a:pt x="380866" y="160445"/>
                </a:lnTo>
                <a:lnTo>
                  <a:pt x="384886" y="171323"/>
                </a:lnTo>
                <a:lnTo>
                  <a:pt x="384653" y="186570"/>
                </a:lnTo>
                <a:lnTo>
                  <a:pt x="369480" y="303121"/>
                </a:lnTo>
                <a:lnTo>
                  <a:pt x="364653" y="318967"/>
                </a:lnTo>
                <a:lnTo>
                  <a:pt x="356074" y="329775"/>
                </a:lnTo>
                <a:lnTo>
                  <a:pt x="345345" y="335957"/>
                </a:lnTo>
                <a:lnTo>
                  <a:pt x="334068" y="337926"/>
                </a:lnTo>
                <a:lnTo>
                  <a:pt x="440777" y="337926"/>
                </a:lnTo>
                <a:lnTo>
                  <a:pt x="445394" y="333790"/>
                </a:lnTo>
                <a:lnTo>
                  <a:pt x="485561" y="295362"/>
                </a:lnTo>
                <a:lnTo>
                  <a:pt x="541992" y="295362"/>
                </a:lnTo>
                <a:lnTo>
                  <a:pt x="544619" y="275174"/>
                </a:lnTo>
                <a:lnTo>
                  <a:pt x="429939" y="275174"/>
                </a:lnTo>
                <a:lnTo>
                  <a:pt x="445940" y="151754"/>
                </a:lnTo>
                <a:close/>
              </a:path>
              <a:path w="697230" h="500380">
                <a:moveTo>
                  <a:pt x="670866" y="151754"/>
                </a:moveTo>
                <a:lnTo>
                  <a:pt x="591568" y="151754"/>
                </a:lnTo>
                <a:lnTo>
                  <a:pt x="604986" y="153925"/>
                </a:lnTo>
                <a:lnTo>
                  <a:pt x="613557" y="160445"/>
                </a:lnTo>
                <a:lnTo>
                  <a:pt x="617580" y="171323"/>
                </a:lnTo>
                <a:lnTo>
                  <a:pt x="617358" y="186570"/>
                </a:lnTo>
                <a:lnTo>
                  <a:pt x="602175" y="303121"/>
                </a:lnTo>
                <a:lnTo>
                  <a:pt x="597357" y="318967"/>
                </a:lnTo>
                <a:lnTo>
                  <a:pt x="588780" y="329775"/>
                </a:lnTo>
                <a:lnTo>
                  <a:pt x="578047" y="335957"/>
                </a:lnTo>
                <a:lnTo>
                  <a:pt x="566762" y="337926"/>
                </a:lnTo>
                <a:lnTo>
                  <a:pt x="693596" y="337926"/>
                </a:lnTo>
                <a:lnTo>
                  <a:pt x="694714" y="336155"/>
                </a:lnTo>
                <a:lnTo>
                  <a:pt x="696626" y="325542"/>
                </a:lnTo>
                <a:lnTo>
                  <a:pt x="694235" y="314629"/>
                </a:lnTo>
                <a:lnTo>
                  <a:pt x="688264" y="305938"/>
                </a:lnTo>
                <a:lnTo>
                  <a:pt x="679835" y="300217"/>
                </a:lnTo>
                <a:lnTo>
                  <a:pt x="675816" y="299257"/>
                </a:lnTo>
                <a:lnTo>
                  <a:pt x="659639" y="299257"/>
                </a:lnTo>
                <a:lnTo>
                  <a:pt x="674099" y="188517"/>
                </a:lnTo>
                <a:lnTo>
                  <a:pt x="671430" y="152762"/>
                </a:lnTo>
                <a:lnTo>
                  <a:pt x="670866" y="151754"/>
                </a:lnTo>
                <a:close/>
              </a:path>
              <a:path w="697230" h="500380">
                <a:moveTo>
                  <a:pt x="669957" y="297859"/>
                </a:moveTo>
                <a:lnTo>
                  <a:pt x="659639" y="299257"/>
                </a:lnTo>
                <a:lnTo>
                  <a:pt x="675816" y="299257"/>
                </a:lnTo>
                <a:lnTo>
                  <a:pt x="669957" y="297859"/>
                </a:lnTo>
                <a:close/>
              </a:path>
              <a:path w="697230" h="500380">
                <a:moveTo>
                  <a:pt x="28726" y="290483"/>
                </a:moveTo>
                <a:close/>
              </a:path>
              <a:path w="697230" h="500380">
                <a:moveTo>
                  <a:pt x="594835" y="97871"/>
                </a:moveTo>
                <a:lnTo>
                  <a:pt x="530618" y="124861"/>
                </a:lnTo>
                <a:lnTo>
                  <a:pt x="502458" y="181701"/>
                </a:lnTo>
                <a:lnTo>
                  <a:pt x="499590" y="195607"/>
                </a:lnTo>
                <a:lnTo>
                  <a:pt x="496590" y="204671"/>
                </a:lnTo>
                <a:lnTo>
                  <a:pt x="492843" y="210975"/>
                </a:lnTo>
                <a:lnTo>
                  <a:pt x="487718" y="216663"/>
                </a:lnTo>
                <a:lnTo>
                  <a:pt x="429939" y="275174"/>
                </a:lnTo>
                <a:lnTo>
                  <a:pt x="544619" y="275174"/>
                </a:lnTo>
                <a:lnTo>
                  <a:pt x="556145" y="186570"/>
                </a:lnTo>
                <a:lnTo>
                  <a:pt x="580282" y="153725"/>
                </a:lnTo>
                <a:lnTo>
                  <a:pt x="591568" y="151754"/>
                </a:lnTo>
                <a:lnTo>
                  <a:pt x="670866" y="151754"/>
                </a:lnTo>
                <a:lnTo>
                  <a:pt x="655341" y="124001"/>
                </a:lnTo>
                <a:lnTo>
                  <a:pt x="628815" y="104837"/>
                </a:lnTo>
                <a:lnTo>
                  <a:pt x="594835" y="97871"/>
                </a:lnTo>
                <a:close/>
              </a:path>
              <a:path w="697230" h="500380">
                <a:moveTo>
                  <a:pt x="215727" y="151848"/>
                </a:moveTo>
                <a:lnTo>
                  <a:pt x="140943" y="151848"/>
                </a:lnTo>
                <a:lnTo>
                  <a:pt x="153680" y="154251"/>
                </a:lnTo>
                <a:lnTo>
                  <a:pt x="160742" y="159975"/>
                </a:lnTo>
                <a:lnTo>
                  <a:pt x="163773" y="166792"/>
                </a:lnTo>
                <a:lnTo>
                  <a:pt x="164419" y="172476"/>
                </a:lnTo>
                <a:lnTo>
                  <a:pt x="158137" y="190012"/>
                </a:lnTo>
                <a:lnTo>
                  <a:pt x="141336" y="208514"/>
                </a:lnTo>
                <a:lnTo>
                  <a:pt x="117082" y="227994"/>
                </a:lnTo>
                <a:lnTo>
                  <a:pt x="88442" y="248463"/>
                </a:lnTo>
                <a:lnTo>
                  <a:pt x="178219" y="248463"/>
                </a:lnTo>
                <a:lnTo>
                  <a:pt x="191280" y="236545"/>
                </a:lnTo>
                <a:lnTo>
                  <a:pt x="211613" y="207755"/>
                </a:lnTo>
                <a:lnTo>
                  <a:pt x="220019" y="173408"/>
                </a:lnTo>
                <a:lnTo>
                  <a:pt x="215727" y="151848"/>
                </a:lnTo>
                <a:close/>
              </a:path>
              <a:path w="697230" h="500380">
                <a:moveTo>
                  <a:pt x="437258" y="0"/>
                </a:moveTo>
                <a:lnTo>
                  <a:pt x="405752" y="24250"/>
                </a:lnTo>
                <a:lnTo>
                  <a:pt x="395354" y="104174"/>
                </a:lnTo>
                <a:lnTo>
                  <a:pt x="452108" y="104174"/>
                </a:lnTo>
                <a:lnTo>
                  <a:pt x="461530" y="31496"/>
                </a:lnTo>
                <a:lnTo>
                  <a:pt x="460746" y="20356"/>
                </a:lnTo>
                <a:lnTo>
                  <a:pt x="455916" y="10718"/>
                </a:lnTo>
                <a:lnTo>
                  <a:pt x="447826" y="3594"/>
                </a:lnTo>
                <a:lnTo>
                  <a:pt x="43725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12671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spc="0" baseline="0" dirty="0">
          <a:ln w="6350" cap="flat">
            <a:noFill/>
            <a:miter lim="800000"/>
          </a:ln>
          <a:solidFill>
            <a:schemeClr val="tx1"/>
          </a:solidFill>
          <a:latin typeface="Mulish" pitchFamily="2" charset="0"/>
          <a:ea typeface="+mj-ea"/>
          <a:cs typeface="+mj-cs"/>
          <a:sym typeface="Mulish" pitchFamily="2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Mulish" pitchFamily="2" charset="0"/>
          <a:ea typeface="+mn-ea"/>
          <a:cs typeface="Arial" panose="020B0604020202020204" pitchFamily="34" charset="0"/>
          <a:sym typeface="Mulish" pitchFamily="2" charset="0"/>
        </a:defRPr>
      </a:lvl1pPr>
      <a:lvl2pPr marL="2286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Mulish" pitchFamily="2" charset="0"/>
          <a:ea typeface="+mn-ea"/>
          <a:cs typeface="+mn-cs"/>
          <a:sym typeface="Mulish" pitchFamily="2" charset="0"/>
        </a:defRPr>
      </a:lvl2pPr>
      <a:lvl3pPr marL="439200" indent="-208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Mulish" pitchFamily="2" charset="0"/>
          <a:ea typeface="+mn-ea"/>
          <a:cs typeface="+mn-cs"/>
          <a:sym typeface="Mulish" pitchFamily="2" charset="0"/>
        </a:defRPr>
      </a:lvl3pPr>
      <a:lvl4pPr marL="604800" indent="-154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Mulish" pitchFamily="2" charset="0"/>
          <a:ea typeface="+mn-ea"/>
          <a:cs typeface="+mn-cs"/>
          <a:sym typeface="Mulish" pitchFamily="2" charset="0"/>
        </a:defRPr>
      </a:lvl4pPr>
      <a:lvl5pPr marL="813600" indent="-147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Mulish" pitchFamily="2" charset="0"/>
          <a:ea typeface="+mn-ea"/>
          <a:cs typeface="+mn-cs"/>
          <a:sym typeface="Mulish" pitchFamily="2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0762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13" imgH="416" progId="TCLayout.ActiveDocument.1">
                  <p:embed/>
                </p:oleObj>
              </mc:Choice>
              <mc:Fallback>
                <p:oleObj name="think-cell Slide" r:id="rId3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70" name="Grid" hidden="1">
            <a:extLst>
              <a:ext uri="{FF2B5EF4-FFF2-40B4-BE49-F238E27FC236}">
                <a16:creationId xmlns:a16="http://schemas.microsoft.com/office/drawing/2014/main" id="{3BBFEB30-B5C9-4D5C-9A82-066C6BF363E3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50B3518-D8B6-4062-A4CE-0C1A1A286FE1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45F528-EF91-4619-AF16-5D11F63D2FFC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77ABF7BA-0428-4141-8351-03A2727DECB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94EB93D9-2FE5-4212-8DB4-7A0327E33766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C2F34081-E688-4287-A553-264328F1E1E1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868CDEE-044B-4D04-A5D3-6A526BE51179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0100C653-5CFA-4B3C-BD97-47499B419B5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F21F5AB2-1154-4ACD-832F-CB2539EE783F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66910D2-AFA9-4FD1-8D04-D99BB364545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769A11B-0399-4716-A212-6F179313A427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CB3272D-021B-49B8-92A5-D1DEB3202AE0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61701AE9-04C5-4AD4-8DEE-873680FD231F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050D91B-89C3-45DE-BE0C-1430E2BE6F4B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68E5EF5D-0D94-4FCE-8BE2-F0790F7B1879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05F8351-710E-49E9-A523-EA0755B417C5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7C1C31B-A122-4A09-9500-27B0684B272F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DF86859-7D4B-4DA1-91AA-0992644F5903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3DC3E9CA-569C-4414-A75A-C805A4A40B64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B532C466-D8D3-43AC-995C-2B54885AC096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0920AE1-B909-471F-9E77-7C3A31509F84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A1E8190-F3C6-4BF7-97E3-90F3FC84746E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3B1FC28-C9D6-4928-BCCE-9873C7DEEFDE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3C9C1F2-E745-44A5-AEA3-9DE0D69F2B15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F7DB9B8-09EF-46A7-9839-EE0FA8E11651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59DC929-939A-40DF-96D2-82427AD8E191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71E475EA-3BCA-4BD2-9129-0A15F92784B0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B58358D8-4286-4ED9-A0FF-82879D8C9183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7E8672D-5A21-4EE8-8FA5-FBB35E3AF6F8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A059A59-9BBE-4F86-862A-48E139D1EE64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5CF5402-4FC2-4420-ABC5-BBFA3EA9D20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0BB1258-8102-4E47-BE2F-816FBB6BA408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B270BD53-6742-47F1-853C-FA770237F3FD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395B319-4702-4CD9-838C-C0612B6879BC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E5E70F1-247D-4F01-A473-C5A9226BCADC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732858E4-B133-4A91-9BCA-BF80F093194A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27DED92-EF7A-4687-A1A4-BDAA2F1EAF12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3D72483-35F2-49AC-989D-0E1BC8456803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DD2F54E-53A3-49F6-905E-B0F8E1348C8E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557A01EE-7FB2-4BA0-B35A-2F95546E4624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7FC1C45B-2B29-4A42-8D4B-721F68CA1348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B1A27E92-9270-4990-A7E0-13762B5DCF31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F46154D-791B-4F7D-8E1C-E15CD03A29AA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9B4B757-25C9-484E-A4FE-A49FBA3319A4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75535B4E-91AD-45A5-B3C9-3699892DFD15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BB8DA04A-5D80-45BB-8266-4A4ECB242742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E5E52966-F7BC-421A-9050-FFBE6C9FDFFC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7183FD6-ADDC-4DBA-AD69-7D5A08920C83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B1C3B52-250A-482D-AE65-9AAC3A76868D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AB6E369-DE4F-4AA3-9B2B-FD9286DC14EB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02D96B38-98DE-4984-BD84-08887A144206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A47B8B7-112A-4075-B20A-90A845CE256B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FEBE3CB-E087-4212-96D5-920E5C903EF2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3686B76C-7301-4C4A-B5BE-0AFF241FAEB0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2B029B6E-808D-40CF-A2D1-AADA131A0D00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8705E053-FBF3-4534-A74B-EC16CC92EE77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BE0E44BE-C4B0-46A9-A59B-A43157B927C1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9B09A95B-D404-461F-A093-7C895E3A741F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A79A7095-2656-44EB-B0A3-4271C7264720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A4BC595-5B69-4C71-A5EC-2940C48186D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97474A32-631C-4FA8-B250-D9C17610DA92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4FA397D1-2FFD-4719-93E4-17828F08EC1D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2CDBCAF-60C0-40A4-97EA-7B190F17D13D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88614279-F6F1-4779-A908-BEF080C471AB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D77A8DFC-FE4B-4B06-8AEF-607F9AEE764E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42E819A-5DA8-4032-B3EB-D10DC14D6C84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1912236D-CA1F-4315-989A-12010EB46505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44ED2ACF-C68A-42CC-A632-CD03AB2544F3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4A8F039F-D473-4D39-8AC6-81810B219B3E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BA241E12-AAE1-45D8-9D67-A8007269A3E0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3D829D9-0D54-4FB5-9FD5-512316CE5897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6DCAEE40-53ED-4281-A3F1-ACB0AA93B7BD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716D3477-104A-45EC-ABA6-46CC43BAB1CA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25EC7B04-40CF-4499-BF37-9874AB2E42BC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A1B7D422-DF11-439B-AA7B-5AE071A4C7DC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1103B97-22A5-4A41-A8B4-4FBC1AB3251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706654E2-EE76-422E-8306-19CDD004E451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A46DB1-E3F1-48B8-8CD6-686C08337E3D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C7EB58E3-EE98-4C63-A5FA-31A1F31261BD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DF83986-66A6-442D-9688-89B353D5848C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C32EE19-D046-4DA8-83C8-C7090C2032B7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AE9073FA-D009-4B43-AE1C-76B2371EDB72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A37EEEBC-9035-46B4-859D-8637EB5F71E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main body box">
              <a:extLst>
                <a:ext uri="{FF2B5EF4-FFF2-40B4-BE49-F238E27FC236}">
                  <a16:creationId xmlns:a16="http://schemas.microsoft.com/office/drawing/2014/main" id="{5A4E68D2-98C2-4107-A058-DD36C69DD1BD}"/>
                </a:ext>
              </a:extLst>
            </p:cNvPr>
            <p:cNvSpPr/>
            <p:nvPr userDrawn="1"/>
          </p:nvSpPr>
          <p:spPr bwMode="gray">
            <a:xfrm>
              <a:off x="554736" y="1405610"/>
              <a:ext cx="11082528" cy="481231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CD320E2E-9A90-4FBD-95ED-547D38976E3C}"/>
                </a:ext>
              </a:extLst>
            </p:cNvPr>
            <p:cNvCxnSpPr/>
            <p:nvPr userDrawn="1"/>
          </p:nvCxnSpPr>
          <p:spPr bwMode="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0454B89-8DFA-4EF3-83A9-38CF648F4CD1}"/>
                </a:ext>
              </a:extLst>
            </p:cNvPr>
            <p:cNvCxnSpPr/>
            <p:nvPr userDrawn="1"/>
          </p:nvCxnSpPr>
          <p:spPr bwMode="gray">
            <a:xfrm>
              <a:off x="554736" y="1408557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25249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275" name="Sticker" hidden="1">
            <a:extLst>
              <a:ext uri="{FF2B5EF4-FFF2-40B4-BE49-F238E27FC236}">
                <a16:creationId xmlns:a16="http://schemas.microsoft.com/office/drawing/2014/main" id="{97ED2832-F2D3-4BBC-B741-D13502E9DAA9}"/>
              </a:ext>
            </a:extLst>
          </p:cNvPr>
          <p:cNvSpPr txBox="1"/>
          <p:nvPr userDrawn="1"/>
        </p:nvSpPr>
        <p:spPr>
          <a:xfrm>
            <a:off x="558489" y="964729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87C6EDE4-51FB-4F9D-A2DD-686808A1A2F9}"/>
              </a:ext>
            </a:extLst>
          </p:cNvPr>
          <p:cNvGrpSpPr/>
          <p:nvPr userDrawn="1"/>
        </p:nvGrpSpPr>
        <p:grpSpPr>
          <a:xfrm>
            <a:off x="10317304" y="3355023"/>
            <a:ext cx="1361638" cy="958286"/>
            <a:chOff x="10162879" y="3243772"/>
            <a:chExt cx="1361638" cy="958286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22F001FE-88BD-4E72-ACF9-AF621E1AE7D2}"/>
                </a:ext>
              </a:extLst>
            </p:cNvPr>
            <p:cNvSpPr txBox="1"/>
            <p:nvPr/>
          </p:nvSpPr>
          <p:spPr>
            <a:xfrm>
              <a:off x="10886522" y="324377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id="{5CE86F18-61A8-4DCD-ABAC-0B15BD62E117}"/>
                </a:ext>
              </a:extLst>
            </p:cNvPr>
            <p:cNvSpPr txBox="1"/>
            <p:nvPr/>
          </p:nvSpPr>
          <p:spPr>
            <a:xfrm>
              <a:off x="10886522" y="3615193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id="{30CCE3CA-84D6-4432-ADE2-0F6B753C34FD}"/>
                </a:ext>
              </a:extLst>
            </p:cNvPr>
            <p:cNvSpPr txBox="1"/>
            <p:nvPr/>
          </p:nvSpPr>
          <p:spPr>
            <a:xfrm>
              <a:off x="10886522" y="398661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id="{FD14BDBA-DFCE-4F57-AA4E-2880FA4D1FF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id="{4B9DF4B5-6F14-48CB-B9CE-600BDB17046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id="{44FFACE1-EA9B-4916-B719-78089106EE1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55" name="LegendMoons" hidden="1">
            <a:extLst>
              <a:ext uri="{FF2B5EF4-FFF2-40B4-BE49-F238E27FC236}">
                <a16:creationId xmlns:a16="http://schemas.microsoft.com/office/drawing/2014/main" id="{7A818255-5FF7-46DE-A5D6-92983EE23E00}"/>
              </a:ext>
            </a:extLst>
          </p:cNvPr>
          <p:cNvGrpSpPr/>
          <p:nvPr userDrawn="1"/>
        </p:nvGrpSpPr>
        <p:grpSpPr>
          <a:xfrm>
            <a:off x="10688315" y="1415983"/>
            <a:ext cx="990627" cy="1731859"/>
            <a:chOff x="7723680" y="1702457"/>
            <a:chExt cx="990627" cy="1731859"/>
          </a:xfrm>
        </p:grpSpPr>
        <p:sp>
          <p:nvSpPr>
            <p:cNvPr id="156" name="Legend1" hidden="1">
              <a:extLst>
                <a:ext uri="{FF2B5EF4-FFF2-40B4-BE49-F238E27FC236}">
                  <a16:creationId xmlns:a16="http://schemas.microsoft.com/office/drawing/2014/main" id="{CD0C793F-AD0E-46E5-B850-56CF1CA0ABD9}"/>
                </a:ext>
              </a:extLst>
            </p:cNvPr>
            <p:cNvSpPr txBox="1"/>
            <p:nvPr/>
          </p:nvSpPr>
          <p:spPr>
            <a:xfrm>
              <a:off x="8076312" y="1709816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7" name="Legend2" hidden="1">
              <a:extLst>
                <a:ext uri="{FF2B5EF4-FFF2-40B4-BE49-F238E27FC236}">
                  <a16:creationId xmlns:a16="http://schemas.microsoft.com/office/drawing/2014/main" id="{B7EAD5BD-3A5A-4BC7-A399-BFAA0AE18C28}"/>
                </a:ext>
              </a:extLst>
            </p:cNvPr>
            <p:cNvSpPr txBox="1"/>
            <p:nvPr/>
          </p:nvSpPr>
          <p:spPr>
            <a:xfrm>
              <a:off x="8076312" y="2085275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8" name="Legend3" hidden="1">
              <a:extLst>
                <a:ext uri="{FF2B5EF4-FFF2-40B4-BE49-F238E27FC236}">
                  <a16:creationId xmlns:a16="http://schemas.microsoft.com/office/drawing/2014/main" id="{22515723-5223-432C-8341-059BC856ADB3}"/>
                </a:ext>
              </a:extLst>
            </p:cNvPr>
            <p:cNvSpPr txBox="1"/>
            <p:nvPr/>
          </p:nvSpPr>
          <p:spPr>
            <a:xfrm>
              <a:off x="8076312" y="246073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9" name="Legend4" hidden="1">
              <a:extLst>
                <a:ext uri="{FF2B5EF4-FFF2-40B4-BE49-F238E27FC236}">
                  <a16:creationId xmlns:a16="http://schemas.microsoft.com/office/drawing/2014/main" id="{C176E604-7D00-487B-949D-28B22E91313F}"/>
                </a:ext>
              </a:extLst>
            </p:cNvPr>
            <p:cNvSpPr txBox="1"/>
            <p:nvPr/>
          </p:nvSpPr>
          <p:spPr>
            <a:xfrm>
              <a:off x="8076312" y="2836193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0" name="Legend5" hidden="1">
              <a:extLst>
                <a:ext uri="{FF2B5EF4-FFF2-40B4-BE49-F238E27FC236}">
                  <a16:creationId xmlns:a16="http://schemas.microsoft.com/office/drawing/2014/main" id="{6EBB621A-2F4C-4F8A-9C7B-B11B4E35A4C8}"/>
                </a:ext>
              </a:extLst>
            </p:cNvPr>
            <p:cNvSpPr txBox="1"/>
            <p:nvPr/>
          </p:nvSpPr>
          <p:spPr>
            <a:xfrm>
              <a:off x="8076312" y="321165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61" name="MoonLegend1" hidden="1">
              <a:extLst>
                <a:ext uri="{FF2B5EF4-FFF2-40B4-BE49-F238E27FC236}">
                  <a16:creationId xmlns:a16="http://schemas.microsoft.com/office/drawing/2014/main" id="{F0608187-6FA4-4ECA-B05C-444806AC3B92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59ED6E42-6934-4E6E-9C4D-04279A65F95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2E160F9B-F9EE-40EB-BE49-39F542E1ABA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2" name="MoonLegend2" hidden="1">
              <a:extLst>
                <a:ext uri="{FF2B5EF4-FFF2-40B4-BE49-F238E27FC236}">
                  <a16:creationId xmlns:a16="http://schemas.microsoft.com/office/drawing/2014/main" id="{63D0F8DF-C0E8-4FD1-8A2D-6494E30743C7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595F5BDC-8AE8-42F9-97BE-F2629CF5A8F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AC411E90-3BF2-42B2-BEF1-70310E9C6F8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3" name="MoonLegend3" hidden="1">
              <a:extLst>
                <a:ext uri="{FF2B5EF4-FFF2-40B4-BE49-F238E27FC236}">
                  <a16:creationId xmlns:a16="http://schemas.microsoft.com/office/drawing/2014/main" id="{1E1899A9-4E8C-46CA-81B3-C09EB42880C6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0" name="Oval 179" hidden="1">
                <a:extLst>
                  <a:ext uri="{FF2B5EF4-FFF2-40B4-BE49-F238E27FC236}">
                    <a16:creationId xmlns:a16="http://schemas.microsoft.com/office/drawing/2014/main" id="{E4846378-117B-47C6-9D44-7CCAC2482B3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Arc 180" hidden="1">
                <a:extLst>
                  <a:ext uri="{FF2B5EF4-FFF2-40B4-BE49-F238E27FC236}">
                    <a16:creationId xmlns:a16="http://schemas.microsoft.com/office/drawing/2014/main" id="{911EEADC-90AD-403E-9185-EC112BB6B4F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4" name="MoonLegend4" hidden="1">
              <a:extLst>
                <a:ext uri="{FF2B5EF4-FFF2-40B4-BE49-F238E27FC236}">
                  <a16:creationId xmlns:a16="http://schemas.microsoft.com/office/drawing/2014/main" id="{97143BDD-D948-4B7C-B718-EB1BF8A8489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8" name="Oval 167" hidden="1">
                <a:extLst>
                  <a:ext uri="{FF2B5EF4-FFF2-40B4-BE49-F238E27FC236}">
                    <a16:creationId xmlns:a16="http://schemas.microsoft.com/office/drawing/2014/main" id="{C94E0620-0124-440C-B787-3C46D9988F09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Arc 178" hidden="1">
                <a:extLst>
                  <a:ext uri="{FF2B5EF4-FFF2-40B4-BE49-F238E27FC236}">
                    <a16:creationId xmlns:a16="http://schemas.microsoft.com/office/drawing/2014/main" id="{27D07BC4-8F29-47B3-A7A9-4F38A5CFAD6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5" name="MoonLegend5" hidden="1">
              <a:extLst>
                <a:ext uri="{FF2B5EF4-FFF2-40B4-BE49-F238E27FC236}">
                  <a16:creationId xmlns:a16="http://schemas.microsoft.com/office/drawing/2014/main" id="{8D333D92-2164-4167-B0F6-DACC2D19772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6" name="Oval 165" hidden="1">
                <a:extLst>
                  <a:ext uri="{FF2B5EF4-FFF2-40B4-BE49-F238E27FC236}">
                    <a16:creationId xmlns:a16="http://schemas.microsoft.com/office/drawing/2014/main" id="{FDB0A9CB-78E6-4549-B287-F1AF32280E74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Arc 166" hidden="1">
                <a:extLst>
                  <a:ext uri="{FF2B5EF4-FFF2-40B4-BE49-F238E27FC236}">
                    <a16:creationId xmlns:a16="http://schemas.microsoft.com/office/drawing/2014/main" id="{A630C9B3-C010-49EF-B136-136D9BD2CA01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BA47934C-5733-43F4-B6F6-21380FE2949C}"/>
              </a:ext>
            </a:extLst>
          </p:cNvPr>
          <p:cNvGrpSpPr/>
          <p:nvPr userDrawn="1"/>
        </p:nvGrpSpPr>
        <p:grpSpPr>
          <a:xfrm>
            <a:off x="10714801" y="4520490"/>
            <a:ext cx="964141" cy="1717282"/>
            <a:chOff x="10652400" y="4322824"/>
            <a:chExt cx="964141" cy="1717282"/>
          </a:xfrm>
        </p:grpSpPr>
        <p:sp>
          <p:nvSpPr>
            <p:cNvPr id="188" name="RectangleLegend1" hidden="1">
              <a:extLst>
                <a:ext uri="{FF2B5EF4-FFF2-40B4-BE49-F238E27FC236}">
                  <a16:creationId xmlns:a16="http://schemas.microsoft.com/office/drawing/2014/main" id="{4F488EDB-5556-4511-8A96-E1338F5E4646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 hidden="1">
              <a:extLst>
                <a:ext uri="{FF2B5EF4-FFF2-40B4-BE49-F238E27FC236}">
                  <a16:creationId xmlns:a16="http://schemas.microsoft.com/office/drawing/2014/main" id="{0423580E-1E98-4AB7-8FF8-1B253BAF8BF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 hidden="1">
              <a:extLst>
                <a:ext uri="{FF2B5EF4-FFF2-40B4-BE49-F238E27FC236}">
                  <a16:creationId xmlns:a16="http://schemas.microsoft.com/office/drawing/2014/main" id="{16EA4BF8-E1EF-4EAF-92FC-AA1EB7E977E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 hidden="1">
              <a:extLst>
                <a:ext uri="{FF2B5EF4-FFF2-40B4-BE49-F238E27FC236}">
                  <a16:creationId xmlns:a16="http://schemas.microsoft.com/office/drawing/2014/main" id="{4DC24EA8-A23C-42EA-9725-4A5316E166F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 hidden="1">
              <a:extLst>
                <a:ext uri="{FF2B5EF4-FFF2-40B4-BE49-F238E27FC236}">
                  <a16:creationId xmlns:a16="http://schemas.microsoft.com/office/drawing/2014/main" id="{60A82744-7E03-4D44-8491-F70D356007A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 hidden="1">
              <a:extLst>
                <a:ext uri="{FF2B5EF4-FFF2-40B4-BE49-F238E27FC236}">
                  <a16:creationId xmlns:a16="http://schemas.microsoft.com/office/drawing/2014/main" id="{E5D4A419-6B52-4363-81C4-0083A290484A}"/>
                </a:ext>
              </a:extLst>
            </p:cNvPr>
            <p:cNvSpPr txBox="1"/>
            <p:nvPr/>
          </p:nvSpPr>
          <p:spPr>
            <a:xfrm>
              <a:off x="10978546" y="432282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 hidden="1">
              <a:extLst>
                <a:ext uri="{FF2B5EF4-FFF2-40B4-BE49-F238E27FC236}">
                  <a16:creationId xmlns:a16="http://schemas.microsoft.com/office/drawing/2014/main" id="{5349D377-39CD-4A6D-AFF2-1B42523C5B8D}"/>
                </a:ext>
              </a:extLst>
            </p:cNvPr>
            <p:cNvSpPr txBox="1"/>
            <p:nvPr/>
          </p:nvSpPr>
          <p:spPr>
            <a:xfrm>
              <a:off x="10978546" y="470232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 hidden="1">
              <a:extLst>
                <a:ext uri="{FF2B5EF4-FFF2-40B4-BE49-F238E27FC236}">
                  <a16:creationId xmlns:a16="http://schemas.microsoft.com/office/drawing/2014/main" id="{C15EE519-AE85-43F0-9B2E-D80728D1620D}"/>
                </a:ext>
              </a:extLst>
            </p:cNvPr>
            <p:cNvSpPr txBox="1"/>
            <p:nvPr/>
          </p:nvSpPr>
          <p:spPr>
            <a:xfrm>
              <a:off x="10978546" y="5081820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 hidden="1">
              <a:extLst>
                <a:ext uri="{FF2B5EF4-FFF2-40B4-BE49-F238E27FC236}">
                  <a16:creationId xmlns:a16="http://schemas.microsoft.com/office/drawing/2014/main" id="{9867F306-733F-4CFD-A888-629E1CF506B6}"/>
                </a:ext>
              </a:extLst>
            </p:cNvPr>
            <p:cNvSpPr txBox="1"/>
            <p:nvPr/>
          </p:nvSpPr>
          <p:spPr>
            <a:xfrm>
              <a:off x="10978546" y="5453241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 hidden="1">
              <a:extLst>
                <a:ext uri="{FF2B5EF4-FFF2-40B4-BE49-F238E27FC236}">
                  <a16:creationId xmlns:a16="http://schemas.microsoft.com/office/drawing/2014/main" id="{B3D9300D-CCDE-495A-9E6F-BD5EFE160B13}"/>
                </a:ext>
              </a:extLst>
            </p:cNvPr>
            <p:cNvSpPr txBox="1"/>
            <p:nvPr/>
          </p:nvSpPr>
          <p:spPr>
            <a:xfrm>
              <a:off x="10978545" y="582466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8686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890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997787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3D15743B-00FA-4CBC-980C-5F9CA12EF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A6B0FF4-F2C5-4E81-BFBE-88941BA4BC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1F522F3-AED5-405D-9ABE-C3664A74A0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941B685-DEF8-4D2F-B442-902FFFD756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EFCEB90-E581-44AF-9AF3-370FFBCF85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875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0762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13" imgH="416" progId="TCLayout.ActiveDocument.1">
                  <p:embed/>
                </p:oleObj>
              </mc:Choice>
              <mc:Fallback>
                <p:oleObj name="think-cell Slide" r:id="rId3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70" name="Grid" hidden="1">
            <a:extLst>
              <a:ext uri="{FF2B5EF4-FFF2-40B4-BE49-F238E27FC236}">
                <a16:creationId xmlns:a16="http://schemas.microsoft.com/office/drawing/2014/main" id="{3BBFEB30-B5C9-4D5C-9A82-066C6BF363E3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50B3518-D8B6-4062-A4CE-0C1A1A286FE1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45F528-EF91-4619-AF16-5D11F63D2FFC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77ABF7BA-0428-4141-8351-03A2727DECB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94EB93D9-2FE5-4212-8DB4-7A0327E33766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C2F34081-E688-4287-A553-264328F1E1E1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868CDEE-044B-4D04-A5D3-6A526BE51179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0100C653-5CFA-4B3C-BD97-47499B419B5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F21F5AB2-1154-4ACD-832F-CB2539EE783F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66910D2-AFA9-4FD1-8D04-D99BB364545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769A11B-0399-4716-A212-6F179313A427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CB3272D-021B-49B8-92A5-D1DEB3202AE0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61701AE9-04C5-4AD4-8DEE-873680FD231F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050D91B-89C3-45DE-BE0C-1430E2BE6F4B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68E5EF5D-0D94-4FCE-8BE2-F0790F7B1879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05F8351-710E-49E9-A523-EA0755B417C5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7C1C31B-A122-4A09-9500-27B0684B272F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DF86859-7D4B-4DA1-91AA-0992644F5903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3DC3E9CA-569C-4414-A75A-C805A4A40B64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B532C466-D8D3-43AC-995C-2B54885AC096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0920AE1-B909-471F-9E77-7C3A31509F84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A1E8190-F3C6-4BF7-97E3-90F3FC84746E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3B1FC28-C9D6-4928-BCCE-9873C7DEEFDE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3C9C1F2-E745-44A5-AEA3-9DE0D69F2B15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F7DB9B8-09EF-46A7-9839-EE0FA8E11651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59DC929-939A-40DF-96D2-82427AD8E191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71E475EA-3BCA-4BD2-9129-0A15F92784B0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B58358D8-4286-4ED9-A0FF-82879D8C9183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7E8672D-5A21-4EE8-8FA5-FBB35E3AF6F8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A059A59-9BBE-4F86-862A-48E139D1EE64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5CF5402-4FC2-4420-ABC5-BBFA3EA9D20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0BB1258-8102-4E47-BE2F-816FBB6BA408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B270BD53-6742-47F1-853C-FA770237F3FD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395B319-4702-4CD9-838C-C0612B6879BC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E5E70F1-247D-4F01-A473-C5A9226BCADC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732858E4-B133-4A91-9BCA-BF80F093194A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27DED92-EF7A-4687-A1A4-BDAA2F1EAF12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3D72483-35F2-49AC-989D-0E1BC8456803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DD2F54E-53A3-49F6-905E-B0F8E1348C8E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557A01EE-7FB2-4BA0-B35A-2F95546E4624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7FC1C45B-2B29-4A42-8D4B-721F68CA1348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B1A27E92-9270-4990-A7E0-13762B5DCF31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F46154D-791B-4F7D-8E1C-E15CD03A29AA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9B4B757-25C9-484E-A4FE-A49FBA3319A4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75535B4E-91AD-45A5-B3C9-3699892DFD15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BB8DA04A-5D80-45BB-8266-4A4ECB242742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E5E52966-F7BC-421A-9050-FFBE6C9FDFFC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7183FD6-ADDC-4DBA-AD69-7D5A08920C83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B1C3B52-250A-482D-AE65-9AAC3A76868D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AB6E369-DE4F-4AA3-9B2B-FD9286DC14EB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02D96B38-98DE-4984-BD84-08887A144206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A47B8B7-112A-4075-B20A-90A845CE256B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FEBE3CB-E087-4212-96D5-920E5C903EF2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3686B76C-7301-4C4A-B5BE-0AFF241FAEB0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2B029B6E-808D-40CF-A2D1-AADA131A0D00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8705E053-FBF3-4534-A74B-EC16CC92EE77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BE0E44BE-C4B0-46A9-A59B-A43157B927C1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9B09A95B-D404-461F-A093-7C895E3A741F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A79A7095-2656-44EB-B0A3-4271C7264720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A4BC595-5B69-4C71-A5EC-2940C48186D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97474A32-631C-4FA8-B250-D9C17610DA92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4FA397D1-2FFD-4719-93E4-17828F08EC1D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2CDBCAF-60C0-40A4-97EA-7B190F17D13D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88614279-F6F1-4779-A908-BEF080C471AB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D77A8DFC-FE4B-4B06-8AEF-607F9AEE764E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42E819A-5DA8-4032-B3EB-D10DC14D6C84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1912236D-CA1F-4315-989A-12010EB46505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44ED2ACF-C68A-42CC-A632-CD03AB2544F3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4A8F039F-D473-4D39-8AC6-81810B219B3E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BA241E12-AAE1-45D8-9D67-A8007269A3E0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3D829D9-0D54-4FB5-9FD5-512316CE5897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6DCAEE40-53ED-4281-A3F1-ACB0AA93B7BD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716D3477-104A-45EC-ABA6-46CC43BAB1CA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25EC7B04-40CF-4499-BF37-9874AB2E42BC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A1B7D422-DF11-439B-AA7B-5AE071A4C7DC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1103B97-22A5-4A41-A8B4-4FBC1AB3251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706654E2-EE76-422E-8306-19CDD004E451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A46DB1-E3F1-48B8-8CD6-686C08337E3D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C7EB58E3-EE98-4C63-A5FA-31A1F31261BD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DF83986-66A6-442D-9688-89B353D5848C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C32EE19-D046-4DA8-83C8-C7090C2032B7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AE9073FA-D009-4B43-AE1C-76B2371EDB72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A37EEEBC-9035-46B4-859D-8637EB5F71E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main body box">
              <a:extLst>
                <a:ext uri="{FF2B5EF4-FFF2-40B4-BE49-F238E27FC236}">
                  <a16:creationId xmlns:a16="http://schemas.microsoft.com/office/drawing/2014/main" id="{5A4E68D2-98C2-4107-A058-DD36C69DD1BD}"/>
                </a:ext>
              </a:extLst>
            </p:cNvPr>
            <p:cNvSpPr/>
            <p:nvPr userDrawn="1"/>
          </p:nvSpPr>
          <p:spPr bwMode="gray">
            <a:xfrm>
              <a:off x="554736" y="1405610"/>
              <a:ext cx="11082528" cy="481231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CD320E2E-9A90-4FBD-95ED-547D38976E3C}"/>
                </a:ext>
              </a:extLst>
            </p:cNvPr>
            <p:cNvCxnSpPr/>
            <p:nvPr userDrawn="1"/>
          </p:nvCxnSpPr>
          <p:spPr bwMode="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0454B89-8DFA-4EF3-83A9-38CF648F4CD1}"/>
                </a:ext>
              </a:extLst>
            </p:cNvPr>
            <p:cNvCxnSpPr/>
            <p:nvPr userDrawn="1"/>
          </p:nvCxnSpPr>
          <p:spPr bwMode="gray">
            <a:xfrm>
              <a:off x="554736" y="1408557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252493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5" name="Sticker" hidden="1">
            <a:extLst>
              <a:ext uri="{FF2B5EF4-FFF2-40B4-BE49-F238E27FC236}">
                <a16:creationId xmlns:a16="http://schemas.microsoft.com/office/drawing/2014/main" id="{97ED2832-F2D3-4BBC-B741-D13502E9DAA9}"/>
              </a:ext>
            </a:extLst>
          </p:cNvPr>
          <p:cNvSpPr txBox="1"/>
          <p:nvPr userDrawn="1"/>
        </p:nvSpPr>
        <p:spPr>
          <a:xfrm>
            <a:off x="558489" y="964729"/>
            <a:ext cx="415178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87C6EDE4-51FB-4F9D-A2DD-686808A1A2F9}"/>
              </a:ext>
            </a:extLst>
          </p:cNvPr>
          <p:cNvGrpSpPr/>
          <p:nvPr userDrawn="1"/>
        </p:nvGrpSpPr>
        <p:grpSpPr>
          <a:xfrm>
            <a:off x="10317304" y="3355023"/>
            <a:ext cx="1361638" cy="958286"/>
            <a:chOff x="10162879" y="3243772"/>
            <a:chExt cx="1361638" cy="958286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22F001FE-88BD-4E72-ACF9-AF621E1AE7D2}"/>
                </a:ext>
              </a:extLst>
            </p:cNvPr>
            <p:cNvSpPr txBox="1"/>
            <p:nvPr/>
          </p:nvSpPr>
          <p:spPr>
            <a:xfrm>
              <a:off x="10886522" y="324377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id="{5CE86F18-61A8-4DCD-ABAC-0B15BD62E117}"/>
                </a:ext>
              </a:extLst>
            </p:cNvPr>
            <p:cNvSpPr txBox="1"/>
            <p:nvPr/>
          </p:nvSpPr>
          <p:spPr>
            <a:xfrm>
              <a:off x="10886522" y="3615193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id="{30CCE3CA-84D6-4432-ADE2-0F6B753C34FD}"/>
                </a:ext>
              </a:extLst>
            </p:cNvPr>
            <p:cNvSpPr txBox="1"/>
            <p:nvPr/>
          </p:nvSpPr>
          <p:spPr>
            <a:xfrm>
              <a:off x="10886522" y="398661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id="{FD14BDBA-DFCE-4F57-AA4E-2880FA4D1FF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id="{4B9DF4B5-6F14-48CB-B9CE-600BDB17046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id="{44FFACE1-EA9B-4916-B719-78089106EE1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55" name="LegendMoons" hidden="1">
            <a:extLst>
              <a:ext uri="{FF2B5EF4-FFF2-40B4-BE49-F238E27FC236}">
                <a16:creationId xmlns:a16="http://schemas.microsoft.com/office/drawing/2014/main" id="{7A818255-5FF7-46DE-A5D6-92983EE23E00}"/>
              </a:ext>
            </a:extLst>
          </p:cNvPr>
          <p:cNvGrpSpPr/>
          <p:nvPr userDrawn="1"/>
        </p:nvGrpSpPr>
        <p:grpSpPr>
          <a:xfrm>
            <a:off x="10688315" y="1415983"/>
            <a:ext cx="990627" cy="1731859"/>
            <a:chOff x="7723680" y="1702457"/>
            <a:chExt cx="990627" cy="1731859"/>
          </a:xfrm>
        </p:grpSpPr>
        <p:sp>
          <p:nvSpPr>
            <p:cNvPr id="156" name="Legend1" hidden="1">
              <a:extLst>
                <a:ext uri="{FF2B5EF4-FFF2-40B4-BE49-F238E27FC236}">
                  <a16:creationId xmlns:a16="http://schemas.microsoft.com/office/drawing/2014/main" id="{CD0C793F-AD0E-46E5-B850-56CF1CA0ABD9}"/>
                </a:ext>
              </a:extLst>
            </p:cNvPr>
            <p:cNvSpPr txBox="1"/>
            <p:nvPr/>
          </p:nvSpPr>
          <p:spPr>
            <a:xfrm>
              <a:off x="8076312" y="1709816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7" name="Legend2" hidden="1">
              <a:extLst>
                <a:ext uri="{FF2B5EF4-FFF2-40B4-BE49-F238E27FC236}">
                  <a16:creationId xmlns:a16="http://schemas.microsoft.com/office/drawing/2014/main" id="{B7EAD5BD-3A5A-4BC7-A399-BFAA0AE18C28}"/>
                </a:ext>
              </a:extLst>
            </p:cNvPr>
            <p:cNvSpPr txBox="1"/>
            <p:nvPr/>
          </p:nvSpPr>
          <p:spPr>
            <a:xfrm>
              <a:off x="8076312" y="2085275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8" name="Legend3" hidden="1">
              <a:extLst>
                <a:ext uri="{FF2B5EF4-FFF2-40B4-BE49-F238E27FC236}">
                  <a16:creationId xmlns:a16="http://schemas.microsoft.com/office/drawing/2014/main" id="{22515723-5223-432C-8341-059BC856ADB3}"/>
                </a:ext>
              </a:extLst>
            </p:cNvPr>
            <p:cNvSpPr txBox="1"/>
            <p:nvPr/>
          </p:nvSpPr>
          <p:spPr>
            <a:xfrm>
              <a:off x="8076312" y="246073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9" name="Legend4" hidden="1">
              <a:extLst>
                <a:ext uri="{FF2B5EF4-FFF2-40B4-BE49-F238E27FC236}">
                  <a16:creationId xmlns:a16="http://schemas.microsoft.com/office/drawing/2014/main" id="{C176E604-7D00-487B-949D-28B22E91313F}"/>
                </a:ext>
              </a:extLst>
            </p:cNvPr>
            <p:cNvSpPr txBox="1"/>
            <p:nvPr/>
          </p:nvSpPr>
          <p:spPr>
            <a:xfrm>
              <a:off x="8076312" y="2836193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0" name="Legend5" hidden="1">
              <a:extLst>
                <a:ext uri="{FF2B5EF4-FFF2-40B4-BE49-F238E27FC236}">
                  <a16:creationId xmlns:a16="http://schemas.microsoft.com/office/drawing/2014/main" id="{6EBB621A-2F4C-4F8A-9C7B-B11B4E35A4C8}"/>
                </a:ext>
              </a:extLst>
            </p:cNvPr>
            <p:cNvSpPr txBox="1"/>
            <p:nvPr/>
          </p:nvSpPr>
          <p:spPr>
            <a:xfrm>
              <a:off x="8076312" y="321165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61" name="MoonLegend1" hidden="1">
              <a:extLst>
                <a:ext uri="{FF2B5EF4-FFF2-40B4-BE49-F238E27FC236}">
                  <a16:creationId xmlns:a16="http://schemas.microsoft.com/office/drawing/2014/main" id="{F0608187-6FA4-4ECA-B05C-444806AC3B92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59ED6E42-6934-4E6E-9C4D-04279A65F95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2E160F9B-F9EE-40EB-BE49-39F542E1ABA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2" name="MoonLegend2" hidden="1">
              <a:extLst>
                <a:ext uri="{FF2B5EF4-FFF2-40B4-BE49-F238E27FC236}">
                  <a16:creationId xmlns:a16="http://schemas.microsoft.com/office/drawing/2014/main" id="{63D0F8DF-C0E8-4FD1-8A2D-6494E30743C7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595F5BDC-8AE8-42F9-97BE-F2629CF5A8F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AC411E90-3BF2-42B2-BEF1-70310E9C6F8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3" name="MoonLegend3" hidden="1">
              <a:extLst>
                <a:ext uri="{FF2B5EF4-FFF2-40B4-BE49-F238E27FC236}">
                  <a16:creationId xmlns:a16="http://schemas.microsoft.com/office/drawing/2014/main" id="{1E1899A9-4E8C-46CA-81B3-C09EB42880C6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0" name="Oval 179" hidden="1">
                <a:extLst>
                  <a:ext uri="{FF2B5EF4-FFF2-40B4-BE49-F238E27FC236}">
                    <a16:creationId xmlns:a16="http://schemas.microsoft.com/office/drawing/2014/main" id="{E4846378-117B-47C6-9D44-7CCAC2482B3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Arc 180" hidden="1">
                <a:extLst>
                  <a:ext uri="{FF2B5EF4-FFF2-40B4-BE49-F238E27FC236}">
                    <a16:creationId xmlns:a16="http://schemas.microsoft.com/office/drawing/2014/main" id="{911EEADC-90AD-403E-9185-EC112BB6B4F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4" name="MoonLegend4" hidden="1">
              <a:extLst>
                <a:ext uri="{FF2B5EF4-FFF2-40B4-BE49-F238E27FC236}">
                  <a16:creationId xmlns:a16="http://schemas.microsoft.com/office/drawing/2014/main" id="{97143BDD-D948-4B7C-B718-EB1BF8A8489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8" name="Oval 167" hidden="1">
                <a:extLst>
                  <a:ext uri="{FF2B5EF4-FFF2-40B4-BE49-F238E27FC236}">
                    <a16:creationId xmlns:a16="http://schemas.microsoft.com/office/drawing/2014/main" id="{C94E0620-0124-440C-B787-3C46D9988F09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Arc 178" hidden="1">
                <a:extLst>
                  <a:ext uri="{FF2B5EF4-FFF2-40B4-BE49-F238E27FC236}">
                    <a16:creationId xmlns:a16="http://schemas.microsoft.com/office/drawing/2014/main" id="{27D07BC4-8F29-47B3-A7A9-4F38A5CFAD6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5" name="MoonLegend5" hidden="1">
              <a:extLst>
                <a:ext uri="{FF2B5EF4-FFF2-40B4-BE49-F238E27FC236}">
                  <a16:creationId xmlns:a16="http://schemas.microsoft.com/office/drawing/2014/main" id="{8D333D92-2164-4167-B0F6-DACC2D19772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6" name="Oval 165" hidden="1">
                <a:extLst>
                  <a:ext uri="{FF2B5EF4-FFF2-40B4-BE49-F238E27FC236}">
                    <a16:creationId xmlns:a16="http://schemas.microsoft.com/office/drawing/2014/main" id="{FDB0A9CB-78E6-4549-B287-F1AF32280E74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Arc 166" hidden="1">
                <a:extLst>
                  <a:ext uri="{FF2B5EF4-FFF2-40B4-BE49-F238E27FC236}">
                    <a16:creationId xmlns:a16="http://schemas.microsoft.com/office/drawing/2014/main" id="{A630C9B3-C010-49EF-B136-136D9BD2CA01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BA47934C-5733-43F4-B6F6-21380FE2949C}"/>
              </a:ext>
            </a:extLst>
          </p:cNvPr>
          <p:cNvGrpSpPr/>
          <p:nvPr userDrawn="1"/>
        </p:nvGrpSpPr>
        <p:grpSpPr>
          <a:xfrm>
            <a:off x="10714801" y="4520490"/>
            <a:ext cx="964141" cy="1717282"/>
            <a:chOff x="10652400" y="4322824"/>
            <a:chExt cx="964141" cy="1717282"/>
          </a:xfrm>
        </p:grpSpPr>
        <p:sp>
          <p:nvSpPr>
            <p:cNvPr id="188" name="RectangleLegend1" hidden="1">
              <a:extLst>
                <a:ext uri="{FF2B5EF4-FFF2-40B4-BE49-F238E27FC236}">
                  <a16:creationId xmlns:a16="http://schemas.microsoft.com/office/drawing/2014/main" id="{4F488EDB-5556-4511-8A96-E1338F5E4646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 hidden="1">
              <a:extLst>
                <a:ext uri="{FF2B5EF4-FFF2-40B4-BE49-F238E27FC236}">
                  <a16:creationId xmlns:a16="http://schemas.microsoft.com/office/drawing/2014/main" id="{0423580E-1E98-4AB7-8FF8-1B253BAF8BF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 hidden="1">
              <a:extLst>
                <a:ext uri="{FF2B5EF4-FFF2-40B4-BE49-F238E27FC236}">
                  <a16:creationId xmlns:a16="http://schemas.microsoft.com/office/drawing/2014/main" id="{16EA4BF8-E1EF-4EAF-92FC-AA1EB7E977E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 hidden="1">
              <a:extLst>
                <a:ext uri="{FF2B5EF4-FFF2-40B4-BE49-F238E27FC236}">
                  <a16:creationId xmlns:a16="http://schemas.microsoft.com/office/drawing/2014/main" id="{4DC24EA8-A23C-42EA-9725-4A5316E166F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 hidden="1">
              <a:extLst>
                <a:ext uri="{FF2B5EF4-FFF2-40B4-BE49-F238E27FC236}">
                  <a16:creationId xmlns:a16="http://schemas.microsoft.com/office/drawing/2014/main" id="{60A82744-7E03-4D44-8491-F70D356007A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 hidden="1">
              <a:extLst>
                <a:ext uri="{FF2B5EF4-FFF2-40B4-BE49-F238E27FC236}">
                  <a16:creationId xmlns:a16="http://schemas.microsoft.com/office/drawing/2014/main" id="{E5D4A419-6B52-4363-81C4-0083A290484A}"/>
                </a:ext>
              </a:extLst>
            </p:cNvPr>
            <p:cNvSpPr txBox="1"/>
            <p:nvPr/>
          </p:nvSpPr>
          <p:spPr>
            <a:xfrm>
              <a:off x="10978546" y="4322824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 hidden="1">
              <a:extLst>
                <a:ext uri="{FF2B5EF4-FFF2-40B4-BE49-F238E27FC236}">
                  <a16:creationId xmlns:a16="http://schemas.microsoft.com/office/drawing/2014/main" id="{5349D377-39CD-4A6D-AFF2-1B42523C5B8D}"/>
                </a:ext>
              </a:extLst>
            </p:cNvPr>
            <p:cNvSpPr txBox="1"/>
            <p:nvPr/>
          </p:nvSpPr>
          <p:spPr>
            <a:xfrm>
              <a:off x="10978546" y="470232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 hidden="1">
              <a:extLst>
                <a:ext uri="{FF2B5EF4-FFF2-40B4-BE49-F238E27FC236}">
                  <a16:creationId xmlns:a16="http://schemas.microsoft.com/office/drawing/2014/main" id="{C15EE519-AE85-43F0-9B2E-D80728D1620D}"/>
                </a:ext>
              </a:extLst>
            </p:cNvPr>
            <p:cNvSpPr txBox="1"/>
            <p:nvPr/>
          </p:nvSpPr>
          <p:spPr>
            <a:xfrm>
              <a:off x="10978546" y="5081820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 hidden="1">
              <a:extLst>
                <a:ext uri="{FF2B5EF4-FFF2-40B4-BE49-F238E27FC236}">
                  <a16:creationId xmlns:a16="http://schemas.microsoft.com/office/drawing/2014/main" id="{9867F306-733F-4CFD-A888-629E1CF506B6}"/>
                </a:ext>
              </a:extLst>
            </p:cNvPr>
            <p:cNvSpPr txBox="1"/>
            <p:nvPr/>
          </p:nvSpPr>
          <p:spPr>
            <a:xfrm>
              <a:off x="10978546" y="5453241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 hidden="1">
              <a:extLst>
                <a:ext uri="{FF2B5EF4-FFF2-40B4-BE49-F238E27FC236}">
                  <a16:creationId xmlns:a16="http://schemas.microsoft.com/office/drawing/2014/main" id="{B3D9300D-CCDE-495A-9E6F-BD5EFE160B13}"/>
                </a:ext>
              </a:extLst>
            </p:cNvPr>
            <p:cNvSpPr txBox="1"/>
            <p:nvPr/>
          </p:nvSpPr>
          <p:spPr>
            <a:xfrm>
              <a:off x="10978545" y="5824662"/>
              <a:ext cx="63799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25881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396" indent="-226796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793" indent="-215997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7590" indent="-1511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187" indent="-14759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890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3D15743B-00FA-4CBC-980C-5F9CA12EF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A6B0FF4-F2C5-4E81-BFBE-88941BA4BC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1F522F3-AED5-405D-9ABE-C3664A74A0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50624-9E14-4D92-A313-D46DCE741B6F}" type="datetimeFigureOut">
              <a:rPr lang="pt-BR" smtClean="0"/>
              <a:t>16/01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941B685-DEF8-4D2F-B442-902FFFD756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EFCEB90-E581-44AF-9AF3-370FFBCF85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3FE9F4-4BE6-4835-80E8-72C0B3215EE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89631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04.xml"/><Relationship Id="rId7" Type="http://schemas.openxmlformats.org/officeDocument/2006/relationships/image" Target="../media/image1.emf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5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206.xml"/><Relationship Id="rId6" Type="http://schemas.openxmlformats.org/officeDocument/2006/relationships/image" Target="../media/image59.png"/><Relationship Id="rId11" Type="http://schemas.openxmlformats.org/officeDocument/2006/relationships/image" Target="../media/image17.png"/><Relationship Id="rId5" Type="http://schemas.openxmlformats.org/officeDocument/2006/relationships/image" Target="../media/image58.emf"/><Relationship Id="rId10" Type="http://schemas.openxmlformats.org/officeDocument/2006/relationships/image" Target="../media/image63.sv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6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73.svg"/><Relationship Id="rId5" Type="http://schemas.openxmlformats.org/officeDocument/2006/relationships/image" Target="../media/image72.png"/><Relationship Id="rId4" Type="http://schemas.openxmlformats.org/officeDocument/2006/relationships/image" Target="../media/image71.svg"/><Relationship Id="rId9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svg"/><Relationship Id="rId13" Type="http://schemas.openxmlformats.org/officeDocument/2006/relationships/image" Target="../media/image72.png"/><Relationship Id="rId18" Type="http://schemas.openxmlformats.org/officeDocument/2006/relationships/image" Target="../media/image88.svg"/><Relationship Id="rId3" Type="http://schemas.openxmlformats.org/officeDocument/2006/relationships/image" Target="../media/image75.png"/><Relationship Id="rId21" Type="http://schemas.openxmlformats.org/officeDocument/2006/relationships/image" Target="../media/image90.png"/><Relationship Id="rId7" Type="http://schemas.openxmlformats.org/officeDocument/2006/relationships/image" Target="../media/image79.png"/><Relationship Id="rId12" Type="http://schemas.openxmlformats.org/officeDocument/2006/relationships/image" Target="../media/image84.svg"/><Relationship Id="rId17" Type="http://schemas.openxmlformats.org/officeDocument/2006/relationships/image" Target="../media/image87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86.svg"/><Relationship Id="rId20" Type="http://schemas.openxmlformats.org/officeDocument/2006/relationships/image" Target="../media/image89.jpe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78.svg"/><Relationship Id="rId11" Type="http://schemas.openxmlformats.org/officeDocument/2006/relationships/image" Target="../media/image83.png"/><Relationship Id="rId5" Type="http://schemas.openxmlformats.org/officeDocument/2006/relationships/image" Target="../media/image77.png"/><Relationship Id="rId15" Type="http://schemas.openxmlformats.org/officeDocument/2006/relationships/image" Target="../media/image85.png"/><Relationship Id="rId23" Type="http://schemas.openxmlformats.org/officeDocument/2006/relationships/image" Target="../media/image2.png"/><Relationship Id="rId10" Type="http://schemas.openxmlformats.org/officeDocument/2006/relationships/image" Target="../media/image82.svg"/><Relationship Id="rId19" Type="http://schemas.openxmlformats.org/officeDocument/2006/relationships/image" Target="../media/image53.png"/><Relationship Id="rId4" Type="http://schemas.openxmlformats.org/officeDocument/2006/relationships/image" Target="../media/image76.svg"/><Relationship Id="rId9" Type="http://schemas.openxmlformats.org/officeDocument/2006/relationships/image" Target="../media/image81.png"/><Relationship Id="rId14" Type="http://schemas.openxmlformats.org/officeDocument/2006/relationships/image" Target="../media/image73.svg"/><Relationship Id="rId22" Type="http://schemas.openxmlformats.org/officeDocument/2006/relationships/image" Target="../media/image5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svg"/><Relationship Id="rId13" Type="http://schemas.openxmlformats.org/officeDocument/2006/relationships/image" Target="../media/image17.png"/><Relationship Id="rId3" Type="http://schemas.openxmlformats.org/officeDocument/2006/relationships/image" Target="../media/image91.png"/><Relationship Id="rId7" Type="http://schemas.openxmlformats.org/officeDocument/2006/relationships/image" Target="../media/image95.png"/><Relationship Id="rId12" Type="http://schemas.microsoft.com/office/2007/relationships/hdphoto" Target="../media/hdphoto1.wdp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94.svg"/><Relationship Id="rId11" Type="http://schemas.openxmlformats.org/officeDocument/2006/relationships/image" Target="../media/image74.png"/><Relationship Id="rId5" Type="http://schemas.openxmlformats.org/officeDocument/2006/relationships/image" Target="../media/image93.png"/><Relationship Id="rId10" Type="http://schemas.openxmlformats.org/officeDocument/2006/relationships/image" Target="../media/image98.svg"/><Relationship Id="rId4" Type="http://schemas.openxmlformats.org/officeDocument/2006/relationships/image" Target="../media/image92.svg"/><Relationship Id="rId9" Type="http://schemas.openxmlformats.org/officeDocument/2006/relationships/image" Target="../media/image9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jpeg"/><Relationship Id="rId13" Type="http://schemas.openxmlformats.org/officeDocument/2006/relationships/image" Target="../media/image109.jpe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12" Type="http://schemas.openxmlformats.org/officeDocument/2006/relationships/image" Target="../media/image10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102.svg"/><Relationship Id="rId11" Type="http://schemas.openxmlformats.org/officeDocument/2006/relationships/image" Target="../media/image107.svg"/><Relationship Id="rId5" Type="http://schemas.openxmlformats.org/officeDocument/2006/relationships/image" Target="../media/image101.png"/><Relationship Id="rId15" Type="http://schemas.openxmlformats.org/officeDocument/2006/relationships/image" Target="../media/image90.png"/><Relationship Id="rId10" Type="http://schemas.openxmlformats.org/officeDocument/2006/relationships/image" Target="../media/image106.png"/><Relationship Id="rId4" Type="http://schemas.openxmlformats.org/officeDocument/2006/relationships/image" Target="../media/image100.svg"/><Relationship Id="rId9" Type="http://schemas.openxmlformats.org/officeDocument/2006/relationships/image" Target="../media/image105.png"/><Relationship Id="rId14" Type="http://schemas.openxmlformats.org/officeDocument/2006/relationships/image" Target="../media/image5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13" Type="http://schemas.openxmlformats.org/officeDocument/2006/relationships/image" Target="../media/image107.svg"/><Relationship Id="rId3" Type="http://schemas.openxmlformats.org/officeDocument/2006/relationships/image" Target="../media/image99.png"/><Relationship Id="rId7" Type="http://schemas.openxmlformats.org/officeDocument/2006/relationships/image" Target="../media/image110.jpeg"/><Relationship Id="rId12" Type="http://schemas.openxmlformats.org/officeDocument/2006/relationships/image" Target="../media/image10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102.svg"/><Relationship Id="rId11" Type="http://schemas.openxmlformats.org/officeDocument/2006/relationships/image" Target="../media/image105.png"/><Relationship Id="rId5" Type="http://schemas.openxmlformats.org/officeDocument/2006/relationships/image" Target="../media/image101.png"/><Relationship Id="rId15" Type="http://schemas.openxmlformats.org/officeDocument/2006/relationships/image" Target="../media/image90.png"/><Relationship Id="rId10" Type="http://schemas.openxmlformats.org/officeDocument/2006/relationships/image" Target="../media/image104.jpeg"/><Relationship Id="rId4" Type="http://schemas.openxmlformats.org/officeDocument/2006/relationships/image" Target="../media/image100.svg"/><Relationship Id="rId9" Type="http://schemas.openxmlformats.org/officeDocument/2006/relationships/image" Target="../media/image103.png"/><Relationship Id="rId14" Type="http://schemas.openxmlformats.org/officeDocument/2006/relationships/image" Target="../media/image112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0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24.emf"/><Relationship Id="rId12" Type="http://schemas.openxmlformats.org/officeDocument/2006/relationships/image" Target="../media/image17.png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oleObject" Target="../embeddings/oleObject34.bin"/><Relationship Id="rId11" Type="http://schemas.openxmlformats.org/officeDocument/2006/relationships/image" Target="../media/image90.png"/><Relationship Id="rId5" Type="http://schemas.openxmlformats.org/officeDocument/2006/relationships/image" Target="../media/image112.jpg"/><Relationship Id="rId10" Type="http://schemas.openxmlformats.org/officeDocument/2006/relationships/image" Target="../media/image53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14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microsoft.com/office/2007/relationships/hdphoto" Target="../media/hdphoto1.wdp"/><Relationship Id="rId3" Type="http://schemas.openxmlformats.org/officeDocument/2006/relationships/tags" Target="../tags/tag211.xml"/><Relationship Id="rId7" Type="http://schemas.openxmlformats.org/officeDocument/2006/relationships/image" Target="../media/image117.png"/><Relationship Id="rId12" Type="http://schemas.openxmlformats.org/officeDocument/2006/relationships/image" Target="../media/image74.png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image" Target="../media/image116.png"/><Relationship Id="rId11" Type="http://schemas.openxmlformats.org/officeDocument/2006/relationships/image" Target="../media/image121.png"/><Relationship Id="rId5" Type="http://schemas.openxmlformats.org/officeDocument/2006/relationships/image" Target="../media/image115.png"/><Relationship Id="rId10" Type="http://schemas.openxmlformats.org/officeDocument/2006/relationships/image" Target="../media/image120.png"/><Relationship Id="rId4" Type="http://schemas.openxmlformats.org/officeDocument/2006/relationships/slideLayout" Target="../slideLayouts/slideLayout57.xml"/><Relationship Id="rId9" Type="http://schemas.openxmlformats.org/officeDocument/2006/relationships/image" Target="../media/image119.png"/><Relationship Id="rId1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svg"/><Relationship Id="rId3" Type="http://schemas.microsoft.com/office/2007/relationships/media" Target="../media/media2.mp4"/><Relationship Id="rId7" Type="http://schemas.openxmlformats.org/officeDocument/2006/relationships/image" Target="../media/image122.png"/><Relationship Id="rId12" Type="http://schemas.openxmlformats.org/officeDocument/2006/relationships/image" Target="../media/image17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notesSlide" Target="../notesSlides/notesSlide15.xml"/><Relationship Id="rId11" Type="http://schemas.openxmlformats.org/officeDocument/2006/relationships/image" Target="../media/image125.png"/><Relationship Id="rId5" Type="http://schemas.openxmlformats.org/officeDocument/2006/relationships/slideLayout" Target="../slideLayouts/slideLayout67.xml"/><Relationship Id="rId10" Type="http://schemas.openxmlformats.org/officeDocument/2006/relationships/image" Target="../media/image90.png"/><Relationship Id="rId4" Type="http://schemas.openxmlformats.org/officeDocument/2006/relationships/video" Target="../media/media2.mp4"/><Relationship Id="rId9" Type="http://schemas.openxmlformats.org/officeDocument/2006/relationships/image" Target="../media/image1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sv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17.png"/><Relationship Id="rId5" Type="http://schemas.openxmlformats.org/officeDocument/2006/relationships/image" Target="../media/image53.png"/><Relationship Id="rId4" Type="http://schemas.openxmlformats.org/officeDocument/2006/relationships/chart" Target="../charts/char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212.xml"/><Relationship Id="rId4" Type="http://schemas.openxmlformats.org/officeDocument/2006/relationships/image" Target="../media/image12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18" Type="http://schemas.openxmlformats.org/officeDocument/2006/relationships/image" Target="../media/image37.png"/><Relationship Id="rId26" Type="http://schemas.openxmlformats.org/officeDocument/2006/relationships/image" Target="../media/image45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40.svg"/><Relationship Id="rId7" Type="http://schemas.openxmlformats.org/officeDocument/2006/relationships/image" Target="../media/image26.svg"/><Relationship Id="rId12" Type="http://schemas.openxmlformats.org/officeDocument/2006/relationships/image" Target="../media/image31.png"/><Relationship Id="rId17" Type="http://schemas.openxmlformats.org/officeDocument/2006/relationships/image" Target="../media/image36.svg"/><Relationship Id="rId25" Type="http://schemas.openxmlformats.org/officeDocument/2006/relationships/image" Target="../media/image44.sv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29" Type="http://schemas.openxmlformats.org/officeDocument/2006/relationships/image" Target="../media/image48.svg"/><Relationship Id="rId1" Type="http://schemas.openxmlformats.org/officeDocument/2006/relationships/tags" Target="../tags/tag205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24" Type="http://schemas.openxmlformats.org/officeDocument/2006/relationships/image" Target="../media/image43.png"/><Relationship Id="rId5" Type="http://schemas.openxmlformats.org/officeDocument/2006/relationships/image" Target="../media/image24.emf"/><Relationship Id="rId15" Type="http://schemas.openxmlformats.org/officeDocument/2006/relationships/image" Target="../media/image34.svg"/><Relationship Id="rId23" Type="http://schemas.openxmlformats.org/officeDocument/2006/relationships/image" Target="../media/image42.svg"/><Relationship Id="rId28" Type="http://schemas.openxmlformats.org/officeDocument/2006/relationships/image" Target="../media/image47.png"/><Relationship Id="rId10" Type="http://schemas.openxmlformats.org/officeDocument/2006/relationships/image" Target="../media/image29.png"/><Relationship Id="rId19" Type="http://schemas.openxmlformats.org/officeDocument/2006/relationships/image" Target="../media/image38.sv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28.svg"/><Relationship Id="rId14" Type="http://schemas.openxmlformats.org/officeDocument/2006/relationships/image" Target="../media/image33.png"/><Relationship Id="rId22" Type="http://schemas.openxmlformats.org/officeDocument/2006/relationships/image" Target="../media/image41.png"/><Relationship Id="rId27" Type="http://schemas.openxmlformats.org/officeDocument/2006/relationships/image" Target="../media/image46.svg"/><Relationship Id="rId30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17.png"/><Relationship Id="rId4" Type="http://schemas.openxmlformats.org/officeDocument/2006/relationships/image" Target="../media/image5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.png"/><Relationship Id="rId5" Type="http://schemas.openxmlformats.org/officeDocument/2006/relationships/image" Target="../media/image56.png"/><Relationship Id="rId4" Type="http://schemas.openxmlformats.org/officeDocument/2006/relationships/image" Target="../media/image5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Subtítulo 6">
            <a:extLst>
              <a:ext uri="{FF2B5EF4-FFF2-40B4-BE49-F238E27FC236}">
                <a16:creationId xmlns:a16="http://schemas.microsoft.com/office/drawing/2014/main" id="{98A7C3E3-7C11-75D1-4FFD-19139CF619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1942" y="5707522"/>
            <a:ext cx="7462634" cy="276999"/>
          </a:xfrm>
        </p:spPr>
        <p:txBody>
          <a:bodyPr/>
          <a:lstStyle/>
          <a:p>
            <a:pPr marL="0" indent="0">
              <a:buNone/>
            </a:pPr>
            <a:r>
              <a:rPr lang="pt-BR" dirty="0"/>
              <a:t>PTE Fase 2 – Workshop CEBRI</a:t>
            </a:r>
          </a:p>
        </p:txBody>
      </p:sp>
      <p:sp>
        <p:nvSpPr>
          <p:cNvPr id="9" name="Título 8">
            <a:extLst>
              <a:ext uri="{FF2B5EF4-FFF2-40B4-BE49-F238E27FC236}">
                <a16:creationId xmlns:a16="http://schemas.microsoft.com/office/drawing/2014/main" id="{7D9CC90E-F36E-4443-0417-76F1B57C6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1" y="4838579"/>
            <a:ext cx="11640059" cy="747897"/>
          </a:xfrm>
        </p:spPr>
        <p:txBody>
          <a:bodyPr/>
          <a:lstStyle/>
          <a:p>
            <a:r>
              <a:rPr lang="pt-BR" sz="5400" dirty="0"/>
              <a:t>Case EDP – Planta de Hidrogênio Verde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36B8844A-E942-1DE1-DDCB-C7006B6265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93800" y="1"/>
            <a:ext cx="5478312" cy="48736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671000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tângulo 30">
            <a:extLst>
              <a:ext uri="{FF2B5EF4-FFF2-40B4-BE49-F238E27FC236}">
                <a16:creationId xmlns:a16="http://schemas.microsoft.com/office/drawing/2014/main" id="{F466D393-6A89-1646-F223-4774B1E0A12B}"/>
              </a:ext>
            </a:extLst>
          </p:cNvPr>
          <p:cNvSpPr/>
          <p:nvPr/>
        </p:nvSpPr>
        <p:spPr>
          <a:xfrm>
            <a:off x="533400" y="5162550"/>
            <a:ext cx="2433638" cy="876300"/>
          </a:xfrm>
          <a:prstGeom prst="rect">
            <a:avLst/>
          </a:prstGeom>
          <a:solidFill>
            <a:srgbClr val="225E66"/>
          </a:solidFill>
        </p:spPr>
        <p:txBody>
          <a:bodyPr wrap="square" lIns="182880" tIns="0" rIns="109728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" pitchFamily="2" charset="0"/>
                <a:ea typeface="+mn-ea"/>
                <a:cs typeface="+mn-cs"/>
              </a:rPr>
              <a:t>Inovação 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" pitchFamily="2" charset="0"/>
                <a:ea typeface="+mn-ea"/>
                <a:cs typeface="+mn-cs"/>
              </a:rPr>
              <a:t>Parcerias</a:t>
            </a: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C653A6C6-A7D9-0E11-A594-7198927D0710}"/>
              </a:ext>
            </a:extLst>
          </p:cNvPr>
          <p:cNvSpPr/>
          <p:nvPr/>
        </p:nvSpPr>
        <p:spPr>
          <a:xfrm>
            <a:off x="533400" y="4078339"/>
            <a:ext cx="2433638" cy="876300"/>
          </a:xfrm>
          <a:prstGeom prst="rect">
            <a:avLst/>
          </a:prstGeom>
          <a:solidFill>
            <a:srgbClr val="225E66"/>
          </a:solidFill>
        </p:spPr>
        <p:txBody>
          <a:bodyPr wrap="square" lIns="0" tIns="0" rIns="792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" pitchFamily="2" charset="0"/>
                <a:ea typeface="+mn-ea"/>
                <a:cs typeface="+mn-cs"/>
              </a:rPr>
              <a:t>Comércio 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" pitchFamily="2" charset="0"/>
                <a:ea typeface="+mn-ea"/>
                <a:cs typeface="+mn-cs"/>
              </a:rPr>
              <a:t>Modelo de Negócio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E4D181E4-C83C-4AD3-FD0C-C407EDE13F8A}"/>
              </a:ext>
            </a:extLst>
          </p:cNvPr>
          <p:cNvSpPr/>
          <p:nvPr/>
        </p:nvSpPr>
        <p:spPr>
          <a:xfrm>
            <a:off x="533400" y="2990728"/>
            <a:ext cx="2433638" cy="876300"/>
          </a:xfrm>
          <a:prstGeom prst="rect">
            <a:avLst/>
          </a:prstGeom>
          <a:solidFill>
            <a:srgbClr val="225E66"/>
          </a:solidFill>
        </p:spPr>
        <p:txBody>
          <a:bodyPr wrap="square" lIns="182880" tIns="0" rIns="109728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" pitchFamily="2" charset="0"/>
                <a:ea typeface="+mn-ea"/>
                <a:cs typeface="+mn-cs"/>
              </a:rPr>
              <a:t>Geração Convencional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3B219368-300C-CD09-4420-1BCE645E46D8}"/>
              </a:ext>
            </a:extLst>
          </p:cNvPr>
          <p:cNvCxnSpPr>
            <a:cxnSpLocks/>
          </p:cNvCxnSpPr>
          <p:nvPr/>
        </p:nvCxnSpPr>
        <p:spPr>
          <a:xfrm>
            <a:off x="7406925" y="1674811"/>
            <a:ext cx="4063556" cy="0"/>
          </a:xfrm>
          <a:prstGeom prst="line">
            <a:avLst/>
          </a:prstGeom>
          <a:ln w="38100" cap="rnd">
            <a:solidFill>
              <a:srgbClr val="6D32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DEB8CCA6-BF30-04D6-57F3-04E3DF9BE6A6}"/>
              </a:ext>
            </a:extLst>
          </p:cNvPr>
          <p:cNvCxnSpPr>
            <a:cxnSpLocks/>
          </p:cNvCxnSpPr>
          <p:nvPr/>
        </p:nvCxnSpPr>
        <p:spPr>
          <a:xfrm>
            <a:off x="3155600" y="1674811"/>
            <a:ext cx="4063556" cy="0"/>
          </a:xfrm>
          <a:prstGeom prst="line">
            <a:avLst/>
          </a:prstGeom>
          <a:ln w="38100" cap="rnd">
            <a:solidFill>
              <a:srgbClr val="6D32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1051">
            <a:extLst>
              <a:ext uri="{FF2B5EF4-FFF2-40B4-BE49-F238E27FC236}">
                <a16:creationId xmlns:a16="http://schemas.microsoft.com/office/drawing/2014/main" id="{BC0C6F0E-AB62-51C6-00A3-2BCE4C16196D}"/>
              </a:ext>
            </a:extLst>
          </p:cNvPr>
          <p:cNvSpPr txBox="1">
            <a:spLocks/>
          </p:cNvSpPr>
          <p:nvPr/>
        </p:nvSpPr>
        <p:spPr>
          <a:xfrm>
            <a:off x="3155600" y="1371603"/>
            <a:ext cx="4063556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Fatores Diferenciai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10" name="TextBox 1051">
            <a:extLst>
              <a:ext uri="{FF2B5EF4-FFF2-40B4-BE49-F238E27FC236}">
                <a16:creationId xmlns:a16="http://schemas.microsoft.com/office/drawing/2014/main" id="{960DF76B-BD5C-88A6-8D88-E890BED2DE33}"/>
              </a:ext>
            </a:extLst>
          </p:cNvPr>
          <p:cNvSpPr txBox="1">
            <a:spLocks/>
          </p:cNvSpPr>
          <p:nvPr/>
        </p:nvSpPr>
        <p:spPr>
          <a:xfrm>
            <a:off x="7406925" y="1371603"/>
            <a:ext cx="4063556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Benefícios de projetos de H</a:t>
            </a:r>
            <a:r>
              <a:rPr kumimoji="0" lang="pt-BR" sz="16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2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D751A2-4316-1077-DDA2-AB5A5F05CAA9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10234127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0000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EDP está alavancando sua capacidade e presença global para dar suporte ao desenvolvimento de projetos de H</a:t>
            </a:r>
            <a:r>
              <a:rPr kumimoji="0" lang="pt-BR" sz="2700" b="0" i="0" u="none" strike="noStrike" kern="1200" cap="none" spc="0" normalizeH="0" baseline="-25000" noProof="0" dirty="0">
                <a:ln w="6350" cap="flat">
                  <a:noFill/>
                  <a:miter lim="800000"/>
                </a:ln>
                <a:solidFill>
                  <a:srgbClr val="000000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2</a:t>
            </a:r>
            <a:endParaRPr kumimoji="0" lang="pt-BR" sz="2700" b="0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6D32FF"/>
              </a:solidFill>
              <a:effectLst/>
              <a:uLnTx/>
              <a:uFillTx/>
              <a:latin typeface="FT Base"/>
              <a:ea typeface="+mj-ea"/>
              <a:cs typeface="+mj-cs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FBFEE508-63A7-E550-A823-08E803E48957}"/>
              </a:ext>
            </a:extLst>
          </p:cNvPr>
          <p:cNvSpPr/>
          <p:nvPr/>
        </p:nvSpPr>
        <p:spPr>
          <a:xfrm>
            <a:off x="533400" y="1928813"/>
            <a:ext cx="2433638" cy="876300"/>
          </a:xfrm>
          <a:prstGeom prst="rect">
            <a:avLst/>
          </a:prstGeom>
          <a:solidFill>
            <a:srgbClr val="225E66"/>
          </a:solidFill>
        </p:spPr>
        <p:txBody>
          <a:bodyPr wrap="square" lIns="182880" tIns="0" rIns="109728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" pitchFamily="2" charset="0"/>
                <a:ea typeface="+mn-ea"/>
                <a:cs typeface="+mn-cs"/>
              </a:rPr>
              <a:t>Geração Renovável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D6E23A4E-20CC-9E99-24FC-079E187F8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3112" y="1928691"/>
            <a:ext cx="923925" cy="876300"/>
          </a:xfrm>
          <a:prstGeom prst="rect">
            <a:avLst/>
          </a:prstGeom>
        </p:spPr>
      </p:pic>
      <p:grpSp>
        <p:nvGrpSpPr>
          <p:cNvPr id="15" name="Graphic 12">
            <a:extLst>
              <a:ext uri="{FF2B5EF4-FFF2-40B4-BE49-F238E27FC236}">
                <a16:creationId xmlns:a16="http://schemas.microsoft.com/office/drawing/2014/main" id="{F170553B-3462-ABAA-273F-3875C36DA665}"/>
              </a:ext>
            </a:extLst>
          </p:cNvPr>
          <p:cNvGrpSpPr/>
          <p:nvPr/>
        </p:nvGrpSpPr>
        <p:grpSpPr>
          <a:xfrm>
            <a:off x="2141765" y="3100598"/>
            <a:ext cx="657065" cy="656804"/>
            <a:chOff x="6865874" y="2105117"/>
            <a:chExt cx="657065" cy="656804"/>
          </a:xfrm>
          <a:solidFill>
            <a:schemeClr val="bg1"/>
          </a:solidFill>
        </p:grpSpPr>
        <p:sp>
          <p:nvSpPr>
            <p:cNvPr id="16" name="Freeform: Shape 182">
              <a:extLst>
                <a:ext uri="{FF2B5EF4-FFF2-40B4-BE49-F238E27FC236}">
                  <a16:creationId xmlns:a16="http://schemas.microsoft.com/office/drawing/2014/main" id="{C777863F-0264-3BF3-89D2-26E9C56FDC2F}"/>
                </a:ext>
              </a:extLst>
            </p:cNvPr>
            <p:cNvSpPr/>
            <p:nvPr/>
          </p:nvSpPr>
          <p:spPr>
            <a:xfrm>
              <a:off x="6948551" y="2207415"/>
              <a:ext cx="271207" cy="87590"/>
            </a:xfrm>
            <a:custGeom>
              <a:avLst/>
              <a:gdLst>
                <a:gd name="connsiteX0" fmla="*/ 13049 w 271207"/>
                <a:gd name="connsiteY0" fmla="*/ 87591 h 87590"/>
                <a:gd name="connsiteX1" fmla="*/ 13145 w 271207"/>
                <a:gd name="connsiteY1" fmla="*/ 87591 h 87590"/>
                <a:gd name="connsiteX2" fmla="*/ 26289 w 271207"/>
                <a:gd name="connsiteY2" fmla="*/ 74541 h 87590"/>
                <a:gd name="connsiteX3" fmla="*/ 48387 w 271207"/>
                <a:gd name="connsiteY3" fmla="*/ 34917 h 87590"/>
                <a:gd name="connsiteX4" fmla="*/ 96203 w 271207"/>
                <a:gd name="connsiteY4" fmla="*/ 29298 h 87590"/>
                <a:gd name="connsiteX5" fmla="*/ 118396 w 271207"/>
                <a:gd name="connsiteY5" fmla="*/ 39299 h 87590"/>
                <a:gd name="connsiteX6" fmla="*/ 161449 w 271207"/>
                <a:gd name="connsiteY6" fmla="*/ 54920 h 87590"/>
                <a:gd name="connsiteX7" fmla="*/ 266033 w 271207"/>
                <a:gd name="connsiteY7" fmla="*/ 23678 h 87590"/>
                <a:gd name="connsiteX8" fmla="*/ 268510 w 271207"/>
                <a:gd name="connsiteY8" fmla="*/ 5295 h 87590"/>
                <a:gd name="connsiteX9" fmla="*/ 250126 w 271207"/>
                <a:gd name="connsiteY9" fmla="*/ 2818 h 87590"/>
                <a:gd name="connsiteX10" fmla="*/ 165449 w 271207"/>
                <a:gd name="connsiteY10" fmla="*/ 28917 h 87590"/>
                <a:gd name="connsiteX11" fmla="*/ 130207 w 271207"/>
                <a:gd name="connsiteY11" fmla="*/ 15772 h 87590"/>
                <a:gd name="connsiteX12" fmla="*/ 105061 w 271207"/>
                <a:gd name="connsiteY12" fmla="*/ 4533 h 87590"/>
                <a:gd name="connsiteX13" fmla="*/ 34004 w 271207"/>
                <a:gd name="connsiteY13" fmla="*/ 12915 h 87590"/>
                <a:gd name="connsiteX14" fmla="*/ 0 w 271207"/>
                <a:gd name="connsiteY14" fmla="*/ 74256 h 87590"/>
                <a:gd name="connsiteX15" fmla="*/ 13049 w 271207"/>
                <a:gd name="connsiteY15" fmla="*/ 87495 h 8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1207" h="87590">
                  <a:moveTo>
                    <a:pt x="13049" y="87591"/>
                  </a:moveTo>
                  <a:lnTo>
                    <a:pt x="13145" y="87591"/>
                  </a:lnTo>
                  <a:cubicBezTo>
                    <a:pt x="20383" y="87591"/>
                    <a:pt x="26194" y="81780"/>
                    <a:pt x="26289" y="74541"/>
                  </a:cubicBezTo>
                  <a:cubicBezTo>
                    <a:pt x="26384" y="59206"/>
                    <a:pt x="35052" y="43680"/>
                    <a:pt x="48387" y="34917"/>
                  </a:cubicBezTo>
                  <a:cubicBezTo>
                    <a:pt x="61913" y="25964"/>
                    <a:pt x="80677" y="23773"/>
                    <a:pt x="96203" y="29298"/>
                  </a:cubicBezTo>
                  <a:cubicBezTo>
                    <a:pt x="103823" y="32060"/>
                    <a:pt x="110871" y="35584"/>
                    <a:pt x="118396" y="39299"/>
                  </a:cubicBezTo>
                  <a:cubicBezTo>
                    <a:pt x="131350" y="45776"/>
                    <a:pt x="144685" y="52443"/>
                    <a:pt x="161449" y="54920"/>
                  </a:cubicBezTo>
                  <a:cubicBezTo>
                    <a:pt x="196691" y="60254"/>
                    <a:pt x="231839" y="49776"/>
                    <a:pt x="266033" y="23678"/>
                  </a:cubicBezTo>
                  <a:cubicBezTo>
                    <a:pt x="271844" y="19296"/>
                    <a:pt x="272891" y="11010"/>
                    <a:pt x="268510" y="5295"/>
                  </a:cubicBezTo>
                  <a:cubicBezTo>
                    <a:pt x="264128" y="-516"/>
                    <a:pt x="255842" y="-1563"/>
                    <a:pt x="250126" y="2818"/>
                  </a:cubicBezTo>
                  <a:cubicBezTo>
                    <a:pt x="221456" y="24630"/>
                    <a:pt x="193643" y="33203"/>
                    <a:pt x="165449" y="28917"/>
                  </a:cubicBezTo>
                  <a:cubicBezTo>
                    <a:pt x="152781" y="27012"/>
                    <a:pt x="141827" y="21487"/>
                    <a:pt x="130207" y="15772"/>
                  </a:cubicBezTo>
                  <a:cubicBezTo>
                    <a:pt x="122396" y="11867"/>
                    <a:pt x="114205" y="7771"/>
                    <a:pt x="105061" y="4533"/>
                  </a:cubicBezTo>
                  <a:cubicBezTo>
                    <a:pt x="81725" y="-3754"/>
                    <a:pt x="54578" y="-516"/>
                    <a:pt x="34004" y="12915"/>
                  </a:cubicBezTo>
                  <a:cubicBezTo>
                    <a:pt x="13240" y="26535"/>
                    <a:pt x="190" y="50062"/>
                    <a:pt x="0" y="74256"/>
                  </a:cubicBezTo>
                  <a:cubicBezTo>
                    <a:pt x="0" y="81495"/>
                    <a:pt x="5810" y="87400"/>
                    <a:pt x="13049" y="874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183">
              <a:extLst>
                <a:ext uri="{FF2B5EF4-FFF2-40B4-BE49-F238E27FC236}">
                  <a16:creationId xmlns:a16="http://schemas.microsoft.com/office/drawing/2014/main" id="{ED994E65-4025-4792-F134-97BDDAC0D7BD}"/>
                </a:ext>
              </a:extLst>
            </p:cNvPr>
            <p:cNvSpPr/>
            <p:nvPr/>
          </p:nvSpPr>
          <p:spPr>
            <a:xfrm>
              <a:off x="7115715" y="2105117"/>
              <a:ext cx="271207" cy="87590"/>
            </a:xfrm>
            <a:custGeom>
              <a:avLst/>
              <a:gdLst>
                <a:gd name="connsiteX0" fmla="*/ 13049 w 271207"/>
                <a:gd name="connsiteY0" fmla="*/ 87591 h 87590"/>
                <a:gd name="connsiteX1" fmla="*/ 13145 w 271207"/>
                <a:gd name="connsiteY1" fmla="*/ 87591 h 87590"/>
                <a:gd name="connsiteX2" fmla="*/ 26289 w 271207"/>
                <a:gd name="connsiteY2" fmla="*/ 74541 h 87590"/>
                <a:gd name="connsiteX3" fmla="*/ 48387 w 271207"/>
                <a:gd name="connsiteY3" fmla="*/ 34917 h 87590"/>
                <a:gd name="connsiteX4" fmla="*/ 96203 w 271207"/>
                <a:gd name="connsiteY4" fmla="*/ 29298 h 87590"/>
                <a:gd name="connsiteX5" fmla="*/ 118396 w 271207"/>
                <a:gd name="connsiteY5" fmla="*/ 39299 h 87590"/>
                <a:gd name="connsiteX6" fmla="*/ 161449 w 271207"/>
                <a:gd name="connsiteY6" fmla="*/ 54920 h 87590"/>
                <a:gd name="connsiteX7" fmla="*/ 266033 w 271207"/>
                <a:gd name="connsiteY7" fmla="*/ 23678 h 87590"/>
                <a:gd name="connsiteX8" fmla="*/ 268510 w 271207"/>
                <a:gd name="connsiteY8" fmla="*/ 5295 h 87590"/>
                <a:gd name="connsiteX9" fmla="*/ 250127 w 271207"/>
                <a:gd name="connsiteY9" fmla="*/ 2818 h 87590"/>
                <a:gd name="connsiteX10" fmla="*/ 165449 w 271207"/>
                <a:gd name="connsiteY10" fmla="*/ 28917 h 87590"/>
                <a:gd name="connsiteX11" fmla="*/ 130207 w 271207"/>
                <a:gd name="connsiteY11" fmla="*/ 15772 h 87590"/>
                <a:gd name="connsiteX12" fmla="*/ 105061 w 271207"/>
                <a:gd name="connsiteY12" fmla="*/ 4533 h 87590"/>
                <a:gd name="connsiteX13" fmla="*/ 34004 w 271207"/>
                <a:gd name="connsiteY13" fmla="*/ 12915 h 87590"/>
                <a:gd name="connsiteX14" fmla="*/ 0 w 271207"/>
                <a:gd name="connsiteY14" fmla="*/ 74256 h 87590"/>
                <a:gd name="connsiteX15" fmla="*/ 13049 w 271207"/>
                <a:gd name="connsiteY15" fmla="*/ 87495 h 8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1207" h="87590">
                  <a:moveTo>
                    <a:pt x="13049" y="87591"/>
                  </a:moveTo>
                  <a:lnTo>
                    <a:pt x="13145" y="87591"/>
                  </a:lnTo>
                  <a:cubicBezTo>
                    <a:pt x="20384" y="87591"/>
                    <a:pt x="26194" y="81780"/>
                    <a:pt x="26289" y="74541"/>
                  </a:cubicBezTo>
                  <a:cubicBezTo>
                    <a:pt x="26384" y="59206"/>
                    <a:pt x="35052" y="43680"/>
                    <a:pt x="48387" y="34917"/>
                  </a:cubicBezTo>
                  <a:cubicBezTo>
                    <a:pt x="62008" y="25964"/>
                    <a:pt x="80772" y="23773"/>
                    <a:pt x="96203" y="29298"/>
                  </a:cubicBezTo>
                  <a:cubicBezTo>
                    <a:pt x="103823" y="32060"/>
                    <a:pt x="110871" y="35489"/>
                    <a:pt x="118396" y="39299"/>
                  </a:cubicBezTo>
                  <a:cubicBezTo>
                    <a:pt x="131350" y="45776"/>
                    <a:pt x="144685" y="52443"/>
                    <a:pt x="161449" y="54920"/>
                  </a:cubicBezTo>
                  <a:cubicBezTo>
                    <a:pt x="196596" y="60254"/>
                    <a:pt x="231839" y="49776"/>
                    <a:pt x="266033" y="23678"/>
                  </a:cubicBezTo>
                  <a:cubicBezTo>
                    <a:pt x="271844" y="19296"/>
                    <a:pt x="272891" y="11010"/>
                    <a:pt x="268510" y="5295"/>
                  </a:cubicBezTo>
                  <a:cubicBezTo>
                    <a:pt x="264128" y="-516"/>
                    <a:pt x="255937" y="-1563"/>
                    <a:pt x="250127" y="2818"/>
                  </a:cubicBezTo>
                  <a:cubicBezTo>
                    <a:pt x="221456" y="24726"/>
                    <a:pt x="193739" y="33203"/>
                    <a:pt x="165449" y="28917"/>
                  </a:cubicBezTo>
                  <a:cubicBezTo>
                    <a:pt x="152781" y="27012"/>
                    <a:pt x="141827" y="21487"/>
                    <a:pt x="130207" y="15772"/>
                  </a:cubicBezTo>
                  <a:cubicBezTo>
                    <a:pt x="122396" y="11867"/>
                    <a:pt x="114300" y="7771"/>
                    <a:pt x="105061" y="4533"/>
                  </a:cubicBezTo>
                  <a:cubicBezTo>
                    <a:pt x="81725" y="-3754"/>
                    <a:pt x="54578" y="-516"/>
                    <a:pt x="34004" y="12915"/>
                  </a:cubicBezTo>
                  <a:cubicBezTo>
                    <a:pt x="13240" y="26535"/>
                    <a:pt x="191" y="50062"/>
                    <a:pt x="0" y="74256"/>
                  </a:cubicBezTo>
                  <a:cubicBezTo>
                    <a:pt x="0" y="81495"/>
                    <a:pt x="5810" y="87400"/>
                    <a:pt x="13049" y="874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184">
              <a:extLst>
                <a:ext uri="{FF2B5EF4-FFF2-40B4-BE49-F238E27FC236}">
                  <a16:creationId xmlns:a16="http://schemas.microsoft.com/office/drawing/2014/main" id="{4D04C680-1D0C-2E10-7BDF-B50C12D39FF8}"/>
                </a:ext>
              </a:extLst>
            </p:cNvPr>
            <p:cNvSpPr/>
            <p:nvPr/>
          </p:nvSpPr>
          <p:spPr>
            <a:xfrm>
              <a:off x="7251732" y="2206558"/>
              <a:ext cx="271207" cy="87495"/>
            </a:xfrm>
            <a:custGeom>
              <a:avLst/>
              <a:gdLst>
                <a:gd name="connsiteX0" fmla="*/ 104966 w 271207"/>
                <a:gd name="connsiteY0" fmla="*/ 4533 h 87495"/>
                <a:gd name="connsiteX1" fmla="*/ 33909 w 271207"/>
                <a:gd name="connsiteY1" fmla="*/ 12915 h 87495"/>
                <a:gd name="connsiteX2" fmla="*/ 0 w 271207"/>
                <a:gd name="connsiteY2" fmla="*/ 74256 h 87495"/>
                <a:gd name="connsiteX3" fmla="*/ 13049 w 271207"/>
                <a:gd name="connsiteY3" fmla="*/ 87495 h 87495"/>
                <a:gd name="connsiteX4" fmla="*/ 13145 w 271207"/>
                <a:gd name="connsiteY4" fmla="*/ 87495 h 87495"/>
                <a:gd name="connsiteX5" fmla="*/ 26289 w 271207"/>
                <a:gd name="connsiteY5" fmla="*/ 74446 h 87495"/>
                <a:gd name="connsiteX6" fmla="*/ 48387 w 271207"/>
                <a:gd name="connsiteY6" fmla="*/ 34822 h 87495"/>
                <a:gd name="connsiteX7" fmla="*/ 96203 w 271207"/>
                <a:gd name="connsiteY7" fmla="*/ 29202 h 87495"/>
                <a:gd name="connsiteX8" fmla="*/ 118396 w 271207"/>
                <a:gd name="connsiteY8" fmla="*/ 39204 h 87495"/>
                <a:gd name="connsiteX9" fmla="*/ 161449 w 271207"/>
                <a:gd name="connsiteY9" fmla="*/ 54825 h 87495"/>
                <a:gd name="connsiteX10" fmla="*/ 266033 w 271207"/>
                <a:gd name="connsiteY10" fmla="*/ 23583 h 87495"/>
                <a:gd name="connsiteX11" fmla="*/ 268510 w 271207"/>
                <a:gd name="connsiteY11" fmla="*/ 5199 h 87495"/>
                <a:gd name="connsiteX12" fmla="*/ 250126 w 271207"/>
                <a:gd name="connsiteY12" fmla="*/ 2723 h 87495"/>
                <a:gd name="connsiteX13" fmla="*/ 165449 w 271207"/>
                <a:gd name="connsiteY13" fmla="*/ 28821 h 87495"/>
                <a:gd name="connsiteX14" fmla="*/ 130207 w 271207"/>
                <a:gd name="connsiteY14" fmla="*/ 15677 h 87495"/>
                <a:gd name="connsiteX15" fmla="*/ 105061 w 271207"/>
                <a:gd name="connsiteY15" fmla="*/ 4437 h 87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1207" h="87495">
                  <a:moveTo>
                    <a:pt x="104966" y="4533"/>
                  </a:moveTo>
                  <a:cubicBezTo>
                    <a:pt x="81725" y="-3754"/>
                    <a:pt x="54483" y="-516"/>
                    <a:pt x="33909" y="12915"/>
                  </a:cubicBezTo>
                  <a:cubicBezTo>
                    <a:pt x="13145" y="26535"/>
                    <a:pt x="191" y="50062"/>
                    <a:pt x="0" y="74256"/>
                  </a:cubicBezTo>
                  <a:cubicBezTo>
                    <a:pt x="0" y="81495"/>
                    <a:pt x="5810" y="87400"/>
                    <a:pt x="13049" y="87495"/>
                  </a:cubicBezTo>
                  <a:lnTo>
                    <a:pt x="13145" y="87495"/>
                  </a:lnTo>
                  <a:cubicBezTo>
                    <a:pt x="20384" y="87495"/>
                    <a:pt x="26194" y="81685"/>
                    <a:pt x="26289" y="74446"/>
                  </a:cubicBezTo>
                  <a:cubicBezTo>
                    <a:pt x="26384" y="59111"/>
                    <a:pt x="35052" y="43585"/>
                    <a:pt x="48387" y="34822"/>
                  </a:cubicBezTo>
                  <a:cubicBezTo>
                    <a:pt x="61913" y="25869"/>
                    <a:pt x="80677" y="23678"/>
                    <a:pt x="96203" y="29202"/>
                  </a:cubicBezTo>
                  <a:cubicBezTo>
                    <a:pt x="103823" y="31965"/>
                    <a:pt x="110871" y="35489"/>
                    <a:pt x="118396" y="39204"/>
                  </a:cubicBezTo>
                  <a:cubicBezTo>
                    <a:pt x="131350" y="45681"/>
                    <a:pt x="144685" y="52348"/>
                    <a:pt x="161449" y="54825"/>
                  </a:cubicBezTo>
                  <a:cubicBezTo>
                    <a:pt x="196691" y="60159"/>
                    <a:pt x="231839" y="49681"/>
                    <a:pt x="266033" y="23583"/>
                  </a:cubicBezTo>
                  <a:cubicBezTo>
                    <a:pt x="271844" y="19201"/>
                    <a:pt x="272891" y="10914"/>
                    <a:pt x="268510" y="5199"/>
                  </a:cubicBezTo>
                  <a:cubicBezTo>
                    <a:pt x="264128" y="-611"/>
                    <a:pt x="255937" y="-1659"/>
                    <a:pt x="250126" y="2723"/>
                  </a:cubicBezTo>
                  <a:cubicBezTo>
                    <a:pt x="221456" y="24630"/>
                    <a:pt x="193643" y="33108"/>
                    <a:pt x="165449" y="28821"/>
                  </a:cubicBezTo>
                  <a:cubicBezTo>
                    <a:pt x="152781" y="26916"/>
                    <a:pt x="141827" y="21487"/>
                    <a:pt x="130207" y="15677"/>
                  </a:cubicBezTo>
                  <a:cubicBezTo>
                    <a:pt x="122396" y="11772"/>
                    <a:pt x="114205" y="7676"/>
                    <a:pt x="105061" y="44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185">
              <a:extLst>
                <a:ext uri="{FF2B5EF4-FFF2-40B4-BE49-F238E27FC236}">
                  <a16:creationId xmlns:a16="http://schemas.microsoft.com/office/drawing/2014/main" id="{6FB2EFD9-5674-B896-1773-585615AF7E22}"/>
                </a:ext>
              </a:extLst>
            </p:cNvPr>
            <p:cNvSpPr/>
            <p:nvPr/>
          </p:nvSpPr>
          <p:spPr>
            <a:xfrm>
              <a:off x="6865874" y="2292724"/>
              <a:ext cx="657034" cy="469197"/>
            </a:xfrm>
            <a:custGeom>
              <a:avLst/>
              <a:gdLst>
                <a:gd name="connsiteX0" fmla="*/ 650462 w 657034"/>
                <a:gd name="connsiteY0" fmla="*/ 141061 h 469197"/>
                <a:gd name="connsiteX1" fmla="*/ 637318 w 657034"/>
                <a:gd name="connsiteY1" fmla="*/ 141061 h 469197"/>
                <a:gd name="connsiteX2" fmla="*/ 425291 w 657034"/>
                <a:gd name="connsiteY2" fmla="*/ 263648 h 469197"/>
                <a:gd name="connsiteX3" fmla="*/ 425291 w 657034"/>
                <a:gd name="connsiteY3" fmla="*/ 152491 h 469197"/>
                <a:gd name="connsiteX4" fmla="*/ 418433 w 657034"/>
                <a:gd name="connsiteY4" fmla="*/ 140966 h 469197"/>
                <a:gd name="connsiteX5" fmla="*/ 405003 w 657034"/>
                <a:gd name="connsiteY5" fmla="*/ 141442 h 469197"/>
                <a:gd name="connsiteX6" fmla="*/ 194215 w 657034"/>
                <a:gd name="connsiteY6" fmla="*/ 275935 h 469197"/>
                <a:gd name="connsiteX7" fmla="*/ 194215 w 657034"/>
                <a:gd name="connsiteY7" fmla="*/ 95055 h 469197"/>
                <a:gd name="connsiteX8" fmla="*/ 186881 w 657034"/>
                <a:gd name="connsiteY8" fmla="*/ 83244 h 469197"/>
                <a:gd name="connsiteX9" fmla="*/ 18955 w 657034"/>
                <a:gd name="connsiteY9" fmla="*/ 1329 h 469197"/>
                <a:gd name="connsiteX10" fmla="*/ 6191 w 657034"/>
                <a:gd name="connsiteY10" fmla="*/ 1996 h 469197"/>
                <a:gd name="connsiteX11" fmla="*/ 0 w 657034"/>
                <a:gd name="connsiteY11" fmla="*/ 13140 h 469197"/>
                <a:gd name="connsiteX12" fmla="*/ 0 w 657034"/>
                <a:gd name="connsiteY12" fmla="*/ 456053 h 469197"/>
                <a:gd name="connsiteX13" fmla="*/ 13145 w 657034"/>
                <a:gd name="connsiteY13" fmla="*/ 469197 h 469197"/>
                <a:gd name="connsiteX14" fmla="*/ 412147 w 657034"/>
                <a:gd name="connsiteY14" fmla="*/ 469197 h 469197"/>
                <a:gd name="connsiteX15" fmla="*/ 413290 w 657034"/>
                <a:gd name="connsiteY15" fmla="*/ 469197 h 469197"/>
                <a:gd name="connsiteX16" fmla="*/ 643890 w 657034"/>
                <a:gd name="connsiteY16" fmla="*/ 469197 h 469197"/>
                <a:gd name="connsiteX17" fmla="*/ 657035 w 657034"/>
                <a:gd name="connsiteY17" fmla="*/ 456053 h 469197"/>
                <a:gd name="connsiteX18" fmla="*/ 657035 w 657034"/>
                <a:gd name="connsiteY18" fmla="*/ 152586 h 469197"/>
                <a:gd name="connsiteX19" fmla="*/ 650462 w 657034"/>
                <a:gd name="connsiteY19" fmla="*/ 141156 h 469197"/>
                <a:gd name="connsiteX20" fmla="*/ 167926 w 657034"/>
                <a:gd name="connsiteY20" fmla="*/ 103151 h 469197"/>
                <a:gd name="connsiteX21" fmla="*/ 167926 w 657034"/>
                <a:gd name="connsiteY21" fmla="*/ 162397 h 469197"/>
                <a:gd name="connsiteX22" fmla="*/ 26384 w 657034"/>
                <a:gd name="connsiteY22" fmla="*/ 162397 h 469197"/>
                <a:gd name="connsiteX23" fmla="*/ 26384 w 657034"/>
                <a:gd name="connsiteY23" fmla="*/ 34095 h 469197"/>
                <a:gd name="connsiteX24" fmla="*/ 167926 w 657034"/>
                <a:gd name="connsiteY24" fmla="*/ 103151 h 469197"/>
                <a:gd name="connsiteX25" fmla="*/ 26384 w 657034"/>
                <a:gd name="connsiteY25" fmla="*/ 442813 h 469197"/>
                <a:gd name="connsiteX26" fmla="*/ 26384 w 657034"/>
                <a:gd name="connsiteY26" fmla="*/ 188686 h 469197"/>
                <a:gd name="connsiteX27" fmla="*/ 167926 w 657034"/>
                <a:gd name="connsiteY27" fmla="*/ 188686 h 469197"/>
                <a:gd name="connsiteX28" fmla="*/ 167926 w 657034"/>
                <a:gd name="connsiteY28" fmla="*/ 442813 h 469197"/>
                <a:gd name="connsiteX29" fmla="*/ 26384 w 657034"/>
                <a:gd name="connsiteY29" fmla="*/ 442813 h 469197"/>
                <a:gd name="connsiteX30" fmla="*/ 630746 w 657034"/>
                <a:gd name="connsiteY30" fmla="*/ 442813 h 469197"/>
                <a:gd name="connsiteX31" fmla="*/ 412147 w 657034"/>
                <a:gd name="connsiteY31" fmla="*/ 442813 h 469197"/>
                <a:gd name="connsiteX32" fmla="*/ 411004 w 657034"/>
                <a:gd name="connsiteY32" fmla="*/ 442813 h 469197"/>
                <a:gd name="connsiteX33" fmla="*/ 194215 w 657034"/>
                <a:gd name="connsiteY33" fmla="*/ 442813 h 469197"/>
                <a:gd name="connsiteX34" fmla="*/ 194215 w 657034"/>
                <a:gd name="connsiteY34" fmla="*/ 307082 h 469197"/>
                <a:gd name="connsiteX35" fmla="*/ 398907 w 657034"/>
                <a:gd name="connsiteY35" fmla="*/ 176494 h 469197"/>
                <a:gd name="connsiteX36" fmla="*/ 398907 w 657034"/>
                <a:gd name="connsiteY36" fmla="*/ 286412 h 469197"/>
                <a:gd name="connsiteX37" fmla="*/ 405479 w 657034"/>
                <a:gd name="connsiteY37" fmla="*/ 297842 h 469197"/>
                <a:gd name="connsiteX38" fmla="*/ 418624 w 657034"/>
                <a:gd name="connsiteY38" fmla="*/ 297842 h 469197"/>
                <a:gd name="connsiteX39" fmla="*/ 630650 w 657034"/>
                <a:gd name="connsiteY39" fmla="*/ 175256 h 469197"/>
                <a:gd name="connsiteX40" fmla="*/ 630650 w 657034"/>
                <a:gd name="connsiteY40" fmla="*/ 442813 h 469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57034" h="469197">
                  <a:moveTo>
                    <a:pt x="650462" y="141061"/>
                  </a:moveTo>
                  <a:cubicBezTo>
                    <a:pt x="646367" y="138680"/>
                    <a:pt x="641413" y="138680"/>
                    <a:pt x="637318" y="141061"/>
                  </a:cubicBezTo>
                  <a:lnTo>
                    <a:pt x="425291" y="263648"/>
                  </a:lnTo>
                  <a:lnTo>
                    <a:pt x="425291" y="152491"/>
                  </a:lnTo>
                  <a:cubicBezTo>
                    <a:pt x="425291" y="147728"/>
                    <a:pt x="422720" y="143252"/>
                    <a:pt x="418433" y="140966"/>
                  </a:cubicBezTo>
                  <a:cubicBezTo>
                    <a:pt x="414242" y="138680"/>
                    <a:pt x="409099" y="138870"/>
                    <a:pt x="405003" y="141442"/>
                  </a:cubicBezTo>
                  <a:lnTo>
                    <a:pt x="194215" y="275935"/>
                  </a:lnTo>
                  <a:lnTo>
                    <a:pt x="194215" y="95055"/>
                  </a:lnTo>
                  <a:cubicBezTo>
                    <a:pt x="194215" y="90007"/>
                    <a:pt x="191357" y="85435"/>
                    <a:pt x="186881" y="83244"/>
                  </a:cubicBezTo>
                  <a:lnTo>
                    <a:pt x="18955" y="1329"/>
                  </a:lnTo>
                  <a:cubicBezTo>
                    <a:pt x="14859" y="-671"/>
                    <a:pt x="10096" y="-385"/>
                    <a:pt x="6191" y="1996"/>
                  </a:cubicBezTo>
                  <a:cubicBezTo>
                    <a:pt x="2381" y="4377"/>
                    <a:pt x="0" y="8568"/>
                    <a:pt x="0" y="13140"/>
                  </a:cubicBezTo>
                  <a:lnTo>
                    <a:pt x="0" y="456053"/>
                  </a:lnTo>
                  <a:cubicBezTo>
                    <a:pt x="0" y="463292"/>
                    <a:pt x="5905" y="469197"/>
                    <a:pt x="13145" y="469197"/>
                  </a:cubicBezTo>
                  <a:lnTo>
                    <a:pt x="412147" y="469197"/>
                  </a:lnTo>
                  <a:cubicBezTo>
                    <a:pt x="412147" y="469197"/>
                    <a:pt x="412909" y="469197"/>
                    <a:pt x="413290" y="469197"/>
                  </a:cubicBezTo>
                  <a:lnTo>
                    <a:pt x="643890" y="469197"/>
                  </a:lnTo>
                  <a:cubicBezTo>
                    <a:pt x="651129" y="469197"/>
                    <a:pt x="657035" y="463292"/>
                    <a:pt x="657035" y="456053"/>
                  </a:cubicBezTo>
                  <a:lnTo>
                    <a:pt x="657035" y="152586"/>
                  </a:lnTo>
                  <a:cubicBezTo>
                    <a:pt x="657035" y="147919"/>
                    <a:pt x="654558" y="143537"/>
                    <a:pt x="650462" y="141156"/>
                  </a:cubicBezTo>
                  <a:close/>
                  <a:moveTo>
                    <a:pt x="167926" y="103151"/>
                  </a:moveTo>
                  <a:lnTo>
                    <a:pt x="167926" y="162397"/>
                  </a:lnTo>
                  <a:lnTo>
                    <a:pt x="26384" y="162397"/>
                  </a:lnTo>
                  <a:lnTo>
                    <a:pt x="26384" y="34095"/>
                  </a:lnTo>
                  <a:lnTo>
                    <a:pt x="167926" y="103151"/>
                  </a:lnTo>
                  <a:close/>
                  <a:moveTo>
                    <a:pt x="26384" y="442813"/>
                  </a:moveTo>
                  <a:lnTo>
                    <a:pt x="26384" y="188686"/>
                  </a:lnTo>
                  <a:lnTo>
                    <a:pt x="167926" y="188686"/>
                  </a:lnTo>
                  <a:lnTo>
                    <a:pt x="167926" y="442813"/>
                  </a:lnTo>
                  <a:lnTo>
                    <a:pt x="26384" y="442813"/>
                  </a:lnTo>
                  <a:close/>
                  <a:moveTo>
                    <a:pt x="630746" y="442813"/>
                  </a:moveTo>
                  <a:lnTo>
                    <a:pt x="412147" y="442813"/>
                  </a:lnTo>
                  <a:cubicBezTo>
                    <a:pt x="412147" y="442813"/>
                    <a:pt x="411385" y="442813"/>
                    <a:pt x="411004" y="442813"/>
                  </a:cubicBezTo>
                  <a:lnTo>
                    <a:pt x="194215" y="442813"/>
                  </a:lnTo>
                  <a:lnTo>
                    <a:pt x="194215" y="307082"/>
                  </a:lnTo>
                  <a:lnTo>
                    <a:pt x="398907" y="176494"/>
                  </a:lnTo>
                  <a:lnTo>
                    <a:pt x="398907" y="286412"/>
                  </a:lnTo>
                  <a:cubicBezTo>
                    <a:pt x="398907" y="291080"/>
                    <a:pt x="401384" y="295461"/>
                    <a:pt x="405479" y="297842"/>
                  </a:cubicBezTo>
                  <a:cubicBezTo>
                    <a:pt x="409575" y="300224"/>
                    <a:pt x="414528" y="300224"/>
                    <a:pt x="418624" y="297842"/>
                  </a:cubicBezTo>
                  <a:lnTo>
                    <a:pt x="630650" y="175256"/>
                  </a:lnTo>
                  <a:lnTo>
                    <a:pt x="630650" y="44281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" name="Graphic 45">
            <a:extLst>
              <a:ext uri="{FF2B5EF4-FFF2-40B4-BE49-F238E27FC236}">
                <a16:creationId xmlns:a16="http://schemas.microsoft.com/office/drawing/2014/main" id="{C814571D-8D91-811C-FF2E-045546D86549}"/>
              </a:ext>
            </a:extLst>
          </p:cNvPr>
          <p:cNvGrpSpPr/>
          <p:nvPr/>
        </p:nvGrpSpPr>
        <p:grpSpPr>
          <a:xfrm>
            <a:off x="2199742" y="4212972"/>
            <a:ext cx="599058" cy="599144"/>
            <a:chOff x="2907159" y="2059906"/>
            <a:chExt cx="655891" cy="655986"/>
          </a:xfrm>
          <a:solidFill>
            <a:schemeClr val="bg1"/>
          </a:solidFill>
        </p:grpSpPr>
        <p:sp>
          <p:nvSpPr>
            <p:cNvPr id="21" name="Freeform: Shape 176">
              <a:extLst>
                <a:ext uri="{FF2B5EF4-FFF2-40B4-BE49-F238E27FC236}">
                  <a16:creationId xmlns:a16="http://schemas.microsoft.com/office/drawing/2014/main" id="{CD749B58-452E-6081-E016-4034E5A0E1BF}"/>
                </a:ext>
              </a:extLst>
            </p:cNvPr>
            <p:cNvSpPr/>
            <p:nvPr/>
          </p:nvSpPr>
          <p:spPr>
            <a:xfrm>
              <a:off x="3315495" y="2059906"/>
              <a:ext cx="171450" cy="171545"/>
            </a:xfrm>
            <a:custGeom>
              <a:avLst/>
              <a:gdLst>
                <a:gd name="connsiteX0" fmla="*/ 85725 w 171450"/>
                <a:gd name="connsiteY0" fmla="*/ 171545 h 171545"/>
                <a:gd name="connsiteX1" fmla="*/ 171450 w 171450"/>
                <a:gd name="connsiteY1" fmla="*/ 85820 h 171545"/>
                <a:gd name="connsiteX2" fmla="*/ 85725 w 171450"/>
                <a:gd name="connsiteY2" fmla="*/ 0 h 171545"/>
                <a:gd name="connsiteX3" fmla="*/ 0 w 171450"/>
                <a:gd name="connsiteY3" fmla="*/ 85725 h 171545"/>
                <a:gd name="connsiteX4" fmla="*/ 85725 w 171450"/>
                <a:gd name="connsiteY4" fmla="*/ 171450 h 171545"/>
                <a:gd name="connsiteX5" fmla="*/ 85725 w 171450"/>
                <a:gd name="connsiteY5" fmla="*/ 26384 h 171545"/>
                <a:gd name="connsiteX6" fmla="*/ 145256 w 171450"/>
                <a:gd name="connsiteY6" fmla="*/ 85820 h 171545"/>
                <a:gd name="connsiteX7" fmla="*/ 85725 w 171450"/>
                <a:gd name="connsiteY7" fmla="*/ 145352 h 171545"/>
                <a:gd name="connsiteX8" fmla="*/ 26289 w 171450"/>
                <a:gd name="connsiteY8" fmla="*/ 85820 h 171545"/>
                <a:gd name="connsiteX9" fmla="*/ 85725 w 171450"/>
                <a:gd name="connsiteY9" fmla="*/ 26384 h 17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" h="171545">
                  <a:moveTo>
                    <a:pt x="85725" y="171545"/>
                  </a:moveTo>
                  <a:cubicBezTo>
                    <a:pt x="132969" y="171545"/>
                    <a:pt x="171450" y="133064"/>
                    <a:pt x="171450" y="85820"/>
                  </a:cubicBezTo>
                  <a:cubicBezTo>
                    <a:pt x="171450" y="38576"/>
                    <a:pt x="133064" y="0"/>
                    <a:pt x="85725" y="0"/>
                  </a:cubicBezTo>
                  <a:cubicBezTo>
                    <a:pt x="38386" y="0"/>
                    <a:pt x="0" y="38481"/>
                    <a:pt x="0" y="85725"/>
                  </a:cubicBezTo>
                  <a:cubicBezTo>
                    <a:pt x="0" y="132969"/>
                    <a:pt x="38481" y="171450"/>
                    <a:pt x="85725" y="171450"/>
                  </a:cubicBezTo>
                  <a:close/>
                  <a:moveTo>
                    <a:pt x="85725" y="26384"/>
                  </a:moveTo>
                  <a:cubicBezTo>
                    <a:pt x="118491" y="26384"/>
                    <a:pt x="145256" y="53054"/>
                    <a:pt x="145256" y="85820"/>
                  </a:cubicBezTo>
                  <a:cubicBezTo>
                    <a:pt x="145256" y="118586"/>
                    <a:pt x="118586" y="145352"/>
                    <a:pt x="85725" y="145352"/>
                  </a:cubicBezTo>
                  <a:cubicBezTo>
                    <a:pt x="52864" y="145352"/>
                    <a:pt x="26289" y="118682"/>
                    <a:pt x="26289" y="85820"/>
                  </a:cubicBezTo>
                  <a:cubicBezTo>
                    <a:pt x="26289" y="52959"/>
                    <a:pt x="52959" y="26384"/>
                    <a:pt x="85725" y="263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177">
              <a:extLst>
                <a:ext uri="{FF2B5EF4-FFF2-40B4-BE49-F238E27FC236}">
                  <a16:creationId xmlns:a16="http://schemas.microsoft.com/office/drawing/2014/main" id="{20689FA3-2362-861E-B76C-A4D53BD3E9D1}"/>
                </a:ext>
              </a:extLst>
            </p:cNvPr>
            <p:cNvSpPr/>
            <p:nvPr/>
          </p:nvSpPr>
          <p:spPr>
            <a:xfrm>
              <a:off x="3026888" y="2146393"/>
              <a:ext cx="167449" cy="167449"/>
            </a:xfrm>
            <a:custGeom>
              <a:avLst/>
              <a:gdLst>
                <a:gd name="connsiteX0" fmla="*/ 83725 w 167449"/>
                <a:gd name="connsiteY0" fmla="*/ 167450 h 167449"/>
                <a:gd name="connsiteX1" fmla="*/ 167449 w 167449"/>
                <a:gd name="connsiteY1" fmla="*/ 83725 h 167449"/>
                <a:gd name="connsiteX2" fmla="*/ 83725 w 167449"/>
                <a:gd name="connsiteY2" fmla="*/ 0 h 167449"/>
                <a:gd name="connsiteX3" fmla="*/ 0 w 167449"/>
                <a:gd name="connsiteY3" fmla="*/ 83725 h 167449"/>
                <a:gd name="connsiteX4" fmla="*/ 83725 w 167449"/>
                <a:gd name="connsiteY4" fmla="*/ 167450 h 167449"/>
                <a:gd name="connsiteX5" fmla="*/ 83725 w 167449"/>
                <a:gd name="connsiteY5" fmla="*/ 26289 h 167449"/>
                <a:gd name="connsiteX6" fmla="*/ 141160 w 167449"/>
                <a:gd name="connsiteY6" fmla="*/ 83725 h 167449"/>
                <a:gd name="connsiteX7" fmla="*/ 83725 w 167449"/>
                <a:gd name="connsiteY7" fmla="*/ 141256 h 167449"/>
                <a:gd name="connsiteX8" fmla="*/ 26289 w 167449"/>
                <a:gd name="connsiteY8" fmla="*/ 83725 h 167449"/>
                <a:gd name="connsiteX9" fmla="*/ 83725 w 167449"/>
                <a:gd name="connsiteY9" fmla="*/ 26289 h 167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7449" h="167449">
                  <a:moveTo>
                    <a:pt x="83725" y="167450"/>
                  </a:moveTo>
                  <a:cubicBezTo>
                    <a:pt x="129921" y="167450"/>
                    <a:pt x="167449" y="129921"/>
                    <a:pt x="167449" y="83725"/>
                  </a:cubicBezTo>
                  <a:cubicBezTo>
                    <a:pt x="167449" y="37529"/>
                    <a:pt x="129921" y="0"/>
                    <a:pt x="83725" y="0"/>
                  </a:cubicBezTo>
                  <a:cubicBezTo>
                    <a:pt x="37528" y="0"/>
                    <a:pt x="0" y="37529"/>
                    <a:pt x="0" y="83725"/>
                  </a:cubicBezTo>
                  <a:cubicBezTo>
                    <a:pt x="0" y="129921"/>
                    <a:pt x="37528" y="167450"/>
                    <a:pt x="83725" y="167450"/>
                  </a:cubicBezTo>
                  <a:close/>
                  <a:moveTo>
                    <a:pt x="83725" y="26289"/>
                  </a:moveTo>
                  <a:cubicBezTo>
                    <a:pt x="115443" y="26289"/>
                    <a:pt x="141160" y="52102"/>
                    <a:pt x="141160" y="83725"/>
                  </a:cubicBezTo>
                  <a:cubicBezTo>
                    <a:pt x="141160" y="115348"/>
                    <a:pt x="115348" y="141256"/>
                    <a:pt x="83725" y="141256"/>
                  </a:cubicBezTo>
                  <a:cubicBezTo>
                    <a:pt x="52102" y="141256"/>
                    <a:pt x="26289" y="115443"/>
                    <a:pt x="26289" y="83725"/>
                  </a:cubicBezTo>
                  <a:cubicBezTo>
                    <a:pt x="26289" y="52007"/>
                    <a:pt x="52102" y="26289"/>
                    <a:pt x="83725" y="262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178">
              <a:extLst>
                <a:ext uri="{FF2B5EF4-FFF2-40B4-BE49-F238E27FC236}">
                  <a16:creationId xmlns:a16="http://schemas.microsoft.com/office/drawing/2014/main" id="{94C825AF-ED24-5FA7-09D4-7DC2ECD0B6BE}"/>
                </a:ext>
              </a:extLst>
            </p:cNvPr>
            <p:cNvSpPr/>
            <p:nvPr/>
          </p:nvSpPr>
          <p:spPr>
            <a:xfrm>
              <a:off x="2907159" y="2290696"/>
              <a:ext cx="655891" cy="425196"/>
            </a:xfrm>
            <a:custGeom>
              <a:avLst/>
              <a:gdLst>
                <a:gd name="connsiteX0" fmla="*/ 494062 w 655891"/>
                <a:gd name="connsiteY0" fmla="*/ 0 h 425196"/>
                <a:gd name="connsiteX1" fmla="*/ 334899 w 655891"/>
                <a:gd name="connsiteY1" fmla="*/ 133922 h 425196"/>
                <a:gd name="connsiteX2" fmla="*/ 203073 w 655891"/>
                <a:gd name="connsiteY2" fmla="*/ 85058 h 425196"/>
                <a:gd name="connsiteX3" fmla="*/ 0 w 655891"/>
                <a:gd name="connsiteY3" fmla="*/ 288131 h 425196"/>
                <a:gd name="connsiteX4" fmla="*/ 0 w 655891"/>
                <a:gd name="connsiteY4" fmla="*/ 352616 h 425196"/>
                <a:gd name="connsiteX5" fmla="*/ 13240 w 655891"/>
                <a:gd name="connsiteY5" fmla="*/ 365760 h 425196"/>
                <a:gd name="connsiteX6" fmla="*/ 332423 w 655891"/>
                <a:gd name="connsiteY6" fmla="*/ 365760 h 425196"/>
                <a:gd name="connsiteX7" fmla="*/ 332423 w 655891"/>
                <a:gd name="connsiteY7" fmla="*/ 412051 h 425196"/>
                <a:gd name="connsiteX8" fmla="*/ 345567 w 655891"/>
                <a:gd name="connsiteY8" fmla="*/ 425196 h 425196"/>
                <a:gd name="connsiteX9" fmla="*/ 642747 w 655891"/>
                <a:gd name="connsiteY9" fmla="*/ 425196 h 425196"/>
                <a:gd name="connsiteX10" fmla="*/ 655892 w 655891"/>
                <a:gd name="connsiteY10" fmla="*/ 412051 h 425196"/>
                <a:gd name="connsiteX11" fmla="*/ 655892 w 655891"/>
                <a:gd name="connsiteY11" fmla="*/ 161830 h 425196"/>
                <a:gd name="connsiteX12" fmla="*/ 494157 w 655891"/>
                <a:gd name="connsiteY12" fmla="*/ 95 h 425196"/>
                <a:gd name="connsiteX13" fmla="*/ 494824 w 655891"/>
                <a:gd name="connsiteY13" fmla="*/ 34957 h 425196"/>
                <a:gd name="connsiteX14" fmla="*/ 494824 w 655891"/>
                <a:gd name="connsiteY14" fmla="*/ 236030 h 425196"/>
                <a:gd name="connsiteX15" fmla="*/ 494824 w 655891"/>
                <a:gd name="connsiteY15" fmla="*/ 34957 h 425196"/>
                <a:gd name="connsiteX16" fmla="*/ 204216 w 655891"/>
                <a:gd name="connsiteY16" fmla="*/ 119444 h 425196"/>
                <a:gd name="connsiteX17" fmla="*/ 204216 w 655891"/>
                <a:gd name="connsiteY17" fmla="*/ 279273 h 425196"/>
                <a:gd name="connsiteX18" fmla="*/ 204216 w 655891"/>
                <a:gd name="connsiteY18" fmla="*/ 119444 h 425196"/>
                <a:gd name="connsiteX19" fmla="*/ 26384 w 655891"/>
                <a:gd name="connsiteY19" fmla="*/ 339376 h 425196"/>
                <a:gd name="connsiteX20" fmla="*/ 26384 w 655891"/>
                <a:gd name="connsiteY20" fmla="*/ 288036 h 425196"/>
                <a:gd name="connsiteX21" fmla="*/ 175832 w 655891"/>
                <a:gd name="connsiteY21" fmla="*/ 113633 h 425196"/>
                <a:gd name="connsiteX22" fmla="*/ 194786 w 655891"/>
                <a:gd name="connsiteY22" fmla="*/ 308134 h 425196"/>
                <a:gd name="connsiteX23" fmla="*/ 204216 w 655891"/>
                <a:gd name="connsiteY23" fmla="*/ 312134 h 425196"/>
                <a:gd name="connsiteX24" fmla="*/ 213646 w 655891"/>
                <a:gd name="connsiteY24" fmla="*/ 308134 h 425196"/>
                <a:gd name="connsiteX25" fmla="*/ 232886 w 655891"/>
                <a:gd name="connsiteY25" fmla="*/ 114109 h 425196"/>
                <a:gd name="connsiteX26" fmla="*/ 332423 w 655891"/>
                <a:gd name="connsiteY26" fmla="*/ 167735 h 425196"/>
                <a:gd name="connsiteX27" fmla="*/ 332423 w 655891"/>
                <a:gd name="connsiteY27" fmla="*/ 339471 h 425196"/>
                <a:gd name="connsiteX28" fmla="*/ 26384 w 655891"/>
                <a:gd name="connsiteY28" fmla="*/ 339471 h 425196"/>
                <a:gd name="connsiteX29" fmla="*/ 629603 w 655891"/>
                <a:gd name="connsiteY29" fmla="*/ 398812 h 425196"/>
                <a:gd name="connsiteX30" fmla="*/ 358712 w 655891"/>
                <a:gd name="connsiteY30" fmla="*/ 398812 h 425196"/>
                <a:gd name="connsiteX31" fmla="*/ 358712 w 655891"/>
                <a:gd name="connsiteY31" fmla="*/ 161639 h 425196"/>
                <a:gd name="connsiteX32" fmla="*/ 467582 w 655891"/>
                <a:gd name="connsiteY32" fmla="*/ 28861 h 425196"/>
                <a:gd name="connsiteX33" fmla="*/ 484823 w 655891"/>
                <a:gd name="connsiteY33" fmla="*/ 265938 h 425196"/>
                <a:gd name="connsiteX34" fmla="*/ 494919 w 655891"/>
                <a:gd name="connsiteY34" fmla="*/ 270605 h 425196"/>
                <a:gd name="connsiteX35" fmla="*/ 505016 w 655891"/>
                <a:gd name="connsiteY35" fmla="*/ 265938 h 425196"/>
                <a:gd name="connsiteX36" fmla="*/ 522542 w 655891"/>
                <a:gd name="connsiteY36" fmla="*/ 29242 h 425196"/>
                <a:gd name="connsiteX37" fmla="*/ 629698 w 655891"/>
                <a:gd name="connsiteY37" fmla="*/ 161639 h 425196"/>
                <a:gd name="connsiteX38" fmla="*/ 629698 w 655891"/>
                <a:gd name="connsiteY38" fmla="*/ 398812 h 425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55891" h="425196">
                  <a:moveTo>
                    <a:pt x="494062" y="0"/>
                  </a:moveTo>
                  <a:cubicBezTo>
                    <a:pt x="414338" y="0"/>
                    <a:pt x="348139" y="58007"/>
                    <a:pt x="334899" y="133922"/>
                  </a:cubicBezTo>
                  <a:cubicBezTo>
                    <a:pt x="298323" y="102680"/>
                    <a:pt x="251555" y="85058"/>
                    <a:pt x="203073" y="85058"/>
                  </a:cubicBezTo>
                  <a:cubicBezTo>
                    <a:pt x="91154" y="85058"/>
                    <a:pt x="0" y="176117"/>
                    <a:pt x="0" y="288131"/>
                  </a:cubicBezTo>
                  <a:lnTo>
                    <a:pt x="0" y="352616"/>
                  </a:lnTo>
                  <a:cubicBezTo>
                    <a:pt x="0" y="359855"/>
                    <a:pt x="6001" y="365760"/>
                    <a:pt x="13240" y="365760"/>
                  </a:cubicBezTo>
                  <a:lnTo>
                    <a:pt x="332423" y="365760"/>
                  </a:lnTo>
                  <a:lnTo>
                    <a:pt x="332423" y="412051"/>
                  </a:lnTo>
                  <a:cubicBezTo>
                    <a:pt x="332423" y="419291"/>
                    <a:pt x="338328" y="425196"/>
                    <a:pt x="345567" y="425196"/>
                  </a:cubicBezTo>
                  <a:lnTo>
                    <a:pt x="642747" y="425196"/>
                  </a:lnTo>
                  <a:cubicBezTo>
                    <a:pt x="649986" y="425196"/>
                    <a:pt x="655892" y="419291"/>
                    <a:pt x="655892" y="412051"/>
                  </a:cubicBezTo>
                  <a:lnTo>
                    <a:pt x="655892" y="161830"/>
                  </a:lnTo>
                  <a:cubicBezTo>
                    <a:pt x="655892" y="72676"/>
                    <a:pt x="583311" y="95"/>
                    <a:pt x="494157" y="95"/>
                  </a:cubicBezTo>
                  <a:close/>
                  <a:moveTo>
                    <a:pt x="494824" y="34957"/>
                  </a:moveTo>
                  <a:cubicBezTo>
                    <a:pt x="538448" y="96774"/>
                    <a:pt x="538448" y="174212"/>
                    <a:pt x="494824" y="236030"/>
                  </a:cubicBezTo>
                  <a:cubicBezTo>
                    <a:pt x="451199" y="174212"/>
                    <a:pt x="451199" y="96774"/>
                    <a:pt x="494824" y="34957"/>
                  </a:cubicBezTo>
                  <a:close/>
                  <a:moveTo>
                    <a:pt x="204216" y="119444"/>
                  </a:moveTo>
                  <a:cubicBezTo>
                    <a:pt x="244697" y="169164"/>
                    <a:pt x="244697" y="229553"/>
                    <a:pt x="204216" y="279273"/>
                  </a:cubicBezTo>
                  <a:cubicBezTo>
                    <a:pt x="163735" y="229553"/>
                    <a:pt x="163735" y="169164"/>
                    <a:pt x="204216" y="119444"/>
                  </a:cubicBezTo>
                  <a:close/>
                  <a:moveTo>
                    <a:pt x="26384" y="339376"/>
                  </a:moveTo>
                  <a:lnTo>
                    <a:pt x="26384" y="288036"/>
                  </a:lnTo>
                  <a:cubicBezTo>
                    <a:pt x="26384" y="199835"/>
                    <a:pt x="91249" y="126778"/>
                    <a:pt x="175832" y="113633"/>
                  </a:cubicBezTo>
                  <a:cubicBezTo>
                    <a:pt x="132874" y="175260"/>
                    <a:pt x="139160" y="250508"/>
                    <a:pt x="194786" y="308134"/>
                  </a:cubicBezTo>
                  <a:cubicBezTo>
                    <a:pt x="197263" y="310706"/>
                    <a:pt x="200692" y="312134"/>
                    <a:pt x="204216" y="312134"/>
                  </a:cubicBezTo>
                  <a:cubicBezTo>
                    <a:pt x="207740" y="312134"/>
                    <a:pt x="211169" y="310706"/>
                    <a:pt x="213646" y="308134"/>
                  </a:cubicBezTo>
                  <a:cubicBezTo>
                    <a:pt x="269177" y="250603"/>
                    <a:pt x="275558" y="175641"/>
                    <a:pt x="232886" y="114109"/>
                  </a:cubicBezTo>
                  <a:cubicBezTo>
                    <a:pt x="270796" y="120587"/>
                    <a:pt x="305848" y="139255"/>
                    <a:pt x="332423" y="167735"/>
                  </a:cubicBezTo>
                  <a:lnTo>
                    <a:pt x="332423" y="339471"/>
                  </a:lnTo>
                  <a:lnTo>
                    <a:pt x="26384" y="339471"/>
                  </a:lnTo>
                  <a:close/>
                  <a:moveTo>
                    <a:pt x="629603" y="398812"/>
                  </a:moveTo>
                  <a:lnTo>
                    <a:pt x="358712" y="398812"/>
                  </a:lnTo>
                  <a:lnTo>
                    <a:pt x="358712" y="161639"/>
                  </a:lnTo>
                  <a:cubicBezTo>
                    <a:pt x="358712" y="96012"/>
                    <a:pt x="405575" y="41243"/>
                    <a:pt x="467582" y="28861"/>
                  </a:cubicBezTo>
                  <a:cubicBezTo>
                    <a:pt x="420243" y="103537"/>
                    <a:pt x="425863" y="195548"/>
                    <a:pt x="484823" y="265938"/>
                  </a:cubicBezTo>
                  <a:cubicBezTo>
                    <a:pt x="487299" y="268891"/>
                    <a:pt x="491014" y="270605"/>
                    <a:pt x="494919" y="270605"/>
                  </a:cubicBezTo>
                  <a:cubicBezTo>
                    <a:pt x="498824" y="270605"/>
                    <a:pt x="502444" y="268891"/>
                    <a:pt x="505016" y="265938"/>
                  </a:cubicBezTo>
                  <a:cubicBezTo>
                    <a:pt x="563880" y="195739"/>
                    <a:pt x="569595" y="103823"/>
                    <a:pt x="522542" y="29242"/>
                  </a:cubicBezTo>
                  <a:cubicBezTo>
                    <a:pt x="583692" y="42291"/>
                    <a:pt x="629698" y="96679"/>
                    <a:pt x="629698" y="161639"/>
                  </a:cubicBezTo>
                  <a:lnTo>
                    <a:pt x="629698" y="39881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4" name="Graphic 237">
            <a:extLst>
              <a:ext uri="{FF2B5EF4-FFF2-40B4-BE49-F238E27FC236}">
                <a16:creationId xmlns:a16="http://schemas.microsoft.com/office/drawing/2014/main" id="{DD514C3A-24A2-8BAF-A36C-FF952B8D8CF5}"/>
              </a:ext>
            </a:extLst>
          </p:cNvPr>
          <p:cNvGrpSpPr/>
          <p:nvPr/>
        </p:nvGrpSpPr>
        <p:grpSpPr>
          <a:xfrm>
            <a:off x="2278931" y="5264150"/>
            <a:ext cx="550410" cy="692150"/>
            <a:chOff x="7998983" y="1408105"/>
            <a:chExt cx="521536" cy="655840"/>
          </a:xfrm>
          <a:solidFill>
            <a:schemeClr val="bg1"/>
          </a:solidFill>
        </p:grpSpPr>
        <p:sp>
          <p:nvSpPr>
            <p:cNvPr id="25" name="Freeform: Shape 103">
              <a:extLst>
                <a:ext uri="{FF2B5EF4-FFF2-40B4-BE49-F238E27FC236}">
                  <a16:creationId xmlns:a16="http://schemas.microsoft.com/office/drawing/2014/main" id="{6871A986-DF01-E696-B730-B2784B91001C}"/>
                </a:ext>
              </a:extLst>
            </p:cNvPr>
            <p:cNvSpPr/>
            <p:nvPr/>
          </p:nvSpPr>
          <p:spPr>
            <a:xfrm>
              <a:off x="8135858" y="1972029"/>
              <a:ext cx="157448" cy="26289"/>
            </a:xfrm>
            <a:custGeom>
              <a:avLst/>
              <a:gdLst>
                <a:gd name="connsiteX0" fmla="*/ 144304 w 157448"/>
                <a:gd name="connsiteY0" fmla="*/ 0 h 26289"/>
                <a:gd name="connsiteX1" fmla="*/ 13145 w 157448"/>
                <a:gd name="connsiteY1" fmla="*/ 0 h 26289"/>
                <a:gd name="connsiteX2" fmla="*/ 0 w 157448"/>
                <a:gd name="connsiteY2" fmla="*/ 13145 h 26289"/>
                <a:gd name="connsiteX3" fmla="*/ 13145 w 157448"/>
                <a:gd name="connsiteY3" fmla="*/ 26289 h 26289"/>
                <a:gd name="connsiteX4" fmla="*/ 144304 w 157448"/>
                <a:gd name="connsiteY4" fmla="*/ 26289 h 26289"/>
                <a:gd name="connsiteX5" fmla="*/ 157448 w 157448"/>
                <a:gd name="connsiteY5" fmla="*/ 13145 h 26289"/>
                <a:gd name="connsiteX6" fmla="*/ 144304 w 157448"/>
                <a:gd name="connsiteY6" fmla="*/ 0 h 2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7448" h="26289">
                  <a:moveTo>
                    <a:pt x="144304" y="0"/>
                  </a:moveTo>
                  <a:lnTo>
                    <a:pt x="13145" y="0"/>
                  </a:lnTo>
                  <a:cubicBezTo>
                    <a:pt x="5906" y="0"/>
                    <a:pt x="0" y="5906"/>
                    <a:pt x="0" y="13145"/>
                  </a:cubicBezTo>
                  <a:cubicBezTo>
                    <a:pt x="0" y="20383"/>
                    <a:pt x="5906" y="26289"/>
                    <a:pt x="13145" y="26289"/>
                  </a:cubicBezTo>
                  <a:lnTo>
                    <a:pt x="144304" y="26289"/>
                  </a:lnTo>
                  <a:cubicBezTo>
                    <a:pt x="151543" y="26289"/>
                    <a:pt x="157448" y="20383"/>
                    <a:pt x="157448" y="13145"/>
                  </a:cubicBezTo>
                  <a:cubicBezTo>
                    <a:pt x="157448" y="5906"/>
                    <a:pt x="151543" y="0"/>
                    <a:pt x="14430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104">
              <a:extLst>
                <a:ext uri="{FF2B5EF4-FFF2-40B4-BE49-F238E27FC236}">
                  <a16:creationId xmlns:a16="http://schemas.microsoft.com/office/drawing/2014/main" id="{AA123DAE-E52F-2FE5-5B07-1AE61861106C}"/>
                </a:ext>
              </a:extLst>
            </p:cNvPr>
            <p:cNvSpPr/>
            <p:nvPr/>
          </p:nvSpPr>
          <p:spPr>
            <a:xfrm>
              <a:off x="8179578" y="2037656"/>
              <a:ext cx="70008" cy="26289"/>
            </a:xfrm>
            <a:custGeom>
              <a:avLst/>
              <a:gdLst>
                <a:gd name="connsiteX0" fmla="*/ 56864 w 70008"/>
                <a:gd name="connsiteY0" fmla="*/ 0 h 26289"/>
                <a:gd name="connsiteX1" fmla="*/ 13144 w 70008"/>
                <a:gd name="connsiteY1" fmla="*/ 0 h 26289"/>
                <a:gd name="connsiteX2" fmla="*/ 0 w 70008"/>
                <a:gd name="connsiteY2" fmla="*/ 13145 h 26289"/>
                <a:gd name="connsiteX3" fmla="*/ 13144 w 70008"/>
                <a:gd name="connsiteY3" fmla="*/ 26289 h 26289"/>
                <a:gd name="connsiteX4" fmla="*/ 56864 w 70008"/>
                <a:gd name="connsiteY4" fmla="*/ 26289 h 26289"/>
                <a:gd name="connsiteX5" fmla="*/ 70009 w 70008"/>
                <a:gd name="connsiteY5" fmla="*/ 13145 h 26289"/>
                <a:gd name="connsiteX6" fmla="*/ 56864 w 70008"/>
                <a:gd name="connsiteY6" fmla="*/ 0 h 2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008" h="26289">
                  <a:moveTo>
                    <a:pt x="56864" y="0"/>
                  </a:moveTo>
                  <a:lnTo>
                    <a:pt x="13144" y="0"/>
                  </a:lnTo>
                  <a:cubicBezTo>
                    <a:pt x="5906" y="0"/>
                    <a:pt x="0" y="5906"/>
                    <a:pt x="0" y="13145"/>
                  </a:cubicBezTo>
                  <a:cubicBezTo>
                    <a:pt x="0" y="20383"/>
                    <a:pt x="5906" y="26289"/>
                    <a:pt x="13144" y="26289"/>
                  </a:cubicBezTo>
                  <a:lnTo>
                    <a:pt x="56864" y="26289"/>
                  </a:lnTo>
                  <a:cubicBezTo>
                    <a:pt x="64103" y="26289"/>
                    <a:pt x="70009" y="20383"/>
                    <a:pt x="70009" y="13145"/>
                  </a:cubicBezTo>
                  <a:cubicBezTo>
                    <a:pt x="70009" y="5906"/>
                    <a:pt x="64103" y="0"/>
                    <a:pt x="5686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105">
              <a:extLst>
                <a:ext uri="{FF2B5EF4-FFF2-40B4-BE49-F238E27FC236}">
                  <a16:creationId xmlns:a16="http://schemas.microsoft.com/office/drawing/2014/main" id="{5BB08A04-D88E-A3F3-2AED-860BB60FFF30}"/>
                </a:ext>
              </a:extLst>
            </p:cNvPr>
            <p:cNvSpPr/>
            <p:nvPr/>
          </p:nvSpPr>
          <p:spPr>
            <a:xfrm>
              <a:off x="7998983" y="1408105"/>
              <a:ext cx="521536" cy="524586"/>
            </a:xfrm>
            <a:custGeom>
              <a:avLst/>
              <a:gdLst>
                <a:gd name="connsiteX0" fmla="*/ 518161 w 521536"/>
                <a:gd name="connsiteY0" fmla="*/ 127679 h 524586"/>
                <a:gd name="connsiteX1" fmla="*/ 504159 w 521536"/>
                <a:gd name="connsiteY1" fmla="*/ 116821 h 524586"/>
                <a:gd name="connsiteX2" fmla="*/ 437960 w 521536"/>
                <a:gd name="connsiteY2" fmla="*/ 116440 h 524586"/>
                <a:gd name="connsiteX3" fmla="*/ 399193 w 521536"/>
                <a:gd name="connsiteY3" fmla="*/ 115106 h 524586"/>
                <a:gd name="connsiteX4" fmla="*/ 201264 w 521536"/>
                <a:gd name="connsiteY4" fmla="*/ 235 h 524586"/>
                <a:gd name="connsiteX5" fmla="*/ 1 w 521536"/>
                <a:gd name="connsiteY5" fmla="*/ 210547 h 524586"/>
                <a:gd name="connsiteX6" fmla="*/ 100108 w 521536"/>
                <a:gd name="connsiteY6" fmla="*/ 390855 h 524586"/>
                <a:gd name="connsiteX7" fmla="*/ 100680 w 521536"/>
                <a:gd name="connsiteY7" fmla="*/ 391141 h 524586"/>
                <a:gd name="connsiteX8" fmla="*/ 127445 w 521536"/>
                <a:gd name="connsiteY8" fmla="*/ 441338 h 524586"/>
                <a:gd name="connsiteX9" fmla="*/ 127445 w 521536"/>
                <a:gd name="connsiteY9" fmla="*/ 511442 h 524586"/>
                <a:gd name="connsiteX10" fmla="*/ 140590 w 521536"/>
                <a:gd name="connsiteY10" fmla="*/ 524586 h 524586"/>
                <a:gd name="connsiteX11" fmla="*/ 290704 w 521536"/>
                <a:gd name="connsiteY11" fmla="*/ 524586 h 524586"/>
                <a:gd name="connsiteX12" fmla="*/ 303848 w 521536"/>
                <a:gd name="connsiteY12" fmla="*/ 511442 h 524586"/>
                <a:gd name="connsiteX13" fmla="*/ 303848 w 521536"/>
                <a:gd name="connsiteY13" fmla="*/ 449148 h 524586"/>
                <a:gd name="connsiteX14" fmla="*/ 303848 w 521536"/>
                <a:gd name="connsiteY14" fmla="*/ 434289 h 524586"/>
                <a:gd name="connsiteX15" fmla="*/ 314230 w 521536"/>
                <a:gd name="connsiteY15" fmla="*/ 396284 h 524586"/>
                <a:gd name="connsiteX16" fmla="*/ 324232 w 521536"/>
                <a:gd name="connsiteY16" fmla="*/ 389807 h 524586"/>
                <a:gd name="connsiteX17" fmla="*/ 368999 w 521536"/>
                <a:gd name="connsiteY17" fmla="*/ 383902 h 524586"/>
                <a:gd name="connsiteX18" fmla="*/ 518065 w 521536"/>
                <a:gd name="connsiteY18" fmla="*/ 127679 h 524586"/>
                <a:gd name="connsiteX19" fmla="*/ 277559 w 521536"/>
                <a:gd name="connsiteY19" fmla="*/ 448672 h 524586"/>
                <a:gd name="connsiteX20" fmla="*/ 277559 w 521536"/>
                <a:gd name="connsiteY20" fmla="*/ 498392 h 524586"/>
                <a:gd name="connsiteX21" fmla="*/ 153639 w 521536"/>
                <a:gd name="connsiteY21" fmla="*/ 498392 h 524586"/>
                <a:gd name="connsiteX22" fmla="*/ 153639 w 521536"/>
                <a:gd name="connsiteY22" fmla="*/ 440957 h 524586"/>
                <a:gd name="connsiteX23" fmla="*/ 115444 w 521536"/>
                <a:gd name="connsiteY23" fmla="*/ 369329 h 524586"/>
                <a:gd name="connsiteX24" fmla="*/ 112491 w 521536"/>
                <a:gd name="connsiteY24" fmla="*/ 367805 h 524586"/>
                <a:gd name="connsiteX25" fmla="*/ 26194 w 521536"/>
                <a:gd name="connsiteY25" fmla="*/ 210737 h 524586"/>
                <a:gd name="connsiteX26" fmla="*/ 202407 w 521536"/>
                <a:gd name="connsiteY26" fmla="*/ 26524 h 524586"/>
                <a:gd name="connsiteX27" fmla="*/ 369761 w 521536"/>
                <a:gd name="connsiteY27" fmla="*/ 116059 h 524586"/>
                <a:gd name="connsiteX28" fmla="*/ 355760 w 521536"/>
                <a:gd name="connsiteY28" fmla="*/ 117297 h 524586"/>
                <a:gd name="connsiteX29" fmla="*/ 234887 w 521536"/>
                <a:gd name="connsiteY29" fmla="*/ 196355 h 524586"/>
                <a:gd name="connsiteX30" fmla="*/ 212218 w 521536"/>
                <a:gd name="connsiteY30" fmla="*/ 353993 h 524586"/>
                <a:gd name="connsiteX31" fmla="*/ 212408 w 521536"/>
                <a:gd name="connsiteY31" fmla="*/ 354374 h 524586"/>
                <a:gd name="connsiteX32" fmla="*/ 214218 w 521536"/>
                <a:gd name="connsiteY32" fmla="*/ 358756 h 524586"/>
                <a:gd name="connsiteX33" fmla="*/ 214504 w 521536"/>
                <a:gd name="connsiteY33" fmla="*/ 359327 h 524586"/>
                <a:gd name="connsiteX34" fmla="*/ 218314 w 521536"/>
                <a:gd name="connsiteY34" fmla="*/ 362947 h 524586"/>
                <a:gd name="connsiteX35" fmla="*/ 218599 w 521536"/>
                <a:gd name="connsiteY35" fmla="*/ 363042 h 524586"/>
                <a:gd name="connsiteX36" fmla="*/ 218695 w 521536"/>
                <a:gd name="connsiteY36" fmla="*/ 363137 h 524586"/>
                <a:gd name="connsiteX37" fmla="*/ 287370 w 521536"/>
                <a:gd name="connsiteY37" fmla="*/ 386855 h 524586"/>
                <a:gd name="connsiteX38" fmla="*/ 277559 w 521536"/>
                <a:gd name="connsiteY38" fmla="*/ 434670 h 524586"/>
                <a:gd name="connsiteX39" fmla="*/ 277559 w 521536"/>
                <a:gd name="connsiteY39" fmla="*/ 448672 h 524586"/>
                <a:gd name="connsiteX40" fmla="*/ 362237 w 521536"/>
                <a:gd name="connsiteY40" fmla="*/ 358565 h 524586"/>
                <a:gd name="connsiteX41" fmla="*/ 244317 w 521536"/>
                <a:gd name="connsiteY41" fmla="*/ 346659 h 524586"/>
                <a:gd name="connsiteX42" fmla="*/ 368904 w 521536"/>
                <a:gd name="connsiteY42" fmla="*/ 245980 h 524586"/>
                <a:gd name="connsiteX43" fmla="*/ 400146 w 521536"/>
                <a:gd name="connsiteY43" fmla="*/ 233216 h 524586"/>
                <a:gd name="connsiteX44" fmla="*/ 407385 w 521536"/>
                <a:gd name="connsiteY44" fmla="*/ 216071 h 524586"/>
                <a:gd name="connsiteX45" fmla="*/ 390240 w 521536"/>
                <a:gd name="connsiteY45" fmla="*/ 208832 h 524586"/>
                <a:gd name="connsiteX46" fmla="*/ 359093 w 521536"/>
                <a:gd name="connsiteY46" fmla="*/ 221596 h 524586"/>
                <a:gd name="connsiteX47" fmla="*/ 234982 w 521536"/>
                <a:gd name="connsiteY47" fmla="*/ 315131 h 524586"/>
                <a:gd name="connsiteX48" fmla="*/ 258414 w 521536"/>
                <a:gd name="connsiteY48" fmla="*/ 208261 h 524586"/>
                <a:gd name="connsiteX49" fmla="*/ 359189 w 521536"/>
                <a:gd name="connsiteY49" fmla="*/ 143396 h 524586"/>
                <a:gd name="connsiteX50" fmla="*/ 436722 w 521536"/>
                <a:gd name="connsiteY50" fmla="*/ 142634 h 524586"/>
                <a:gd name="connsiteX51" fmla="*/ 493967 w 521536"/>
                <a:gd name="connsiteY51" fmla="*/ 143681 h 524586"/>
                <a:gd name="connsiteX52" fmla="*/ 362332 w 521536"/>
                <a:gd name="connsiteY52" fmla="*/ 358565 h 52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521536" h="524586">
                  <a:moveTo>
                    <a:pt x="518161" y="127679"/>
                  </a:moveTo>
                  <a:cubicBezTo>
                    <a:pt x="517018" y="121012"/>
                    <a:pt x="510826" y="116249"/>
                    <a:pt x="504159" y="116821"/>
                  </a:cubicBezTo>
                  <a:cubicBezTo>
                    <a:pt x="482347" y="118535"/>
                    <a:pt x="459772" y="117488"/>
                    <a:pt x="437960" y="116440"/>
                  </a:cubicBezTo>
                  <a:cubicBezTo>
                    <a:pt x="425197" y="115868"/>
                    <a:pt x="412243" y="115202"/>
                    <a:pt x="399193" y="115106"/>
                  </a:cubicBezTo>
                  <a:cubicBezTo>
                    <a:pt x="361474" y="41383"/>
                    <a:pt x="283941" y="-3670"/>
                    <a:pt x="201264" y="235"/>
                  </a:cubicBezTo>
                  <a:cubicBezTo>
                    <a:pt x="90679" y="5283"/>
                    <a:pt x="382" y="99676"/>
                    <a:pt x="1" y="210547"/>
                  </a:cubicBezTo>
                  <a:cubicBezTo>
                    <a:pt x="-190" y="284461"/>
                    <a:pt x="37243" y="351898"/>
                    <a:pt x="100108" y="390855"/>
                  </a:cubicBezTo>
                  <a:cubicBezTo>
                    <a:pt x="100299" y="390950"/>
                    <a:pt x="100489" y="390950"/>
                    <a:pt x="100680" y="391141"/>
                  </a:cubicBezTo>
                  <a:cubicBezTo>
                    <a:pt x="116110" y="404476"/>
                    <a:pt x="126778" y="424574"/>
                    <a:pt x="127445" y="441338"/>
                  </a:cubicBezTo>
                  <a:lnTo>
                    <a:pt x="127445" y="511442"/>
                  </a:lnTo>
                  <a:cubicBezTo>
                    <a:pt x="127445" y="518681"/>
                    <a:pt x="133351" y="524586"/>
                    <a:pt x="140590" y="524586"/>
                  </a:cubicBezTo>
                  <a:lnTo>
                    <a:pt x="290704" y="524586"/>
                  </a:lnTo>
                  <a:cubicBezTo>
                    <a:pt x="297943" y="524586"/>
                    <a:pt x="303848" y="518681"/>
                    <a:pt x="303848" y="511442"/>
                  </a:cubicBezTo>
                  <a:lnTo>
                    <a:pt x="303848" y="449148"/>
                  </a:lnTo>
                  <a:cubicBezTo>
                    <a:pt x="304039" y="444195"/>
                    <a:pt x="303943" y="439242"/>
                    <a:pt x="303848" y="434289"/>
                  </a:cubicBezTo>
                  <a:cubicBezTo>
                    <a:pt x="303563" y="415049"/>
                    <a:pt x="303848" y="403809"/>
                    <a:pt x="314230" y="396284"/>
                  </a:cubicBezTo>
                  <a:lnTo>
                    <a:pt x="324232" y="389807"/>
                  </a:lnTo>
                  <a:cubicBezTo>
                    <a:pt x="339662" y="389617"/>
                    <a:pt x="354807" y="387712"/>
                    <a:pt x="368999" y="383902"/>
                  </a:cubicBezTo>
                  <a:cubicBezTo>
                    <a:pt x="472250" y="355994"/>
                    <a:pt x="537687" y="243408"/>
                    <a:pt x="518065" y="127679"/>
                  </a:cubicBezTo>
                  <a:close/>
                  <a:moveTo>
                    <a:pt x="277559" y="448672"/>
                  </a:moveTo>
                  <a:lnTo>
                    <a:pt x="277559" y="498392"/>
                  </a:lnTo>
                  <a:lnTo>
                    <a:pt x="153639" y="498392"/>
                  </a:lnTo>
                  <a:lnTo>
                    <a:pt x="153639" y="440957"/>
                  </a:lnTo>
                  <a:cubicBezTo>
                    <a:pt x="152591" y="415144"/>
                    <a:pt x="138018" y="387617"/>
                    <a:pt x="115444" y="369329"/>
                  </a:cubicBezTo>
                  <a:cubicBezTo>
                    <a:pt x="114586" y="368567"/>
                    <a:pt x="113539" y="368281"/>
                    <a:pt x="112491" y="367805"/>
                  </a:cubicBezTo>
                  <a:cubicBezTo>
                    <a:pt x="58198" y="333515"/>
                    <a:pt x="26004" y="274936"/>
                    <a:pt x="26194" y="210737"/>
                  </a:cubicBezTo>
                  <a:cubicBezTo>
                    <a:pt x="26480" y="113678"/>
                    <a:pt x="105538" y="31001"/>
                    <a:pt x="202407" y="26524"/>
                  </a:cubicBezTo>
                  <a:cubicBezTo>
                    <a:pt x="270987" y="23476"/>
                    <a:pt x="334995" y="58147"/>
                    <a:pt x="369761" y="116059"/>
                  </a:cubicBezTo>
                  <a:cubicBezTo>
                    <a:pt x="365094" y="116440"/>
                    <a:pt x="360427" y="116726"/>
                    <a:pt x="355760" y="117297"/>
                  </a:cubicBezTo>
                  <a:cubicBezTo>
                    <a:pt x="299371" y="124536"/>
                    <a:pt x="257557" y="151873"/>
                    <a:pt x="234887" y="196355"/>
                  </a:cubicBezTo>
                  <a:cubicBezTo>
                    <a:pt x="210979" y="243408"/>
                    <a:pt x="202883" y="299320"/>
                    <a:pt x="212218" y="353993"/>
                  </a:cubicBezTo>
                  <a:cubicBezTo>
                    <a:pt x="212218" y="354184"/>
                    <a:pt x="212313" y="354279"/>
                    <a:pt x="212408" y="354374"/>
                  </a:cubicBezTo>
                  <a:cubicBezTo>
                    <a:pt x="212694" y="355898"/>
                    <a:pt x="213361" y="357422"/>
                    <a:pt x="214218" y="358756"/>
                  </a:cubicBezTo>
                  <a:cubicBezTo>
                    <a:pt x="214313" y="358946"/>
                    <a:pt x="214408" y="359232"/>
                    <a:pt x="214504" y="359327"/>
                  </a:cubicBezTo>
                  <a:cubicBezTo>
                    <a:pt x="215456" y="360756"/>
                    <a:pt x="216790" y="361994"/>
                    <a:pt x="218314" y="362947"/>
                  </a:cubicBezTo>
                  <a:cubicBezTo>
                    <a:pt x="218314" y="362947"/>
                    <a:pt x="218504" y="362947"/>
                    <a:pt x="218599" y="363042"/>
                  </a:cubicBezTo>
                  <a:cubicBezTo>
                    <a:pt x="218599" y="363042"/>
                    <a:pt x="218599" y="363042"/>
                    <a:pt x="218695" y="363137"/>
                  </a:cubicBezTo>
                  <a:cubicBezTo>
                    <a:pt x="239745" y="374948"/>
                    <a:pt x="263367" y="382854"/>
                    <a:pt x="287370" y="386855"/>
                  </a:cubicBezTo>
                  <a:cubicBezTo>
                    <a:pt x="277273" y="401428"/>
                    <a:pt x="277369" y="418859"/>
                    <a:pt x="277559" y="434670"/>
                  </a:cubicBezTo>
                  <a:cubicBezTo>
                    <a:pt x="277559" y="439147"/>
                    <a:pt x="277654" y="443624"/>
                    <a:pt x="277559" y="448672"/>
                  </a:cubicBezTo>
                  <a:close/>
                  <a:moveTo>
                    <a:pt x="362237" y="358565"/>
                  </a:moveTo>
                  <a:cubicBezTo>
                    <a:pt x="325661" y="368471"/>
                    <a:pt x="281655" y="363709"/>
                    <a:pt x="244317" y="346659"/>
                  </a:cubicBezTo>
                  <a:cubicBezTo>
                    <a:pt x="275178" y="301511"/>
                    <a:pt x="317850" y="266744"/>
                    <a:pt x="368904" y="245980"/>
                  </a:cubicBezTo>
                  <a:lnTo>
                    <a:pt x="400146" y="233216"/>
                  </a:lnTo>
                  <a:cubicBezTo>
                    <a:pt x="406814" y="230454"/>
                    <a:pt x="410052" y="222834"/>
                    <a:pt x="407385" y="216071"/>
                  </a:cubicBezTo>
                  <a:cubicBezTo>
                    <a:pt x="404718" y="209309"/>
                    <a:pt x="397003" y="206165"/>
                    <a:pt x="390240" y="208832"/>
                  </a:cubicBezTo>
                  <a:lnTo>
                    <a:pt x="359093" y="221596"/>
                  </a:lnTo>
                  <a:cubicBezTo>
                    <a:pt x="309754" y="241694"/>
                    <a:pt x="267463" y="273793"/>
                    <a:pt x="234982" y="315131"/>
                  </a:cubicBezTo>
                  <a:cubicBezTo>
                    <a:pt x="234125" y="277508"/>
                    <a:pt x="241936" y="240455"/>
                    <a:pt x="258414" y="208261"/>
                  </a:cubicBezTo>
                  <a:cubicBezTo>
                    <a:pt x="281845" y="162255"/>
                    <a:pt x="326137" y="147587"/>
                    <a:pt x="359189" y="143396"/>
                  </a:cubicBezTo>
                  <a:cubicBezTo>
                    <a:pt x="384715" y="140157"/>
                    <a:pt x="409957" y="141300"/>
                    <a:pt x="436722" y="142634"/>
                  </a:cubicBezTo>
                  <a:cubicBezTo>
                    <a:pt x="455391" y="143491"/>
                    <a:pt x="474631" y="144443"/>
                    <a:pt x="493967" y="143681"/>
                  </a:cubicBezTo>
                  <a:cubicBezTo>
                    <a:pt x="503683" y="231216"/>
                    <a:pt x="458915" y="332467"/>
                    <a:pt x="362332" y="35856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" name="Retângulo 31">
            <a:extLst>
              <a:ext uri="{FF2B5EF4-FFF2-40B4-BE49-F238E27FC236}">
                <a16:creationId xmlns:a16="http://schemas.microsoft.com/office/drawing/2014/main" id="{8A2C4030-8968-F703-AAA5-11211EE54FD2}"/>
              </a:ext>
            </a:extLst>
          </p:cNvPr>
          <p:cNvSpPr/>
          <p:nvPr/>
        </p:nvSpPr>
        <p:spPr>
          <a:xfrm>
            <a:off x="3155600" y="1904806"/>
            <a:ext cx="4063556" cy="878874"/>
          </a:xfrm>
          <a:prstGeom prst="rect">
            <a:avLst/>
          </a:prstGeom>
          <a:solidFill>
            <a:srgbClr val="F2F2F2"/>
          </a:solidFill>
        </p:spPr>
        <p:txBody>
          <a:bodyPr wrap="square" lIns="91440" tIns="0" rIns="91440" bIns="0" rtlCol="0" anchor="ctr"/>
          <a:lstStyle/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Extenso histórico de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desenvolvimento de projetos renováveis com experiência em múltiplas tecnologias 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renováveis (eólicas </a:t>
            </a:r>
            <a:r>
              <a:rPr kumimoji="0" lang="pt-BR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onshore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 e offshore, além de solar) com presença global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0D606D7C-4625-6DC9-63F0-B36A30A06DFB}"/>
              </a:ext>
            </a:extLst>
          </p:cNvPr>
          <p:cNvSpPr/>
          <p:nvPr/>
        </p:nvSpPr>
        <p:spPr>
          <a:xfrm>
            <a:off x="3155600" y="2990728"/>
            <a:ext cx="4063556" cy="878874"/>
          </a:xfrm>
          <a:prstGeom prst="rect">
            <a:avLst/>
          </a:prstGeom>
          <a:solidFill>
            <a:srgbClr val="F2F2F2"/>
          </a:solidFill>
        </p:spPr>
        <p:txBody>
          <a:bodyPr wrap="square" lIns="91440" tIns="0" rIns="91440" bIns="0" rtlCol="0" anchor="ctr"/>
          <a:lstStyle/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Mais de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40 anos de experiência em construção e operação de ativos hídricos e térmicos</a:t>
            </a:r>
          </a:p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Excelência em engenharia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, com vários projetos em clientes industriais e </a:t>
            </a:r>
            <a:r>
              <a:rPr kumimoji="0" lang="pt-BR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conjutos</a:t>
            </a:r>
            <a:endParaRPr kumimoji="0" lang="pt-BR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lish" pitchFamily="2" charset="0"/>
              <a:ea typeface="+mn-ea"/>
              <a:cs typeface="+mn-cs"/>
            </a:endParaRP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23D5C756-2861-EA67-0A54-C4781360F8E8}"/>
              </a:ext>
            </a:extLst>
          </p:cNvPr>
          <p:cNvSpPr/>
          <p:nvPr/>
        </p:nvSpPr>
        <p:spPr>
          <a:xfrm>
            <a:off x="3155600" y="4077052"/>
            <a:ext cx="4063556" cy="878874"/>
          </a:xfrm>
          <a:prstGeom prst="rect">
            <a:avLst/>
          </a:prstGeom>
          <a:solidFill>
            <a:srgbClr val="F2F2F2"/>
          </a:solidFill>
        </p:spPr>
        <p:txBody>
          <a:bodyPr wrap="square" lIns="91440" tIns="0" rIns="91440" bIns="0" rtlCol="0" anchor="ctr"/>
          <a:lstStyle/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Vasta base de clientes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, com múltiplas ofertas de produtos e serviços</a:t>
            </a:r>
          </a:p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Experiência em estabelecimento de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PPA e desenvolvimento de modelos de negócios 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inovadores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A496A0C7-C0B6-BCFA-9BDA-2815F272C9C1}"/>
              </a:ext>
            </a:extLst>
          </p:cNvPr>
          <p:cNvSpPr/>
          <p:nvPr/>
        </p:nvSpPr>
        <p:spPr>
          <a:xfrm>
            <a:off x="3155600" y="5162550"/>
            <a:ext cx="4063556" cy="878874"/>
          </a:xfrm>
          <a:prstGeom prst="rect">
            <a:avLst/>
          </a:prstGeom>
          <a:solidFill>
            <a:srgbClr val="F2F2F2"/>
          </a:solidFill>
        </p:spPr>
        <p:txBody>
          <a:bodyPr wrap="square" lIns="91440" tIns="0" rIns="91440" bIns="0" rtlCol="0" anchor="ctr"/>
          <a:lstStyle/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Histórico de experiência em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escalar tecnologias de pilotos 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para integração com mercado (ex.: </a:t>
            </a:r>
            <a:r>
              <a:rPr kumimoji="0" lang="pt-BR" sz="11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WindFloat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)</a:t>
            </a:r>
          </a:p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Experiência em grandes consórcios com múltiplos stakeholders para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captações de recursos</a:t>
            </a:r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3464A812-29DB-2FB5-94B1-3D1536585D79}"/>
              </a:ext>
            </a:extLst>
          </p:cNvPr>
          <p:cNvSpPr/>
          <p:nvPr/>
        </p:nvSpPr>
        <p:spPr>
          <a:xfrm>
            <a:off x="7406925" y="1928691"/>
            <a:ext cx="4063556" cy="878874"/>
          </a:xfrm>
          <a:prstGeom prst="rect">
            <a:avLst/>
          </a:prstGeom>
          <a:solidFill>
            <a:srgbClr val="F2F2F2"/>
          </a:solidFill>
        </p:spPr>
        <p:txBody>
          <a:bodyPr wrap="square" lIns="91440" tIns="0" rIns="90000" bIns="0" rtlCol="0" anchor="ctr"/>
          <a:lstStyle/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Projeta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custo competitivo de mix de fontes de energia renovável (RES)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, maximizando o fator de carga do eletrolisador</a:t>
            </a:r>
          </a:p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Identificação de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potenciais localizações para implantação de RES</a:t>
            </a:r>
          </a:p>
        </p:txBody>
      </p:sp>
      <p:sp>
        <p:nvSpPr>
          <p:cNvPr id="37" name="Retângulo 36">
            <a:extLst>
              <a:ext uri="{FF2B5EF4-FFF2-40B4-BE49-F238E27FC236}">
                <a16:creationId xmlns:a16="http://schemas.microsoft.com/office/drawing/2014/main" id="{0772BB58-67D9-9103-8AC5-17D01C1A9595}"/>
              </a:ext>
            </a:extLst>
          </p:cNvPr>
          <p:cNvSpPr/>
          <p:nvPr/>
        </p:nvSpPr>
        <p:spPr>
          <a:xfrm>
            <a:off x="7406925" y="2990728"/>
            <a:ext cx="4063556" cy="878874"/>
          </a:xfrm>
          <a:prstGeom prst="rect">
            <a:avLst/>
          </a:prstGeom>
          <a:solidFill>
            <a:srgbClr val="F2F2F2"/>
          </a:solidFill>
        </p:spPr>
        <p:txBody>
          <a:bodyPr wrap="square" lIns="91440" tIns="0" rIns="90000" bIns="0" rtlCol="0" anchor="ctr"/>
          <a:lstStyle/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Habilidades de engenharia para dar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suporte de integração de H2 em processos industriais complexos</a:t>
            </a:r>
          </a:p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Utilização de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ativos existentes 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oferecem redução de custos</a:t>
            </a:r>
          </a:p>
        </p:txBody>
      </p:sp>
      <p:sp>
        <p:nvSpPr>
          <p:cNvPr id="38" name="Retângulo 37">
            <a:extLst>
              <a:ext uri="{FF2B5EF4-FFF2-40B4-BE49-F238E27FC236}">
                <a16:creationId xmlns:a16="http://schemas.microsoft.com/office/drawing/2014/main" id="{42CC4877-838B-770A-8084-1A068C147E28}"/>
              </a:ext>
            </a:extLst>
          </p:cNvPr>
          <p:cNvSpPr/>
          <p:nvPr/>
        </p:nvSpPr>
        <p:spPr>
          <a:xfrm>
            <a:off x="7406925" y="4077052"/>
            <a:ext cx="4063556" cy="878874"/>
          </a:xfrm>
          <a:prstGeom prst="rect">
            <a:avLst/>
          </a:prstGeom>
          <a:solidFill>
            <a:srgbClr val="F2F2F2"/>
          </a:solidFill>
        </p:spPr>
        <p:txBody>
          <a:bodyPr wrap="square" lIns="91440" tIns="0" rIns="90000" bIns="0" rtlCol="0" anchor="ctr"/>
          <a:lstStyle/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Identificação de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potenciais </a:t>
            </a:r>
            <a:r>
              <a:rPr kumimoji="0" lang="pt-BR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Offtakers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 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e adaptabilidade na estruturação de contratos</a:t>
            </a:r>
          </a:p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Potencial de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incluir H2 dentro da mais ampla gama de aplicações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 de descarbonização para facilitar adoção</a:t>
            </a: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A95E947E-CDEF-72B1-B931-E88A5077C842}"/>
              </a:ext>
            </a:extLst>
          </p:cNvPr>
          <p:cNvSpPr/>
          <p:nvPr/>
        </p:nvSpPr>
        <p:spPr>
          <a:xfrm>
            <a:off x="7406925" y="5162550"/>
            <a:ext cx="4063556" cy="878874"/>
          </a:xfrm>
          <a:prstGeom prst="rect">
            <a:avLst/>
          </a:prstGeom>
          <a:solidFill>
            <a:srgbClr val="F2F2F2"/>
          </a:solidFill>
        </p:spPr>
        <p:txBody>
          <a:bodyPr wrap="square" lIns="91440" tIns="0" rIns="90000" bIns="0" rtlCol="0" anchor="ctr"/>
          <a:lstStyle/>
          <a:p>
            <a:pPr marL="28575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Redução dos riscos de projeto 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</a:rPr>
              <a:t>e necessidade de investimento através da captura de mecanismo de suporte dedicados</a:t>
            </a:r>
          </a:p>
        </p:txBody>
      </p:sp>
      <p:pic>
        <p:nvPicPr>
          <p:cNvPr id="3" name="Picture 28" descr="Logo&#10;&#10;Description automatically generated">
            <a:extLst>
              <a:ext uri="{FF2B5EF4-FFF2-40B4-BE49-F238E27FC236}">
                <a16:creationId xmlns:a16="http://schemas.microsoft.com/office/drawing/2014/main" id="{BF43110D-2F20-16F8-481E-BB7B3AC5E8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70093" y="176458"/>
            <a:ext cx="936107" cy="34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95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645FE-C7E0-E3F5-9FDE-18D92A252CC6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10016271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0000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Os interesses principais da EDP são de produzir RES e H</a:t>
            </a:r>
            <a:r>
              <a:rPr kumimoji="0" lang="pt-BR" sz="2700" b="0" i="0" u="none" strike="noStrike" kern="1200" cap="none" spc="0" normalizeH="0" baseline="-25000" noProof="0" dirty="0">
                <a:ln w="6350" cap="flat">
                  <a:noFill/>
                  <a:miter lim="800000"/>
                </a:ln>
                <a:solidFill>
                  <a:srgbClr val="000000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2 </a:t>
            </a: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0000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com a possibilidade de participar de aplicações P2X abrangentes</a:t>
            </a:r>
            <a:endParaRPr kumimoji="0" lang="pt-BR" sz="2700" b="0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6D32FF"/>
              </a:solidFill>
              <a:effectLst/>
              <a:uLnTx/>
              <a:uFillTx/>
              <a:latin typeface="FT Base"/>
              <a:ea typeface="+mj-ea"/>
              <a:cs typeface="+mj-cs"/>
            </a:endParaRPr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F8F968B8-AEF5-0648-EECB-C3620D58E615}"/>
              </a:ext>
            </a:extLst>
          </p:cNvPr>
          <p:cNvSpPr/>
          <p:nvPr/>
        </p:nvSpPr>
        <p:spPr>
          <a:xfrm>
            <a:off x="8705850" y="1704217"/>
            <a:ext cx="2622811" cy="429868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C5ADEB-BED9-432D-BBE8-1800983392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5" imgH="446" progId="TCLayout.ActiveDocument.1">
                  <p:embed/>
                </p:oleObj>
              </mc:Choice>
              <mc:Fallback>
                <p:oleObj name="think-cell Slide" r:id="rId4" imgW="445" imgH="4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C5ADEB-BED9-432D-BBE8-180098339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Imagem 21" descr="Logotipo&#10;&#10;Descrição gerada automaticamente">
            <a:extLst>
              <a:ext uri="{FF2B5EF4-FFF2-40B4-BE49-F238E27FC236}">
                <a16:creationId xmlns:a16="http://schemas.microsoft.com/office/drawing/2014/main" id="{119E38D2-BFFD-4E64-B3DA-8F914FA76B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450" y="437136"/>
            <a:ext cx="772085" cy="289242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B67C8E8E-04F4-933A-FB8F-85DDED53862C}"/>
              </a:ext>
            </a:extLst>
          </p:cNvPr>
          <p:cNvSpPr/>
          <p:nvPr/>
        </p:nvSpPr>
        <p:spPr>
          <a:xfrm>
            <a:off x="10771890" y="65988"/>
            <a:ext cx="1284992" cy="84741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DE4AF263-CEE6-86F6-3316-4FD3902B2BC1}"/>
              </a:ext>
            </a:extLst>
          </p:cNvPr>
          <p:cNvSpPr/>
          <p:nvPr/>
        </p:nvSpPr>
        <p:spPr>
          <a:xfrm>
            <a:off x="296971" y="6504494"/>
            <a:ext cx="1284992" cy="23485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1051">
            <a:extLst>
              <a:ext uri="{FF2B5EF4-FFF2-40B4-BE49-F238E27FC236}">
                <a16:creationId xmlns:a16="http://schemas.microsoft.com/office/drawing/2014/main" id="{43B6C83C-35CC-CE20-0363-C3A779DC430C}"/>
              </a:ext>
            </a:extLst>
          </p:cNvPr>
          <p:cNvSpPr txBox="1">
            <a:spLocks/>
          </p:cNvSpPr>
          <p:nvPr/>
        </p:nvSpPr>
        <p:spPr>
          <a:xfrm>
            <a:off x="483394" y="1151038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Fontes de Energia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11" name="TextBox 1051">
            <a:extLst>
              <a:ext uri="{FF2B5EF4-FFF2-40B4-BE49-F238E27FC236}">
                <a16:creationId xmlns:a16="http://schemas.microsoft.com/office/drawing/2014/main" id="{86ABAC2B-2E54-BD23-0396-390072722582}"/>
              </a:ext>
            </a:extLst>
          </p:cNvPr>
          <p:cNvSpPr txBox="1">
            <a:spLocks/>
          </p:cNvSpPr>
          <p:nvPr/>
        </p:nvSpPr>
        <p:spPr>
          <a:xfrm>
            <a:off x="2020094" y="1038025"/>
            <a:ext cx="1284992" cy="45612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rodução e Armazenamento de H2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12" name="TextBox 1051">
            <a:extLst>
              <a:ext uri="{FF2B5EF4-FFF2-40B4-BE49-F238E27FC236}">
                <a16:creationId xmlns:a16="http://schemas.microsoft.com/office/drawing/2014/main" id="{FB84AE36-D99F-2356-40A7-2BD260732017}"/>
              </a:ext>
            </a:extLst>
          </p:cNvPr>
          <p:cNvSpPr txBox="1">
            <a:spLocks/>
          </p:cNvSpPr>
          <p:nvPr/>
        </p:nvSpPr>
        <p:spPr>
          <a:xfrm>
            <a:off x="3556794" y="1090122"/>
            <a:ext cx="2386806" cy="34925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ossível produção 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de derivado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13" name="TextBox 1051">
            <a:extLst>
              <a:ext uri="{FF2B5EF4-FFF2-40B4-BE49-F238E27FC236}">
                <a16:creationId xmlns:a16="http://schemas.microsoft.com/office/drawing/2014/main" id="{2F4438C5-7DE3-4B28-C1DF-01E40AB4CB8E}"/>
              </a:ext>
            </a:extLst>
          </p:cNvPr>
          <p:cNvSpPr txBox="1">
            <a:spLocks/>
          </p:cNvSpPr>
          <p:nvPr/>
        </p:nvSpPr>
        <p:spPr>
          <a:xfrm>
            <a:off x="6146800" y="991719"/>
            <a:ext cx="1397000" cy="54674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Transporte/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Distribuição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FF14816D-8F4F-04BB-3FD8-19806206BEA9}"/>
              </a:ext>
            </a:extLst>
          </p:cNvPr>
          <p:cNvCxnSpPr>
            <a:cxnSpLocks/>
          </p:cNvCxnSpPr>
          <p:nvPr/>
        </p:nvCxnSpPr>
        <p:spPr>
          <a:xfrm>
            <a:off x="355600" y="1600200"/>
            <a:ext cx="1438275" cy="0"/>
          </a:xfrm>
          <a:prstGeom prst="straightConnector1">
            <a:avLst/>
          </a:prstGeom>
          <a:ln w="19050">
            <a:solidFill>
              <a:srgbClr val="6D32F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de Seta Reta 14">
            <a:extLst>
              <a:ext uri="{FF2B5EF4-FFF2-40B4-BE49-F238E27FC236}">
                <a16:creationId xmlns:a16="http://schemas.microsoft.com/office/drawing/2014/main" id="{9DB1C556-30D3-367C-A5C2-2F48E8B80CD3}"/>
              </a:ext>
            </a:extLst>
          </p:cNvPr>
          <p:cNvCxnSpPr>
            <a:cxnSpLocks/>
          </p:cNvCxnSpPr>
          <p:nvPr/>
        </p:nvCxnSpPr>
        <p:spPr>
          <a:xfrm>
            <a:off x="1936661" y="1600200"/>
            <a:ext cx="1438275" cy="0"/>
          </a:xfrm>
          <a:prstGeom prst="straightConnector1">
            <a:avLst/>
          </a:prstGeom>
          <a:ln w="19050">
            <a:solidFill>
              <a:srgbClr val="6D32F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de Seta Reta 15">
            <a:extLst>
              <a:ext uri="{FF2B5EF4-FFF2-40B4-BE49-F238E27FC236}">
                <a16:creationId xmlns:a16="http://schemas.microsoft.com/office/drawing/2014/main" id="{EAAACF6C-10C1-6B45-917E-7CA6D70F65F2}"/>
              </a:ext>
            </a:extLst>
          </p:cNvPr>
          <p:cNvCxnSpPr>
            <a:cxnSpLocks/>
          </p:cNvCxnSpPr>
          <p:nvPr/>
        </p:nvCxnSpPr>
        <p:spPr>
          <a:xfrm>
            <a:off x="3514725" y="1600200"/>
            <a:ext cx="2489200" cy="0"/>
          </a:xfrm>
          <a:prstGeom prst="straightConnector1">
            <a:avLst/>
          </a:prstGeom>
          <a:ln w="19050">
            <a:solidFill>
              <a:srgbClr val="6D32F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de Seta Reta 16">
            <a:extLst>
              <a:ext uri="{FF2B5EF4-FFF2-40B4-BE49-F238E27FC236}">
                <a16:creationId xmlns:a16="http://schemas.microsoft.com/office/drawing/2014/main" id="{D144758A-51BE-2848-EDF7-60EDF93B349F}"/>
              </a:ext>
            </a:extLst>
          </p:cNvPr>
          <p:cNvCxnSpPr>
            <a:cxnSpLocks/>
          </p:cNvCxnSpPr>
          <p:nvPr/>
        </p:nvCxnSpPr>
        <p:spPr>
          <a:xfrm>
            <a:off x="6121400" y="1600200"/>
            <a:ext cx="1444625" cy="0"/>
          </a:xfrm>
          <a:prstGeom prst="straightConnector1">
            <a:avLst/>
          </a:prstGeom>
          <a:ln w="19050">
            <a:solidFill>
              <a:srgbClr val="6D32F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051">
            <a:extLst>
              <a:ext uri="{FF2B5EF4-FFF2-40B4-BE49-F238E27FC236}">
                <a16:creationId xmlns:a16="http://schemas.microsoft.com/office/drawing/2014/main" id="{6CBC3DF7-D7C8-7619-FE30-A11D4F470541}"/>
              </a:ext>
            </a:extLst>
          </p:cNvPr>
          <p:cNvSpPr txBox="1">
            <a:spLocks/>
          </p:cNvSpPr>
          <p:nvPr/>
        </p:nvSpPr>
        <p:spPr>
          <a:xfrm>
            <a:off x="483394" y="1704216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Eólica </a:t>
            </a:r>
            <a:r>
              <a:rPr kumimoji="0" lang="pt-BR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Onshor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19" name="TextBox 1051">
            <a:extLst>
              <a:ext uri="{FF2B5EF4-FFF2-40B4-BE49-F238E27FC236}">
                <a16:creationId xmlns:a16="http://schemas.microsoft.com/office/drawing/2014/main" id="{2BFBEE4D-0B67-ABB0-40A5-B6E7FAC83E5F}"/>
              </a:ext>
            </a:extLst>
          </p:cNvPr>
          <p:cNvSpPr txBox="1">
            <a:spLocks/>
          </p:cNvSpPr>
          <p:nvPr/>
        </p:nvSpPr>
        <p:spPr>
          <a:xfrm>
            <a:off x="483394" y="2867764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Eólica Offshor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20" name="TextBox 1051">
            <a:extLst>
              <a:ext uri="{FF2B5EF4-FFF2-40B4-BE49-F238E27FC236}">
                <a16:creationId xmlns:a16="http://schemas.microsoft.com/office/drawing/2014/main" id="{AF2D5983-4ED4-CB52-C0E5-07A2AA275579}"/>
              </a:ext>
            </a:extLst>
          </p:cNvPr>
          <p:cNvSpPr txBox="1">
            <a:spLocks/>
          </p:cNvSpPr>
          <p:nvPr/>
        </p:nvSpPr>
        <p:spPr>
          <a:xfrm>
            <a:off x="483394" y="4033549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Solar Fotovoltaica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21" name="TextBox 1051">
            <a:extLst>
              <a:ext uri="{FF2B5EF4-FFF2-40B4-BE49-F238E27FC236}">
                <a16:creationId xmlns:a16="http://schemas.microsoft.com/office/drawing/2014/main" id="{DA4C475D-CDBC-CC03-598E-19DA15D12C28}"/>
              </a:ext>
            </a:extLst>
          </p:cNvPr>
          <p:cNvSpPr txBox="1">
            <a:spLocks/>
          </p:cNvSpPr>
          <p:nvPr/>
        </p:nvSpPr>
        <p:spPr>
          <a:xfrm>
            <a:off x="483394" y="5208538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Rede Distribuição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23" name="TextBox 1051">
            <a:extLst>
              <a:ext uri="{FF2B5EF4-FFF2-40B4-BE49-F238E27FC236}">
                <a16:creationId xmlns:a16="http://schemas.microsoft.com/office/drawing/2014/main" id="{4A28A2C7-72A6-CE9B-0B24-D0339FDB3384}"/>
              </a:ext>
            </a:extLst>
          </p:cNvPr>
          <p:cNvSpPr txBox="1">
            <a:spLocks/>
          </p:cNvSpPr>
          <p:nvPr/>
        </p:nvSpPr>
        <p:spPr>
          <a:xfrm>
            <a:off x="2013302" y="2867764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Eletrólise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30" name="TextBox 1051">
            <a:extLst>
              <a:ext uri="{FF2B5EF4-FFF2-40B4-BE49-F238E27FC236}">
                <a16:creationId xmlns:a16="http://schemas.microsoft.com/office/drawing/2014/main" id="{8C74D979-2989-2D0B-6D6E-265E2FA38D22}"/>
              </a:ext>
            </a:extLst>
          </p:cNvPr>
          <p:cNvSpPr txBox="1">
            <a:spLocks/>
          </p:cNvSpPr>
          <p:nvPr/>
        </p:nvSpPr>
        <p:spPr>
          <a:xfrm>
            <a:off x="2013302" y="4064663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Armazenamento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32" name="TextBox 1051">
            <a:extLst>
              <a:ext uri="{FF2B5EF4-FFF2-40B4-BE49-F238E27FC236}">
                <a16:creationId xmlns:a16="http://schemas.microsoft.com/office/drawing/2014/main" id="{AEBE6753-F286-F5A1-7589-C4ACEEC8D13A}"/>
              </a:ext>
            </a:extLst>
          </p:cNvPr>
          <p:cNvSpPr txBox="1">
            <a:spLocks/>
          </p:cNvSpPr>
          <p:nvPr/>
        </p:nvSpPr>
        <p:spPr>
          <a:xfrm>
            <a:off x="3867751" y="4087536"/>
            <a:ext cx="1651704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Combustível Sustentável para Aviação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34" name="TextBox 1051">
            <a:extLst>
              <a:ext uri="{FF2B5EF4-FFF2-40B4-BE49-F238E27FC236}">
                <a16:creationId xmlns:a16="http://schemas.microsoft.com/office/drawing/2014/main" id="{6B5E30C7-3216-26E3-0AEE-CBD3EA444A02}"/>
              </a:ext>
            </a:extLst>
          </p:cNvPr>
          <p:cNvSpPr txBox="1">
            <a:spLocks/>
          </p:cNvSpPr>
          <p:nvPr/>
        </p:nvSpPr>
        <p:spPr>
          <a:xfrm>
            <a:off x="4051257" y="2858514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Amônia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36" name="TextBox 1051">
            <a:extLst>
              <a:ext uri="{FF2B5EF4-FFF2-40B4-BE49-F238E27FC236}">
                <a16:creationId xmlns:a16="http://schemas.microsoft.com/office/drawing/2014/main" id="{5221EDC0-F49C-A21D-369E-F74309436F1E}"/>
              </a:ext>
            </a:extLst>
          </p:cNvPr>
          <p:cNvSpPr txBox="1">
            <a:spLocks/>
          </p:cNvSpPr>
          <p:nvPr/>
        </p:nvSpPr>
        <p:spPr>
          <a:xfrm>
            <a:off x="4051257" y="1760687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Gases e Líquidos Renovávei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38" name="TextBox 1051">
            <a:extLst>
              <a:ext uri="{FF2B5EF4-FFF2-40B4-BE49-F238E27FC236}">
                <a16:creationId xmlns:a16="http://schemas.microsoft.com/office/drawing/2014/main" id="{6612E64D-CD8F-5108-CBC5-C0ECFF434F58}"/>
              </a:ext>
            </a:extLst>
          </p:cNvPr>
          <p:cNvSpPr txBox="1">
            <a:spLocks/>
          </p:cNvSpPr>
          <p:nvPr/>
        </p:nvSpPr>
        <p:spPr>
          <a:xfrm>
            <a:off x="4051107" y="5272309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Metano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BFC2DE03-2D68-761C-DFEF-5641227C995A}"/>
              </a:ext>
            </a:extLst>
          </p:cNvPr>
          <p:cNvSpPr/>
          <p:nvPr/>
        </p:nvSpPr>
        <p:spPr>
          <a:xfrm>
            <a:off x="2385724" y="6589441"/>
            <a:ext cx="195479" cy="195479"/>
          </a:xfrm>
          <a:prstGeom prst="ellipse">
            <a:avLst/>
          </a:prstGeom>
          <a:solidFill>
            <a:srgbClr val="225E66"/>
          </a:solidFill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Box 1051">
            <a:extLst>
              <a:ext uri="{FF2B5EF4-FFF2-40B4-BE49-F238E27FC236}">
                <a16:creationId xmlns:a16="http://schemas.microsoft.com/office/drawing/2014/main" id="{D762D324-FD00-F5CC-721D-A0590DEE6739}"/>
              </a:ext>
            </a:extLst>
          </p:cNvPr>
          <p:cNvSpPr txBox="1">
            <a:spLocks/>
          </p:cNvSpPr>
          <p:nvPr/>
        </p:nvSpPr>
        <p:spPr>
          <a:xfrm>
            <a:off x="2548790" y="6557609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Interesse Prioritário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id="{3861DACE-E8D7-ECDF-5871-0577B3A3C01E}"/>
              </a:ext>
            </a:extLst>
          </p:cNvPr>
          <p:cNvSpPr/>
          <p:nvPr/>
        </p:nvSpPr>
        <p:spPr>
          <a:xfrm>
            <a:off x="3878135" y="6589441"/>
            <a:ext cx="195479" cy="195479"/>
          </a:xfrm>
          <a:prstGeom prst="ellipse">
            <a:avLst/>
          </a:prstGeom>
          <a:solidFill>
            <a:srgbClr val="9DB1CB"/>
          </a:solidFill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Box 1051">
            <a:extLst>
              <a:ext uri="{FF2B5EF4-FFF2-40B4-BE49-F238E27FC236}">
                <a16:creationId xmlns:a16="http://schemas.microsoft.com/office/drawing/2014/main" id="{D8A771E8-EEF0-F17C-0981-64B39DFBA4F9}"/>
              </a:ext>
            </a:extLst>
          </p:cNvPr>
          <p:cNvSpPr txBox="1">
            <a:spLocks/>
          </p:cNvSpPr>
          <p:nvPr/>
        </p:nvSpPr>
        <p:spPr>
          <a:xfrm>
            <a:off x="4117967" y="6572131"/>
            <a:ext cx="2635257" cy="2300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Deve-se investir sob determinadas condiçõe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44" name="Elipse 43">
            <a:extLst>
              <a:ext uri="{FF2B5EF4-FFF2-40B4-BE49-F238E27FC236}">
                <a16:creationId xmlns:a16="http://schemas.microsoft.com/office/drawing/2014/main" id="{7CA75DE4-5332-5BFE-238C-D8C63846C4E1}"/>
              </a:ext>
            </a:extLst>
          </p:cNvPr>
          <p:cNvSpPr/>
          <p:nvPr/>
        </p:nvSpPr>
        <p:spPr>
          <a:xfrm>
            <a:off x="6887598" y="6589441"/>
            <a:ext cx="195479" cy="195479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Box 1051">
            <a:extLst>
              <a:ext uri="{FF2B5EF4-FFF2-40B4-BE49-F238E27FC236}">
                <a16:creationId xmlns:a16="http://schemas.microsoft.com/office/drawing/2014/main" id="{A92500AE-6D08-E9A3-2FF2-A869200956D0}"/>
              </a:ext>
            </a:extLst>
          </p:cNvPr>
          <p:cNvSpPr txBox="1">
            <a:spLocks/>
          </p:cNvSpPr>
          <p:nvPr/>
        </p:nvSpPr>
        <p:spPr>
          <a:xfrm>
            <a:off x="7126118" y="6572012"/>
            <a:ext cx="932870" cy="2300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Sem interess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46" name="TextBox 1051">
            <a:extLst>
              <a:ext uri="{FF2B5EF4-FFF2-40B4-BE49-F238E27FC236}">
                <a16:creationId xmlns:a16="http://schemas.microsoft.com/office/drawing/2014/main" id="{200A7029-3C58-9EF9-A47F-110A5F4112F1}"/>
              </a:ext>
            </a:extLst>
          </p:cNvPr>
          <p:cNvSpPr txBox="1">
            <a:spLocks/>
          </p:cNvSpPr>
          <p:nvPr/>
        </p:nvSpPr>
        <p:spPr>
          <a:xfrm>
            <a:off x="6034792" y="2858514"/>
            <a:ext cx="1509008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Estação de Recarga de H2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id="{8B0ED024-87A1-57B3-1D64-DBEC16523AA1}"/>
              </a:ext>
            </a:extLst>
          </p:cNvPr>
          <p:cNvSpPr/>
          <p:nvPr/>
        </p:nvSpPr>
        <p:spPr>
          <a:xfrm>
            <a:off x="6375247" y="3119726"/>
            <a:ext cx="828098" cy="828098"/>
          </a:xfrm>
          <a:prstGeom prst="ellipse">
            <a:avLst/>
          </a:prstGeom>
          <a:solidFill>
            <a:srgbClr val="9DB1CB"/>
          </a:solidFill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1051">
            <a:extLst>
              <a:ext uri="{FF2B5EF4-FFF2-40B4-BE49-F238E27FC236}">
                <a16:creationId xmlns:a16="http://schemas.microsoft.com/office/drawing/2014/main" id="{AA2A0B7C-7B18-36E9-53E0-9A5E144DE457}"/>
              </a:ext>
            </a:extLst>
          </p:cNvPr>
          <p:cNvSpPr txBox="1">
            <a:spLocks/>
          </p:cNvSpPr>
          <p:nvPr/>
        </p:nvSpPr>
        <p:spPr>
          <a:xfrm>
            <a:off x="6146800" y="1760687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Dutos e tubulaçõe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id="{7358D5D2-B0B5-53AA-CB62-573A526589FD}"/>
              </a:ext>
            </a:extLst>
          </p:cNvPr>
          <p:cNvSpPr/>
          <p:nvPr/>
        </p:nvSpPr>
        <p:spPr>
          <a:xfrm>
            <a:off x="6375247" y="2021899"/>
            <a:ext cx="828098" cy="828098"/>
          </a:xfrm>
          <a:prstGeom prst="ellipse">
            <a:avLst/>
          </a:prstGeom>
          <a:solidFill>
            <a:srgbClr val="9DB1CB"/>
          </a:solidFill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TextBox 1051">
            <a:extLst>
              <a:ext uri="{FF2B5EF4-FFF2-40B4-BE49-F238E27FC236}">
                <a16:creationId xmlns:a16="http://schemas.microsoft.com/office/drawing/2014/main" id="{AA1B31F5-14A4-D258-6704-833FE3B9498C}"/>
              </a:ext>
            </a:extLst>
          </p:cNvPr>
          <p:cNvSpPr txBox="1">
            <a:spLocks/>
          </p:cNvSpPr>
          <p:nvPr/>
        </p:nvSpPr>
        <p:spPr>
          <a:xfrm>
            <a:off x="6146800" y="4055138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Transporte Rodoviário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52" name="TextBox 1051">
            <a:extLst>
              <a:ext uri="{FF2B5EF4-FFF2-40B4-BE49-F238E27FC236}">
                <a16:creationId xmlns:a16="http://schemas.microsoft.com/office/drawing/2014/main" id="{0757B342-5483-67AD-0099-090F9BA97240}"/>
              </a:ext>
            </a:extLst>
          </p:cNvPr>
          <p:cNvSpPr txBox="1">
            <a:spLocks/>
          </p:cNvSpPr>
          <p:nvPr/>
        </p:nvSpPr>
        <p:spPr>
          <a:xfrm>
            <a:off x="6146800" y="5126146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Transporte Marítimo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53" name="Elipse 52">
            <a:extLst>
              <a:ext uri="{FF2B5EF4-FFF2-40B4-BE49-F238E27FC236}">
                <a16:creationId xmlns:a16="http://schemas.microsoft.com/office/drawing/2014/main" id="{83D1BE81-B81A-82E3-9BD6-360DB82C2293}"/>
              </a:ext>
            </a:extLst>
          </p:cNvPr>
          <p:cNvSpPr/>
          <p:nvPr/>
        </p:nvSpPr>
        <p:spPr>
          <a:xfrm>
            <a:off x="6375247" y="5387358"/>
            <a:ext cx="828098" cy="828098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riângulo isósceles 53">
            <a:extLst>
              <a:ext uri="{FF2B5EF4-FFF2-40B4-BE49-F238E27FC236}">
                <a16:creationId xmlns:a16="http://schemas.microsoft.com/office/drawing/2014/main" id="{25039634-94E1-82AD-053F-8BD2A63240AA}"/>
              </a:ext>
            </a:extLst>
          </p:cNvPr>
          <p:cNvSpPr/>
          <p:nvPr/>
        </p:nvSpPr>
        <p:spPr>
          <a:xfrm rot="5400000">
            <a:off x="6068887" y="3694318"/>
            <a:ext cx="4298688" cy="318487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Box 1051">
            <a:extLst>
              <a:ext uri="{FF2B5EF4-FFF2-40B4-BE49-F238E27FC236}">
                <a16:creationId xmlns:a16="http://schemas.microsoft.com/office/drawing/2014/main" id="{CA8C1CF5-349F-784B-F6D9-FC048820632C}"/>
              </a:ext>
            </a:extLst>
          </p:cNvPr>
          <p:cNvSpPr txBox="1">
            <a:spLocks/>
          </p:cNvSpPr>
          <p:nvPr/>
        </p:nvSpPr>
        <p:spPr>
          <a:xfrm>
            <a:off x="8705849" y="1169617"/>
            <a:ext cx="2622812" cy="48651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Usuários Finais de H2 e/ou </a:t>
            </a:r>
          </a:p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seus derivado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grpSp>
        <p:nvGrpSpPr>
          <p:cNvPr id="134" name="Agrupar 133">
            <a:extLst>
              <a:ext uri="{FF2B5EF4-FFF2-40B4-BE49-F238E27FC236}">
                <a16:creationId xmlns:a16="http://schemas.microsoft.com/office/drawing/2014/main" id="{70B4017E-7A05-CE4E-59C2-1C79D0465E9F}"/>
              </a:ext>
            </a:extLst>
          </p:cNvPr>
          <p:cNvGrpSpPr/>
          <p:nvPr/>
        </p:nvGrpSpPr>
        <p:grpSpPr>
          <a:xfrm>
            <a:off x="660688" y="3205451"/>
            <a:ext cx="828098" cy="828098"/>
            <a:chOff x="660688" y="3205451"/>
            <a:chExt cx="828098" cy="828098"/>
          </a:xfrm>
        </p:grpSpPr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5A0AC6C4-71CB-8C7E-9DF2-17AD464E7C8C}"/>
                </a:ext>
              </a:extLst>
            </p:cNvPr>
            <p:cNvSpPr/>
            <p:nvPr/>
          </p:nvSpPr>
          <p:spPr>
            <a:xfrm>
              <a:off x="660688" y="3205451"/>
              <a:ext cx="828098" cy="828098"/>
            </a:xfrm>
            <a:prstGeom prst="ellipse">
              <a:avLst/>
            </a:prstGeom>
            <a:solidFill>
              <a:srgbClr val="225E66"/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8" name="Graphic 7">
              <a:extLst>
                <a:ext uri="{FF2B5EF4-FFF2-40B4-BE49-F238E27FC236}">
                  <a16:creationId xmlns:a16="http://schemas.microsoft.com/office/drawing/2014/main" id="{00435761-08A5-FFE3-2A0E-4576E070B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04663" y="3338376"/>
              <a:ext cx="540148" cy="540148"/>
            </a:xfrm>
            <a:prstGeom prst="rect">
              <a:avLst/>
            </a:prstGeom>
          </p:spPr>
        </p:pic>
      </p:grpSp>
      <p:grpSp>
        <p:nvGrpSpPr>
          <p:cNvPr id="135" name="Agrupar 134">
            <a:extLst>
              <a:ext uri="{FF2B5EF4-FFF2-40B4-BE49-F238E27FC236}">
                <a16:creationId xmlns:a16="http://schemas.microsoft.com/office/drawing/2014/main" id="{C0541532-75DF-9672-CB32-308B3A1AF1A5}"/>
              </a:ext>
            </a:extLst>
          </p:cNvPr>
          <p:cNvGrpSpPr/>
          <p:nvPr/>
        </p:nvGrpSpPr>
        <p:grpSpPr>
          <a:xfrm>
            <a:off x="660688" y="2021899"/>
            <a:ext cx="828098" cy="828098"/>
            <a:chOff x="660688" y="2021899"/>
            <a:chExt cx="828098" cy="828098"/>
          </a:xfrm>
        </p:grpSpPr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8569232D-64AD-B2AF-EDCB-C635B9B318B7}"/>
                </a:ext>
              </a:extLst>
            </p:cNvPr>
            <p:cNvSpPr/>
            <p:nvPr/>
          </p:nvSpPr>
          <p:spPr>
            <a:xfrm>
              <a:off x="660688" y="2021899"/>
              <a:ext cx="828098" cy="828098"/>
            </a:xfrm>
            <a:prstGeom prst="ellipse">
              <a:avLst/>
            </a:prstGeom>
            <a:solidFill>
              <a:srgbClr val="225E66"/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195">
              <a:extLst>
                <a:ext uri="{FF2B5EF4-FFF2-40B4-BE49-F238E27FC236}">
                  <a16:creationId xmlns:a16="http://schemas.microsoft.com/office/drawing/2014/main" id="{9574B5F8-FE30-9591-1CD1-71D8CE5C00B4}"/>
                </a:ext>
              </a:extLst>
            </p:cNvPr>
            <p:cNvSpPr/>
            <p:nvPr/>
          </p:nvSpPr>
          <p:spPr>
            <a:xfrm>
              <a:off x="887990" y="2169872"/>
              <a:ext cx="373493" cy="532151"/>
            </a:xfrm>
            <a:custGeom>
              <a:avLst/>
              <a:gdLst>
                <a:gd name="connsiteX0" fmla="*/ 453797 w 460407"/>
                <a:gd name="connsiteY0" fmla="*/ 331756 h 655986"/>
                <a:gd name="connsiteX1" fmla="*/ 290158 w 460407"/>
                <a:gd name="connsiteY1" fmla="*/ 240125 h 655986"/>
                <a:gd name="connsiteX2" fmla="*/ 291205 w 460407"/>
                <a:gd name="connsiteY2" fmla="*/ 230219 h 655986"/>
                <a:gd name="connsiteX3" fmla="*/ 247771 w 460407"/>
                <a:gd name="connsiteY3" fmla="*/ 175355 h 655986"/>
                <a:gd name="connsiteX4" fmla="*/ 247771 w 460407"/>
                <a:gd name="connsiteY4" fmla="*/ 13145 h 655986"/>
                <a:gd name="connsiteX5" fmla="*/ 234627 w 460407"/>
                <a:gd name="connsiteY5" fmla="*/ 0 h 655986"/>
                <a:gd name="connsiteX6" fmla="*/ 221482 w 460407"/>
                <a:gd name="connsiteY6" fmla="*/ 13145 h 655986"/>
                <a:gd name="connsiteX7" fmla="*/ 221482 w 460407"/>
                <a:gd name="connsiteY7" fmla="*/ 175451 h 655986"/>
                <a:gd name="connsiteX8" fmla="*/ 178048 w 460407"/>
                <a:gd name="connsiteY8" fmla="*/ 230315 h 655986"/>
                <a:gd name="connsiteX9" fmla="*/ 180906 w 460407"/>
                <a:gd name="connsiteY9" fmla="*/ 247269 h 655986"/>
                <a:gd name="connsiteX10" fmla="*/ 179001 w 460407"/>
                <a:gd name="connsiteY10" fmla="*/ 247745 h 655986"/>
                <a:gd name="connsiteX11" fmla="*/ 7360 w 460407"/>
                <a:gd name="connsiteY11" fmla="*/ 331470 h 655986"/>
                <a:gd name="connsiteX12" fmla="*/ 1360 w 460407"/>
                <a:gd name="connsiteY12" fmla="*/ 348996 h 655986"/>
                <a:gd name="connsiteX13" fmla="*/ 13171 w 460407"/>
                <a:gd name="connsiteY13" fmla="*/ 356330 h 655986"/>
                <a:gd name="connsiteX14" fmla="*/ 18886 w 460407"/>
                <a:gd name="connsiteY14" fmla="*/ 354997 h 655986"/>
                <a:gd name="connsiteX15" fmla="*/ 190526 w 460407"/>
                <a:gd name="connsiteY15" fmla="*/ 271272 h 655986"/>
                <a:gd name="connsiteX16" fmla="*/ 193574 w 460407"/>
                <a:gd name="connsiteY16" fmla="*/ 268986 h 655986"/>
                <a:gd name="connsiteX17" fmla="*/ 221578 w 460407"/>
                <a:gd name="connsiteY17" fmla="*/ 285179 h 655986"/>
                <a:gd name="connsiteX18" fmla="*/ 221482 w 460407"/>
                <a:gd name="connsiteY18" fmla="*/ 285845 h 655986"/>
                <a:gd name="connsiteX19" fmla="*/ 221482 w 460407"/>
                <a:gd name="connsiteY19" fmla="*/ 629698 h 655986"/>
                <a:gd name="connsiteX20" fmla="*/ 160713 w 460407"/>
                <a:gd name="connsiteY20" fmla="*/ 629698 h 655986"/>
                <a:gd name="connsiteX21" fmla="*/ 147568 w 460407"/>
                <a:gd name="connsiteY21" fmla="*/ 642842 h 655986"/>
                <a:gd name="connsiteX22" fmla="*/ 160713 w 460407"/>
                <a:gd name="connsiteY22" fmla="*/ 655987 h 655986"/>
                <a:gd name="connsiteX23" fmla="*/ 308446 w 460407"/>
                <a:gd name="connsiteY23" fmla="*/ 655987 h 655986"/>
                <a:gd name="connsiteX24" fmla="*/ 321590 w 460407"/>
                <a:gd name="connsiteY24" fmla="*/ 642842 h 655986"/>
                <a:gd name="connsiteX25" fmla="*/ 308446 w 460407"/>
                <a:gd name="connsiteY25" fmla="*/ 629698 h 655986"/>
                <a:gd name="connsiteX26" fmla="*/ 247676 w 460407"/>
                <a:gd name="connsiteY26" fmla="*/ 629698 h 655986"/>
                <a:gd name="connsiteX27" fmla="*/ 247676 w 460407"/>
                <a:gd name="connsiteY27" fmla="*/ 285750 h 655986"/>
                <a:gd name="connsiteX28" fmla="*/ 247581 w 460407"/>
                <a:gd name="connsiteY28" fmla="*/ 285083 h 655986"/>
                <a:gd name="connsiteX29" fmla="*/ 279490 w 460407"/>
                <a:gd name="connsiteY29" fmla="*/ 264224 h 655986"/>
                <a:gd name="connsiteX30" fmla="*/ 440938 w 460407"/>
                <a:gd name="connsiteY30" fmla="*/ 354616 h 655986"/>
                <a:gd name="connsiteX31" fmla="*/ 447320 w 460407"/>
                <a:gd name="connsiteY31" fmla="*/ 356330 h 655986"/>
                <a:gd name="connsiteX32" fmla="*/ 458750 w 460407"/>
                <a:gd name="connsiteY32" fmla="*/ 349663 h 655986"/>
                <a:gd name="connsiteX33" fmla="*/ 453702 w 460407"/>
                <a:gd name="connsiteY33" fmla="*/ 331851 h 655986"/>
                <a:gd name="connsiteX34" fmla="*/ 234627 w 460407"/>
                <a:gd name="connsiteY34" fmla="*/ 260509 h 655986"/>
                <a:gd name="connsiteX35" fmla="*/ 204337 w 460407"/>
                <a:gd name="connsiteY35" fmla="*/ 230219 h 655986"/>
                <a:gd name="connsiteX36" fmla="*/ 234627 w 460407"/>
                <a:gd name="connsiteY36" fmla="*/ 199930 h 655986"/>
                <a:gd name="connsiteX37" fmla="*/ 264916 w 460407"/>
                <a:gd name="connsiteY37" fmla="*/ 230219 h 655986"/>
                <a:gd name="connsiteX38" fmla="*/ 234627 w 460407"/>
                <a:gd name="connsiteY38" fmla="*/ 260509 h 655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0407" h="655986">
                  <a:moveTo>
                    <a:pt x="453797" y="331756"/>
                  </a:moveTo>
                  <a:lnTo>
                    <a:pt x="290158" y="240125"/>
                  </a:lnTo>
                  <a:cubicBezTo>
                    <a:pt x="290729" y="236887"/>
                    <a:pt x="291205" y="233553"/>
                    <a:pt x="291205" y="230219"/>
                  </a:cubicBezTo>
                  <a:cubicBezTo>
                    <a:pt x="291205" y="203549"/>
                    <a:pt x="272632" y="181356"/>
                    <a:pt x="247771" y="175355"/>
                  </a:cubicBezTo>
                  <a:lnTo>
                    <a:pt x="247771" y="13145"/>
                  </a:lnTo>
                  <a:cubicBezTo>
                    <a:pt x="247771" y="5906"/>
                    <a:pt x="241866" y="0"/>
                    <a:pt x="234627" y="0"/>
                  </a:cubicBezTo>
                  <a:cubicBezTo>
                    <a:pt x="227388" y="0"/>
                    <a:pt x="221482" y="5906"/>
                    <a:pt x="221482" y="13145"/>
                  </a:cubicBezTo>
                  <a:lnTo>
                    <a:pt x="221482" y="175451"/>
                  </a:lnTo>
                  <a:cubicBezTo>
                    <a:pt x="196622" y="181356"/>
                    <a:pt x="178048" y="203645"/>
                    <a:pt x="178048" y="230315"/>
                  </a:cubicBezTo>
                  <a:cubicBezTo>
                    <a:pt x="178048" y="236315"/>
                    <a:pt x="179191" y="241935"/>
                    <a:pt x="180906" y="247269"/>
                  </a:cubicBezTo>
                  <a:cubicBezTo>
                    <a:pt x="180239" y="247460"/>
                    <a:pt x="179668" y="247460"/>
                    <a:pt x="179001" y="247745"/>
                  </a:cubicBezTo>
                  <a:lnTo>
                    <a:pt x="7360" y="331470"/>
                  </a:lnTo>
                  <a:cubicBezTo>
                    <a:pt x="883" y="334613"/>
                    <a:pt x="-1879" y="342519"/>
                    <a:pt x="1360" y="348996"/>
                  </a:cubicBezTo>
                  <a:cubicBezTo>
                    <a:pt x="3646" y="353663"/>
                    <a:pt x="8313" y="356330"/>
                    <a:pt x="13171" y="356330"/>
                  </a:cubicBezTo>
                  <a:cubicBezTo>
                    <a:pt x="15076" y="356330"/>
                    <a:pt x="17076" y="355949"/>
                    <a:pt x="18886" y="354997"/>
                  </a:cubicBezTo>
                  <a:lnTo>
                    <a:pt x="190526" y="271272"/>
                  </a:lnTo>
                  <a:cubicBezTo>
                    <a:pt x="191764" y="270701"/>
                    <a:pt x="192622" y="269843"/>
                    <a:pt x="193574" y="268986"/>
                  </a:cubicBezTo>
                  <a:cubicBezTo>
                    <a:pt x="201004" y="276892"/>
                    <a:pt x="210624" y="282607"/>
                    <a:pt x="221578" y="285179"/>
                  </a:cubicBezTo>
                  <a:cubicBezTo>
                    <a:pt x="221578" y="285369"/>
                    <a:pt x="221482" y="285560"/>
                    <a:pt x="221482" y="285845"/>
                  </a:cubicBezTo>
                  <a:lnTo>
                    <a:pt x="221482" y="629698"/>
                  </a:lnTo>
                  <a:lnTo>
                    <a:pt x="160713" y="629698"/>
                  </a:lnTo>
                  <a:cubicBezTo>
                    <a:pt x="153474" y="629698"/>
                    <a:pt x="147568" y="635603"/>
                    <a:pt x="147568" y="642842"/>
                  </a:cubicBezTo>
                  <a:cubicBezTo>
                    <a:pt x="147568" y="650081"/>
                    <a:pt x="153474" y="655987"/>
                    <a:pt x="160713" y="655987"/>
                  </a:cubicBezTo>
                  <a:lnTo>
                    <a:pt x="308446" y="655987"/>
                  </a:lnTo>
                  <a:cubicBezTo>
                    <a:pt x="315685" y="655987"/>
                    <a:pt x="321590" y="650081"/>
                    <a:pt x="321590" y="642842"/>
                  </a:cubicBezTo>
                  <a:cubicBezTo>
                    <a:pt x="321590" y="635603"/>
                    <a:pt x="315685" y="629698"/>
                    <a:pt x="308446" y="629698"/>
                  </a:cubicBezTo>
                  <a:lnTo>
                    <a:pt x="247676" y="629698"/>
                  </a:lnTo>
                  <a:lnTo>
                    <a:pt x="247676" y="285750"/>
                  </a:lnTo>
                  <a:cubicBezTo>
                    <a:pt x="247676" y="285750"/>
                    <a:pt x="247581" y="285369"/>
                    <a:pt x="247581" y="285083"/>
                  </a:cubicBezTo>
                  <a:cubicBezTo>
                    <a:pt x="260535" y="282035"/>
                    <a:pt x="271679" y="274511"/>
                    <a:pt x="279490" y="264224"/>
                  </a:cubicBezTo>
                  <a:lnTo>
                    <a:pt x="440938" y="354616"/>
                  </a:lnTo>
                  <a:cubicBezTo>
                    <a:pt x="442939" y="355759"/>
                    <a:pt x="445129" y="356330"/>
                    <a:pt x="447320" y="356330"/>
                  </a:cubicBezTo>
                  <a:cubicBezTo>
                    <a:pt x="451892" y="356330"/>
                    <a:pt x="456369" y="353949"/>
                    <a:pt x="458750" y="349663"/>
                  </a:cubicBezTo>
                  <a:cubicBezTo>
                    <a:pt x="462274" y="343376"/>
                    <a:pt x="459988" y="335375"/>
                    <a:pt x="453702" y="331851"/>
                  </a:cubicBezTo>
                  <a:close/>
                  <a:moveTo>
                    <a:pt x="234627" y="260509"/>
                  </a:moveTo>
                  <a:cubicBezTo>
                    <a:pt x="217958" y="260509"/>
                    <a:pt x="204337" y="246888"/>
                    <a:pt x="204337" y="230219"/>
                  </a:cubicBezTo>
                  <a:cubicBezTo>
                    <a:pt x="204337" y="213551"/>
                    <a:pt x="217958" y="199930"/>
                    <a:pt x="234627" y="199930"/>
                  </a:cubicBezTo>
                  <a:cubicBezTo>
                    <a:pt x="251296" y="199930"/>
                    <a:pt x="264916" y="213551"/>
                    <a:pt x="264916" y="230219"/>
                  </a:cubicBezTo>
                  <a:cubicBezTo>
                    <a:pt x="264916" y="246888"/>
                    <a:pt x="251296" y="260509"/>
                    <a:pt x="234627" y="260509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3" name="Agrupar 132">
            <a:extLst>
              <a:ext uri="{FF2B5EF4-FFF2-40B4-BE49-F238E27FC236}">
                <a16:creationId xmlns:a16="http://schemas.microsoft.com/office/drawing/2014/main" id="{A06B47C8-A88F-639F-DE96-D841B0DAE10C}"/>
              </a:ext>
            </a:extLst>
          </p:cNvPr>
          <p:cNvGrpSpPr/>
          <p:nvPr/>
        </p:nvGrpSpPr>
        <p:grpSpPr>
          <a:xfrm>
            <a:off x="660688" y="4325875"/>
            <a:ext cx="828098" cy="828098"/>
            <a:chOff x="660688" y="4325875"/>
            <a:chExt cx="828098" cy="828098"/>
          </a:xfrm>
        </p:grpSpPr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2B526154-A8C2-6A20-5BE2-A30E258CB700}"/>
                </a:ext>
              </a:extLst>
            </p:cNvPr>
            <p:cNvSpPr/>
            <p:nvPr/>
          </p:nvSpPr>
          <p:spPr>
            <a:xfrm>
              <a:off x="660688" y="4325875"/>
              <a:ext cx="828098" cy="828098"/>
            </a:xfrm>
            <a:prstGeom prst="ellipse">
              <a:avLst/>
            </a:prstGeom>
            <a:solidFill>
              <a:srgbClr val="225E66"/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172">
              <a:extLst>
                <a:ext uri="{FF2B5EF4-FFF2-40B4-BE49-F238E27FC236}">
                  <a16:creationId xmlns:a16="http://schemas.microsoft.com/office/drawing/2014/main" id="{481920B4-74F6-3C6F-FD7B-A1AF61B6B65E}"/>
                </a:ext>
              </a:extLst>
            </p:cNvPr>
            <p:cNvSpPr/>
            <p:nvPr/>
          </p:nvSpPr>
          <p:spPr>
            <a:xfrm>
              <a:off x="797388" y="4466018"/>
              <a:ext cx="540426" cy="540149"/>
            </a:xfrm>
            <a:custGeom>
              <a:avLst/>
              <a:gdLst>
                <a:gd name="connsiteX0" fmla="*/ 653987 w 655846"/>
                <a:gd name="connsiteY0" fmla="*/ 297275 h 655510"/>
                <a:gd name="connsiteX1" fmla="*/ 642747 w 655846"/>
                <a:gd name="connsiteY1" fmla="*/ 290894 h 655510"/>
                <a:gd name="connsiteX2" fmla="*/ 382048 w 655846"/>
                <a:gd name="connsiteY2" fmla="*/ 290894 h 655510"/>
                <a:gd name="connsiteX3" fmla="*/ 384524 w 655846"/>
                <a:gd name="connsiteY3" fmla="*/ 275177 h 655510"/>
                <a:gd name="connsiteX4" fmla="*/ 511016 w 655846"/>
                <a:gd name="connsiteY4" fmla="*/ 275177 h 655510"/>
                <a:gd name="connsiteX5" fmla="*/ 524161 w 655846"/>
                <a:gd name="connsiteY5" fmla="*/ 262033 h 655510"/>
                <a:gd name="connsiteX6" fmla="*/ 511016 w 655846"/>
                <a:gd name="connsiteY6" fmla="*/ 248888 h 655510"/>
                <a:gd name="connsiteX7" fmla="*/ 383953 w 655846"/>
                <a:gd name="connsiteY7" fmla="*/ 248888 h 655510"/>
                <a:gd name="connsiteX8" fmla="*/ 356997 w 655846"/>
                <a:gd name="connsiteY8" fmla="*/ 185642 h 655510"/>
                <a:gd name="connsiteX9" fmla="*/ 447389 w 655846"/>
                <a:gd name="connsiteY9" fmla="*/ 95250 h 655510"/>
                <a:gd name="connsiteX10" fmla="*/ 451199 w 655846"/>
                <a:gd name="connsiteY10" fmla="*/ 86011 h 655510"/>
                <a:gd name="connsiteX11" fmla="*/ 447389 w 655846"/>
                <a:gd name="connsiteY11" fmla="*/ 76771 h 655510"/>
                <a:gd name="connsiteX12" fmla="*/ 428816 w 655846"/>
                <a:gd name="connsiteY12" fmla="*/ 76771 h 655510"/>
                <a:gd name="connsiteX13" fmla="*/ 338328 w 655846"/>
                <a:gd name="connsiteY13" fmla="*/ 167259 h 655510"/>
                <a:gd name="connsiteX14" fmla="*/ 275082 w 655846"/>
                <a:gd name="connsiteY14" fmla="*/ 140780 h 655510"/>
                <a:gd name="connsiteX15" fmla="*/ 275082 w 655846"/>
                <a:gd name="connsiteY15" fmla="*/ 13145 h 655510"/>
                <a:gd name="connsiteX16" fmla="*/ 261938 w 655846"/>
                <a:gd name="connsiteY16" fmla="*/ 0 h 655510"/>
                <a:gd name="connsiteX17" fmla="*/ 248793 w 655846"/>
                <a:gd name="connsiteY17" fmla="*/ 13145 h 655510"/>
                <a:gd name="connsiteX18" fmla="*/ 248793 w 655846"/>
                <a:gd name="connsiteY18" fmla="*/ 140399 h 655510"/>
                <a:gd name="connsiteX19" fmla="*/ 184404 w 655846"/>
                <a:gd name="connsiteY19" fmla="*/ 166021 h 655510"/>
                <a:gd name="connsiteX20" fmla="*/ 95345 w 655846"/>
                <a:gd name="connsiteY20" fmla="*/ 76771 h 655510"/>
                <a:gd name="connsiteX21" fmla="*/ 76772 w 655846"/>
                <a:gd name="connsiteY21" fmla="*/ 76771 h 655510"/>
                <a:gd name="connsiteX22" fmla="*/ 72961 w 655846"/>
                <a:gd name="connsiteY22" fmla="*/ 86011 h 655510"/>
                <a:gd name="connsiteX23" fmla="*/ 76772 w 655846"/>
                <a:gd name="connsiteY23" fmla="*/ 95250 h 655510"/>
                <a:gd name="connsiteX24" fmla="*/ 165640 w 655846"/>
                <a:gd name="connsiteY24" fmla="*/ 184118 h 655510"/>
                <a:gd name="connsiteX25" fmla="*/ 137351 w 655846"/>
                <a:gd name="connsiteY25" fmla="*/ 248888 h 655510"/>
                <a:gd name="connsiteX26" fmla="*/ 13145 w 655846"/>
                <a:gd name="connsiteY26" fmla="*/ 248888 h 655510"/>
                <a:gd name="connsiteX27" fmla="*/ 0 w 655846"/>
                <a:gd name="connsiteY27" fmla="*/ 262033 h 655510"/>
                <a:gd name="connsiteX28" fmla="*/ 13145 w 655846"/>
                <a:gd name="connsiteY28" fmla="*/ 275177 h 655510"/>
                <a:gd name="connsiteX29" fmla="*/ 136874 w 655846"/>
                <a:gd name="connsiteY29" fmla="*/ 275177 h 655510"/>
                <a:gd name="connsiteX30" fmla="*/ 163258 w 655846"/>
                <a:gd name="connsiteY30" fmla="*/ 342424 h 655510"/>
                <a:gd name="connsiteX31" fmla="*/ 76867 w 655846"/>
                <a:gd name="connsiteY31" fmla="*/ 428816 h 655510"/>
                <a:gd name="connsiteX32" fmla="*/ 73057 w 655846"/>
                <a:gd name="connsiteY32" fmla="*/ 438055 h 655510"/>
                <a:gd name="connsiteX33" fmla="*/ 76867 w 655846"/>
                <a:gd name="connsiteY33" fmla="*/ 447294 h 655510"/>
                <a:gd name="connsiteX34" fmla="*/ 86106 w 655846"/>
                <a:gd name="connsiteY34" fmla="*/ 451104 h 655510"/>
                <a:gd name="connsiteX35" fmla="*/ 95345 w 655846"/>
                <a:gd name="connsiteY35" fmla="*/ 447294 h 655510"/>
                <a:gd name="connsiteX36" fmla="*/ 181737 w 655846"/>
                <a:gd name="connsiteY36" fmla="*/ 360902 h 655510"/>
                <a:gd name="connsiteX37" fmla="*/ 238220 w 655846"/>
                <a:gd name="connsiteY37" fmla="*/ 385858 h 655510"/>
                <a:gd name="connsiteX38" fmla="*/ 103918 w 655846"/>
                <a:gd name="connsiteY38" fmla="*/ 636175 h 655510"/>
                <a:gd name="connsiteX39" fmla="*/ 104204 w 655846"/>
                <a:gd name="connsiteY39" fmla="*/ 649129 h 655510"/>
                <a:gd name="connsiteX40" fmla="*/ 115443 w 655846"/>
                <a:gd name="connsiteY40" fmla="*/ 655511 h 655510"/>
                <a:gd name="connsiteX41" fmla="*/ 461201 w 655846"/>
                <a:gd name="connsiteY41" fmla="*/ 655511 h 655510"/>
                <a:gd name="connsiteX42" fmla="*/ 472726 w 655846"/>
                <a:gd name="connsiteY42" fmla="*/ 648557 h 655510"/>
                <a:gd name="connsiteX43" fmla="*/ 654272 w 655846"/>
                <a:gd name="connsiteY43" fmla="*/ 310134 h 655510"/>
                <a:gd name="connsiteX44" fmla="*/ 653987 w 655846"/>
                <a:gd name="connsiteY44" fmla="*/ 297180 h 655510"/>
                <a:gd name="connsiteX45" fmla="*/ 507587 w 655846"/>
                <a:gd name="connsiteY45" fmla="*/ 317087 h 655510"/>
                <a:gd name="connsiteX46" fmla="*/ 466725 w 655846"/>
                <a:gd name="connsiteY46" fmla="*/ 393287 h 655510"/>
                <a:gd name="connsiteX47" fmla="*/ 373571 w 655846"/>
                <a:gd name="connsiteY47" fmla="*/ 393287 h 655510"/>
                <a:gd name="connsiteX48" fmla="*/ 414433 w 655846"/>
                <a:gd name="connsiteY48" fmla="*/ 317087 h 655510"/>
                <a:gd name="connsiteX49" fmla="*/ 507587 w 655846"/>
                <a:gd name="connsiteY49" fmla="*/ 317087 h 655510"/>
                <a:gd name="connsiteX50" fmla="*/ 514731 w 655846"/>
                <a:gd name="connsiteY50" fmla="*/ 514922 h 655510"/>
                <a:gd name="connsiteX51" fmla="*/ 431197 w 655846"/>
                <a:gd name="connsiteY51" fmla="*/ 514922 h 655510"/>
                <a:gd name="connsiteX52" fmla="*/ 482441 w 655846"/>
                <a:gd name="connsiteY52" fmla="*/ 419481 h 655510"/>
                <a:gd name="connsiteX53" fmla="*/ 565976 w 655846"/>
                <a:gd name="connsiteY53" fmla="*/ 419481 h 655510"/>
                <a:gd name="connsiteX54" fmla="*/ 514731 w 655846"/>
                <a:gd name="connsiteY54" fmla="*/ 514922 h 655510"/>
                <a:gd name="connsiteX55" fmla="*/ 401479 w 655846"/>
                <a:gd name="connsiteY55" fmla="*/ 514922 h 655510"/>
                <a:gd name="connsiteX56" fmla="*/ 308324 w 655846"/>
                <a:gd name="connsiteY56" fmla="*/ 514922 h 655510"/>
                <a:gd name="connsiteX57" fmla="*/ 359569 w 655846"/>
                <a:gd name="connsiteY57" fmla="*/ 419481 h 655510"/>
                <a:gd name="connsiteX58" fmla="*/ 452723 w 655846"/>
                <a:gd name="connsiteY58" fmla="*/ 419481 h 655510"/>
                <a:gd name="connsiteX59" fmla="*/ 401479 w 655846"/>
                <a:gd name="connsiteY59" fmla="*/ 514922 h 655510"/>
                <a:gd name="connsiteX60" fmla="*/ 304991 w 655846"/>
                <a:gd name="connsiteY60" fmla="*/ 317087 h 655510"/>
                <a:gd name="connsiteX61" fmla="*/ 384715 w 655846"/>
                <a:gd name="connsiteY61" fmla="*/ 317087 h 655510"/>
                <a:gd name="connsiteX62" fmla="*/ 343852 w 655846"/>
                <a:gd name="connsiteY62" fmla="*/ 393287 h 655510"/>
                <a:gd name="connsiteX63" fmla="*/ 264128 w 655846"/>
                <a:gd name="connsiteY63" fmla="*/ 393287 h 655510"/>
                <a:gd name="connsiteX64" fmla="*/ 304991 w 655846"/>
                <a:gd name="connsiteY64" fmla="*/ 317087 h 655510"/>
                <a:gd name="connsiteX65" fmla="*/ 250031 w 655846"/>
                <a:gd name="connsiteY65" fmla="*/ 419481 h 655510"/>
                <a:gd name="connsiteX66" fmla="*/ 329756 w 655846"/>
                <a:gd name="connsiteY66" fmla="*/ 419481 h 655510"/>
                <a:gd name="connsiteX67" fmla="*/ 278511 w 655846"/>
                <a:gd name="connsiteY67" fmla="*/ 514922 h 655510"/>
                <a:gd name="connsiteX68" fmla="*/ 198787 w 655846"/>
                <a:gd name="connsiteY68" fmla="*/ 514922 h 655510"/>
                <a:gd name="connsiteX69" fmla="*/ 250031 w 655846"/>
                <a:gd name="connsiteY69" fmla="*/ 419481 h 655510"/>
                <a:gd name="connsiteX70" fmla="*/ 162592 w 655846"/>
                <a:gd name="connsiteY70" fmla="*/ 264128 h 655510"/>
                <a:gd name="connsiteX71" fmla="*/ 260699 w 655846"/>
                <a:gd name="connsiteY71" fmla="*/ 166021 h 655510"/>
                <a:gd name="connsiteX72" fmla="*/ 358807 w 655846"/>
                <a:gd name="connsiteY72" fmla="*/ 264128 h 655510"/>
                <a:gd name="connsiteX73" fmla="*/ 354902 w 655846"/>
                <a:gd name="connsiteY73" fmla="*/ 290894 h 655510"/>
                <a:gd name="connsiteX74" fmla="*/ 297085 w 655846"/>
                <a:gd name="connsiteY74" fmla="*/ 290894 h 655510"/>
                <a:gd name="connsiteX75" fmla="*/ 285560 w 655846"/>
                <a:gd name="connsiteY75" fmla="*/ 297847 h 655510"/>
                <a:gd name="connsiteX76" fmla="*/ 251555 w 655846"/>
                <a:gd name="connsiteY76" fmla="*/ 361188 h 655510"/>
                <a:gd name="connsiteX77" fmla="*/ 162592 w 655846"/>
                <a:gd name="connsiteY77" fmla="*/ 264224 h 655510"/>
                <a:gd name="connsiteX78" fmla="*/ 184785 w 655846"/>
                <a:gd name="connsiteY78" fmla="*/ 541115 h 655510"/>
                <a:gd name="connsiteX79" fmla="*/ 264509 w 655846"/>
                <a:gd name="connsiteY79" fmla="*/ 541115 h 655510"/>
                <a:gd name="connsiteX80" fmla="*/ 217170 w 655846"/>
                <a:gd name="connsiteY80" fmla="*/ 629317 h 655510"/>
                <a:gd name="connsiteX81" fmla="*/ 137351 w 655846"/>
                <a:gd name="connsiteY81" fmla="*/ 629317 h 655510"/>
                <a:gd name="connsiteX82" fmla="*/ 184690 w 655846"/>
                <a:gd name="connsiteY82" fmla="*/ 541115 h 655510"/>
                <a:gd name="connsiteX83" fmla="*/ 246983 w 655846"/>
                <a:gd name="connsiteY83" fmla="*/ 629317 h 655510"/>
                <a:gd name="connsiteX84" fmla="*/ 294323 w 655846"/>
                <a:gd name="connsiteY84" fmla="*/ 541115 h 655510"/>
                <a:gd name="connsiteX85" fmla="*/ 387477 w 655846"/>
                <a:gd name="connsiteY85" fmla="*/ 541115 h 655510"/>
                <a:gd name="connsiteX86" fmla="*/ 340138 w 655846"/>
                <a:gd name="connsiteY86" fmla="*/ 629317 h 655510"/>
                <a:gd name="connsiteX87" fmla="*/ 246983 w 655846"/>
                <a:gd name="connsiteY87" fmla="*/ 629317 h 655510"/>
                <a:gd name="connsiteX88" fmla="*/ 453485 w 655846"/>
                <a:gd name="connsiteY88" fmla="*/ 629317 h 655510"/>
                <a:gd name="connsiteX89" fmla="*/ 369951 w 655846"/>
                <a:gd name="connsiteY89" fmla="*/ 629317 h 655510"/>
                <a:gd name="connsiteX90" fmla="*/ 417290 w 655846"/>
                <a:gd name="connsiteY90" fmla="*/ 541115 h 655510"/>
                <a:gd name="connsiteX91" fmla="*/ 500825 w 655846"/>
                <a:gd name="connsiteY91" fmla="*/ 541115 h 655510"/>
                <a:gd name="connsiteX92" fmla="*/ 453485 w 655846"/>
                <a:gd name="connsiteY92" fmla="*/ 629317 h 655510"/>
                <a:gd name="connsiteX93" fmla="*/ 580073 w 655846"/>
                <a:gd name="connsiteY93" fmla="*/ 393287 h 655510"/>
                <a:gd name="connsiteX94" fmla="*/ 496538 w 655846"/>
                <a:gd name="connsiteY94" fmla="*/ 393287 h 655510"/>
                <a:gd name="connsiteX95" fmla="*/ 537401 w 655846"/>
                <a:gd name="connsiteY95" fmla="*/ 317087 h 655510"/>
                <a:gd name="connsiteX96" fmla="*/ 620935 w 655846"/>
                <a:gd name="connsiteY96" fmla="*/ 317087 h 655510"/>
                <a:gd name="connsiteX97" fmla="*/ 580073 w 655846"/>
                <a:gd name="connsiteY97" fmla="*/ 393287 h 65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655846" h="655510">
                  <a:moveTo>
                    <a:pt x="653987" y="297275"/>
                  </a:moveTo>
                  <a:cubicBezTo>
                    <a:pt x="651605" y="293275"/>
                    <a:pt x="647319" y="290894"/>
                    <a:pt x="642747" y="290894"/>
                  </a:cubicBezTo>
                  <a:lnTo>
                    <a:pt x="382048" y="290894"/>
                  </a:lnTo>
                  <a:cubicBezTo>
                    <a:pt x="383191" y="285750"/>
                    <a:pt x="384048" y="280416"/>
                    <a:pt x="384524" y="275177"/>
                  </a:cubicBezTo>
                  <a:lnTo>
                    <a:pt x="511016" y="275177"/>
                  </a:lnTo>
                  <a:cubicBezTo>
                    <a:pt x="518255" y="275177"/>
                    <a:pt x="524161" y="269272"/>
                    <a:pt x="524161" y="262033"/>
                  </a:cubicBezTo>
                  <a:cubicBezTo>
                    <a:pt x="524161" y="254794"/>
                    <a:pt x="518255" y="248888"/>
                    <a:pt x="511016" y="248888"/>
                  </a:cubicBezTo>
                  <a:lnTo>
                    <a:pt x="383953" y="248888"/>
                  </a:lnTo>
                  <a:cubicBezTo>
                    <a:pt x="381000" y="225076"/>
                    <a:pt x="371475" y="203359"/>
                    <a:pt x="356997" y="185642"/>
                  </a:cubicBezTo>
                  <a:lnTo>
                    <a:pt x="447389" y="95250"/>
                  </a:lnTo>
                  <a:cubicBezTo>
                    <a:pt x="449961" y="92678"/>
                    <a:pt x="451199" y="89345"/>
                    <a:pt x="451199" y="86011"/>
                  </a:cubicBezTo>
                  <a:cubicBezTo>
                    <a:pt x="451199" y="82677"/>
                    <a:pt x="449961" y="79343"/>
                    <a:pt x="447389" y="76771"/>
                  </a:cubicBezTo>
                  <a:cubicBezTo>
                    <a:pt x="442246" y="71628"/>
                    <a:pt x="433959" y="71628"/>
                    <a:pt x="428816" y="76771"/>
                  </a:cubicBezTo>
                  <a:lnTo>
                    <a:pt x="338328" y="167259"/>
                  </a:lnTo>
                  <a:cubicBezTo>
                    <a:pt x="320612" y="152972"/>
                    <a:pt x="298895" y="143542"/>
                    <a:pt x="275082" y="140780"/>
                  </a:cubicBezTo>
                  <a:lnTo>
                    <a:pt x="275082" y="13145"/>
                  </a:lnTo>
                  <a:cubicBezTo>
                    <a:pt x="275082" y="5906"/>
                    <a:pt x="269177" y="0"/>
                    <a:pt x="261938" y="0"/>
                  </a:cubicBezTo>
                  <a:cubicBezTo>
                    <a:pt x="254699" y="0"/>
                    <a:pt x="248793" y="5906"/>
                    <a:pt x="248793" y="13145"/>
                  </a:cubicBezTo>
                  <a:lnTo>
                    <a:pt x="248793" y="140399"/>
                  </a:lnTo>
                  <a:cubicBezTo>
                    <a:pt x="224600" y="142685"/>
                    <a:pt x="202502" y="151924"/>
                    <a:pt x="184404" y="166021"/>
                  </a:cubicBezTo>
                  <a:lnTo>
                    <a:pt x="95345" y="76771"/>
                  </a:lnTo>
                  <a:cubicBezTo>
                    <a:pt x="90202" y="71628"/>
                    <a:pt x="81915" y="71628"/>
                    <a:pt x="76772" y="76771"/>
                  </a:cubicBezTo>
                  <a:cubicBezTo>
                    <a:pt x="74200" y="79343"/>
                    <a:pt x="72961" y="82677"/>
                    <a:pt x="72961" y="86011"/>
                  </a:cubicBezTo>
                  <a:cubicBezTo>
                    <a:pt x="72961" y="89345"/>
                    <a:pt x="74200" y="92678"/>
                    <a:pt x="76772" y="95250"/>
                  </a:cubicBezTo>
                  <a:lnTo>
                    <a:pt x="165640" y="184118"/>
                  </a:lnTo>
                  <a:cubicBezTo>
                    <a:pt x="150495" y="202121"/>
                    <a:pt x="140399" y="224409"/>
                    <a:pt x="137351" y="248888"/>
                  </a:cubicBezTo>
                  <a:lnTo>
                    <a:pt x="13145" y="248888"/>
                  </a:lnTo>
                  <a:cubicBezTo>
                    <a:pt x="5906" y="248888"/>
                    <a:pt x="0" y="254794"/>
                    <a:pt x="0" y="262033"/>
                  </a:cubicBezTo>
                  <a:cubicBezTo>
                    <a:pt x="0" y="269272"/>
                    <a:pt x="5906" y="275177"/>
                    <a:pt x="13145" y="275177"/>
                  </a:cubicBezTo>
                  <a:lnTo>
                    <a:pt x="136874" y="275177"/>
                  </a:lnTo>
                  <a:cubicBezTo>
                    <a:pt x="138970" y="300799"/>
                    <a:pt x="148495" y="323945"/>
                    <a:pt x="163258" y="342424"/>
                  </a:cubicBezTo>
                  <a:lnTo>
                    <a:pt x="76867" y="428816"/>
                  </a:lnTo>
                  <a:cubicBezTo>
                    <a:pt x="74295" y="431387"/>
                    <a:pt x="73057" y="434721"/>
                    <a:pt x="73057" y="438055"/>
                  </a:cubicBezTo>
                  <a:cubicBezTo>
                    <a:pt x="73057" y="441389"/>
                    <a:pt x="74295" y="444722"/>
                    <a:pt x="76867" y="447294"/>
                  </a:cubicBezTo>
                  <a:cubicBezTo>
                    <a:pt x="79439" y="449866"/>
                    <a:pt x="82772" y="451104"/>
                    <a:pt x="86106" y="451104"/>
                  </a:cubicBezTo>
                  <a:cubicBezTo>
                    <a:pt x="89440" y="451104"/>
                    <a:pt x="92774" y="449866"/>
                    <a:pt x="95345" y="447294"/>
                  </a:cubicBezTo>
                  <a:lnTo>
                    <a:pt x="181737" y="360902"/>
                  </a:lnTo>
                  <a:cubicBezTo>
                    <a:pt x="197644" y="373761"/>
                    <a:pt x="216980" y="382524"/>
                    <a:pt x="238220" y="385858"/>
                  </a:cubicBezTo>
                  <a:lnTo>
                    <a:pt x="103918" y="636175"/>
                  </a:lnTo>
                  <a:cubicBezTo>
                    <a:pt x="101727" y="640271"/>
                    <a:pt x="101822" y="645128"/>
                    <a:pt x="104204" y="649129"/>
                  </a:cubicBezTo>
                  <a:cubicBezTo>
                    <a:pt x="106585" y="653129"/>
                    <a:pt x="110871" y="655511"/>
                    <a:pt x="115443" y="655511"/>
                  </a:cubicBezTo>
                  <a:lnTo>
                    <a:pt x="461201" y="655511"/>
                  </a:lnTo>
                  <a:cubicBezTo>
                    <a:pt x="466058" y="655511"/>
                    <a:pt x="470440" y="652844"/>
                    <a:pt x="472726" y="648557"/>
                  </a:cubicBezTo>
                  <a:lnTo>
                    <a:pt x="654272" y="310134"/>
                  </a:lnTo>
                  <a:cubicBezTo>
                    <a:pt x="656463" y="306038"/>
                    <a:pt x="656368" y="301181"/>
                    <a:pt x="653987" y="297180"/>
                  </a:cubicBezTo>
                  <a:close/>
                  <a:moveTo>
                    <a:pt x="507587" y="317087"/>
                  </a:moveTo>
                  <a:lnTo>
                    <a:pt x="466725" y="393287"/>
                  </a:lnTo>
                  <a:lnTo>
                    <a:pt x="373571" y="393287"/>
                  </a:lnTo>
                  <a:lnTo>
                    <a:pt x="414433" y="317087"/>
                  </a:lnTo>
                  <a:lnTo>
                    <a:pt x="507587" y="317087"/>
                  </a:lnTo>
                  <a:close/>
                  <a:moveTo>
                    <a:pt x="514731" y="514922"/>
                  </a:moveTo>
                  <a:lnTo>
                    <a:pt x="431197" y="514922"/>
                  </a:lnTo>
                  <a:lnTo>
                    <a:pt x="482441" y="419481"/>
                  </a:lnTo>
                  <a:lnTo>
                    <a:pt x="565976" y="419481"/>
                  </a:lnTo>
                  <a:lnTo>
                    <a:pt x="514731" y="514922"/>
                  </a:lnTo>
                  <a:close/>
                  <a:moveTo>
                    <a:pt x="401479" y="514922"/>
                  </a:moveTo>
                  <a:lnTo>
                    <a:pt x="308324" y="514922"/>
                  </a:lnTo>
                  <a:lnTo>
                    <a:pt x="359569" y="419481"/>
                  </a:lnTo>
                  <a:lnTo>
                    <a:pt x="452723" y="419481"/>
                  </a:lnTo>
                  <a:lnTo>
                    <a:pt x="401479" y="514922"/>
                  </a:lnTo>
                  <a:close/>
                  <a:moveTo>
                    <a:pt x="304991" y="317087"/>
                  </a:moveTo>
                  <a:lnTo>
                    <a:pt x="384715" y="317087"/>
                  </a:lnTo>
                  <a:lnTo>
                    <a:pt x="343852" y="393287"/>
                  </a:lnTo>
                  <a:lnTo>
                    <a:pt x="264128" y="393287"/>
                  </a:lnTo>
                  <a:lnTo>
                    <a:pt x="304991" y="317087"/>
                  </a:lnTo>
                  <a:close/>
                  <a:moveTo>
                    <a:pt x="250031" y="419481"/>
                  </a:moveTo>
                  <a:lnTo>
                    <a:pt x="329756" y="419481"/>
                  </a:lnTo>
                  <a:lnTo>
                    <a:pt x="278511" y="514922"/>
                  </a:lnTo>
                  <a:lnTo>
                    <a:pt x="198787" y="514922"/>
                  </a:lnTo>
                  <a:lnTo>
                    <a:pt x="250031" y="419481"/>
                  </a:lnTo>
                  <a:close/>
                  <a:moveTo>
                    <a:pt x="162592" y="264128"/>
                  </a:moveTo>
                  <a:cubicBezTo>
                    <a:pt x="162592" y="210026"/>
                    <a:pt x="206597" y="166021"/>
                    <a:pt x="260699" y="166021"/>
                  </a:cubicBezTo>
                  <a:cubicBezTo>
                    <a:pt x="314801" y="166021"/>
                    <a:pt x="358807" y="210026"/>
                    <a:pt x="358807" y="264128"/>
                  </a:cubicBezTo>
                  <a:cubicBezTo>
                    <a:pt x="358807" y="273272"/>
                    <a:pt x="357378" y="282226"/>
                    <a:pt x="354902" y="290894"/>
                  </a:cubicBezTo>
                  <a:lnTo>
                    <a:pt x="297085" y="290894"/>
                  </a:lnTo>
                  <a:cubicBezTo>
                    <a:pt x="292227" y="290894"/>
                    <a:pt x="287846" y="293561"/>
                    <a:pt x="285560" y="297847"/>
                  </a:cubicBezTo>
                  <a:lnTo>
                    <a:pt x="251555" y="361188"/>
                  </a:lnTo>
                  <a:cubicBezTo>
                    <a:pt x="201168" y="358045"/>
                    <a:pt x="162592" y="316611"/>
                    <a:pt x="162592" y="264224"/>
                  </a:cubicBezTo>
                  <a:close/>
                  <a:moveTo>
                    <a:pt x="184785" y="541115"/>
                  </a:moveTo>
                  <a:lnTo>
                    <a:pt x="264509" y="541115"/>
                  </a:lnTo>
                  <a:lnTo>
                    <a:pt x="217170" y="629317"/>
                  </a:lnTo>
                  <a:lnTo>
                    <a:pt x="137351" y="629317"/>
                  </a:lnTo>
                  <a:lnTo>
                    <a:pt x="184690" y="541115"/>
                  </a:lnTo>
                  <a:close/>
                  <a:moveTo>
                    <a:pt x="246983" y="629317"/>
                  </a:moveTo>
                  <a:lnTo>
                    <a:pt x="294323" y="541115"/>
                  </a:lnTo>
                  <a:lnTo>
                    <a:pt x="387477" y="541115"/>
                  </a:lnTo>
                  <a:lnTo>
                    <a:pt x="340138" y="629317"/>
                  </a:lnTo>
                  <a:lnTo>
                    <a:pt x="246983" y="629317"/>
                  </a:lnTo>
                  <a:close/>
                  <a:moveTo>
                    <a:pt x="453485" y="629317"/>
                  </a:moveTo>
                  <a:lnTo>
                    <a:pt x="369951" y="629317"/>
                  </a:lnTo>
                  <a:lnTo>
                    <a:pt x="417290" y="541115"/>
                  </a:lnTo>
                  <a:lnTo>
                    <a:pt x="500825" y="541115"/>
                  </a:lnTo>
                  <a:lnTo>
                    <a:pt x="453485" y="629317"/>
                  </a:lnTo>
                  <a:close/>
                  <a:moveTo>
                    <a:pt x="580073" y="393287"/>
                  </a:moveTo>
                  <a:lnTo>
                    <a:pt x="496538" y="393287"/>
                  </a:lnTo>
                  <a:lnTo>
                    <a:pt x="537401" y="317087"/>
                  </a:lnTo>
                  <a:lnTo>
                    <a:pt x="620935" y="317087"/>
                  </a:lnTo>
                  <a:lnTo>
                    <a:pt x="580073" y="3932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7" name="Agrupar 136">
            <a:extLst>
              <a:ext uri="{FF2B5EF4-FFF2-40B4-BE49-F238E27FC236}">
                <a16:creationId xmlns:a16="http://schemas.microsoft.com/office/drawing/2014/main" id="{CB827CE2-A126-BF5D-4279-9A6489317F51}"/>
              </a:ext>
            </a:extLst>
          </p:cNvPr>
          <p:cNvGrpSpPr/>
          <p:nvPr/>
        </p:nvGrpSpPr>
        <p:grpSpPr>
          <a:xfrm>
            <a:off x="660688" y="5530233"/>
            <a:ext cx="828098" cy="828098"/>
            <a:chOff x="660688" y="5530233"/>
            <a:chExt cx="828098" cy="828098"/>
          </a:xfrm>
        </p:grpSpPr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61638F9D-799E-43F4-A084-7FAF26B02230}"/>
                </a:ext>
              </a:extLst>
            </p:cNvPr>
            <p:cNvSpPr/>
            <p:nvPr/>
          </p:nvSpPr>
          <p:spPr>
            <a:xfrm>
              <a:off x="660688" y="5530233"/>
              <a:ext cx="828098" cy="828098"/>
            </a:xfrm>
            <a:prstGeom prst="ellipse">
              <a:avLst/>
            </a:prstGeom>
            <a:solidFill>
              <a:srgbClr val="225E66"/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1" name="Graphic 49">
              <a:extLst>
                <a:ext uri="{FF2B5EF4-FFF2-40B4-BE49-F238E27FC236}">
                  <a16:creationId xmlns:a16="http://schemas.microsoft.com/office/drawing/2014/main" id="{D9AEAB15-6D95-A4A6-C92F-4A357FBAC497}"/>
                </a:ext>
              </a:extLst>
            </p:cNvPr>
            <p:cNvGrpSpPr/>
            <p:nvPr/>
          </p:nvGrpSpPr>
          <p:grpSpPr>
            <a:xfrm>
              <a:off x="833878" y="5706962"/>
              <a:ext cx="503936" cy="503570"/>
              <a:chOff x="3830613" y="3307772"/>
              <a:chExt cx="656081" cy="655605"/>
            </a:xfrm>
            <a:solidFill>
              <a:schemeClr val="bg1"/>
            </a:solidFill>
          </p:grpSpPr>
          <p:sp>
            <p:nvSpPr>
              <p:cNvPr id="62" name="Freeform: Shape 73">
                <a:extLst>
                  <a:ext uri="{FF2B5EF4-FFF2-40B4-BE49-F238E27FC236}">
                    <a16:creationId xmlns:a16="http://schemas.microsoft.com/office/drawing/2014/main" id="{FEDEA8A5-454D-0545-41E0-23AFE9D4784B}"/>
                  </a:ext>
                </a:extLst>
              </p:cNvPr>
              <p:cNvSpPr/>
              <p:nvPr/>
            </p:nvSpPr>
            <p:spPr>
              <a:xfrm>
                <a:off x="3830613" y="3307772"/>
                <a:ext cx="365283" cy="655605"/>
              </a:xfrm>
              <a:custGeom>
                <a:avLst/>
                <a:gdLst>
                  <a:gd name="connsiteX0" fmla="*/ 351949 w 365283"/>
                  <a:gd name="connsiteY0" fmla="*/ 133445 h 655605"/>
                  <a:gd name="connsiteX1" fmla="*/ 195644 w 365283"/>
                  <a:gd name="connsiteY1" fmla="*/ 133445 h 655605"/>
                  <a:gd name="connsiteX2" fmla="*/ 195644 w 365283"/>
                  <a:gd name="connsiteY2" fmla="*/ 26289 h 655605"/>
                  <a:gd name="connsiteX3" fmla="*/ 229553 w 365283"/>
                  <a:gd name="connsiteY3" fmla="*/ 26289 h 655605"/>
                  <a:gd name="connsiteX4" fmla="*/ 242697 w 365283"/>
                  <a:gd name="connsiteY4" fmla="*/ 13145 h 655605"/>
                  <a:gd name="connsiteX5" fmla="*/ 229553 w 365283"/>
                  <a:gd name="connsiteY5" fmla="*/ 0 h 655605"/>
                  <a:gd name="connsiteX6" fmla="*/ 135541 w 365283"/>
                  <a:gd name="connsiteY6" fmla="*/ 0 h 655605"/>
                  <a:gd name="connsiteX7" fmla="*/ 122396 w 365283"/>
                  <a:gd name="connsiteY7" fmla="*/ 13145 h 655605"/>
                  <a:gd name="connsiteX8" fmla="*/ 135541 w 365283"/>
                  <a:gd name="connsiteY8" fmla="*/ 26289 h 655605"/>
                  <a:gd name="connsiteX9" fmla="*/ 169450 w 365283"/>
                  <a:gd name="connsiteY9" fmla="*/ 26289 h 655605"/>
                  <a:gd name="connsiteX10" fmla="*/ 169450 w 365283"/>
                  <a:gd name="connsiteY10" fmla="*/ 133445 h 655605"/>
                  <a:gd name="connsiteX11" fmla="*/ 13145 w 365283"/>
                  <a:gd name="connsiteY11" fmla="*/ 133445 h 655605"/>
                  <a:gd name="connsiteX12" fmla="*/ 0 w 365283"/>
                  <a:gd name="connsiteY12" fmla="*/ 146590 h 655605"/>
                  <a:gd name="connsiteX13" fmla="*/ 13145 w 365283"/>
                  <a:gd name="connsiteY13" fmla="*/ 159734 h 655605"/>
                  <a:gd name="connsiteX14" fmla="*/ 48578 w 365283"/>
                  <a:gd name="connsiteY14" fmla="*/ 159734 h 655605"/>
                  <a:gd name="connsiteX15" fmla="*/ 50387 w 365283"/>
                  <a:gd name="connsiteY15" fmla="*/ 162211 h 655605"/>
                  <a:gd name="connsiteX16" fmla="*/ 151924 w 365283"/>
                  <a:gd name="connsiteY16" fmla="*/ 255842 h 655605"/>
                  <a:gd name="connsiteX17" fmla="*/ 60198 w 365283"/>
                  <a:gd name="connsiteY17" fmla="*/ 255842 h 655605"/>
                  <a:gd name="connsiteX18" fmla="*/ 47054 w 365283"/>
                  <a:gd name="connsiteY18" fmla="*/ 268986 h 655605"/>
                  <a:gd name="connsiteX19" fmla="*/ 60198 w 365283"/>
                  <a:gd name="connsiteY19" fmla="*/ 282131 h 655605"/>
                  <a:gd name="connsiteX20" fmla="*/ 169450 w 365283"/>
                  <a:gd name="connsiteY20" fmla="*/ 282131 h 655605"/>
                  <a:gd name="connsiteX21" fmla="*/ 169450 w 365283"/>
                  <a:gd name="connsiteY21" fmla="*/ 423100 h 655605"/>
                  <a:gd name="connsiteX22" fmla="*/ 135541 w 365283"/>
                  <a:gd name="connsiteY22" fmla="*/ 423100 h 655605"/>
                  <a:gd name="connsiteX23" fmla="*/ 122396 w 365283"/>
                  <a:gd name="connsiteY23" fmla="*/ 436245 h 655605"/>
                  <a:gd name="connsiteX24" fmla="*/ 135541 w 365283"/>
                  <a:gd name="connsiteY24" fmla="*/ 449390 h 655605"/>
                  <a:gd name="connsiteX25" fmla="*/ 169450 w 365283"/>
                  <a:gd name="connsiteY25" fmla="*/ 449390 h 655605"/>
                  <a:gd name="connsiteX26" fmla="*/ 169450 w 365283"/>
                  <a:gd name="connsiteY26" fmla="*/ 642461 h 655605"/>
                  <a:gd name="connsiteX27" fmla="*/ 182594 w 365283"/>
                  <a:gd name="connsiteY27" fmla="*/ 655606 h 655605"/>
                  <a:gd name="connsiteX28" fmla="*/ 195739 w 365283"/>
                  <a:gd name="connsiteY28" fmla="*/ 642461 h 655605"/>
                  <a:gd name="connsiteX29" fmla="*/ 195739 w 365283"/>
                  <a:gd name="connsiteY29" fmla="*/ 449390 h 655605"/>
                  <a:gd name="connsiteX30" fmla="*/ 229648 w 365283"/>
                  <a:gd name="connsiteY30" fmla="*/ 449390 h 655605"/>
                  <a:gd name="connsiteX31" fmla="*/ 242792 w 365283"/>
                  <a:gd name="connsiteY31" fmla="*/ 436245 h 655605"/>
                  <a:gd name="connsiteX32" fmla="*/ 229648 w 365283"/>
                  <a:gd name="connsiteY32" fmla="*/ 423100 h 655605"/>
                  <a:gd name="connsiteX33" fmla="*/ 195739 w 365283"/>
                  <a:gd name="connsiteY33" fmla="*/ 423100 h 655605"/>
                  <a:gd name="connsiteX34" fmla="*/ 195739 w 365283"/>
                  <a:gd name="connsiteY34" fmla="*/ 282131 h 655605"/>
                  <a:gd name="connsiteX35" fmla="*/ 304991 w 365283"/>
                  <a:gd name="connsiteY35" fmla="*/ 282131 h 655605"/>
                  <a:gd name="connsiteX36" fmla="*/ 318135 w 365283"/>
                  <a:gd name="connsiteY36" fmla="*/ 268986 h 655605"/>
                  <a:gd name="connsiteX37" fmla="*/ 304991 w 365283"/>
                  <a:gd name="connsiteY37" fmla="*/ 255842 h 655605"/>
                  <a:gd name="connsiteX38" fmla="*/ 214313 w 365283"/>
                  <a:gd name="connsiteY38" fmla="*/ 255842 h 655605"/>
                  <a:gd name="connsiteX39" fmla="*/ 308324 w 365283"/>
                  <a:gd name="connsiteY39" fmla="*/ 161830 h 655605"/>
                  <a:gd name="connsiteX40" fmla="*/ 309753 w 365283"/>
                  <a:gd name="connsiteY40" fmla="*/ 159639 h 655605"/>
                  <a:gd name="connsiteX41" fmla="*/ 352139 w 365283"/>
                  <a:gd name="connsiteY41" fmla="*/ 159639 h 655605"/>
                  <a:gd name="connsiteX42" fmla="*/ 365284 w 365283"/>
                  <a:gd name="connsiteY42" fmla="*/ 146495 h 655605"/>
                  <a:gd name="connsiteX43" fmla="*/ 352139 w 365283"/>
                  <a:gd name="connsiteY43" fmla="*/ 133350 h 655605"/>
                  <a:gd name="connsiteX44" fmla="*/ 169450 w 365283"/>
                  <a:gd name="connsiteY44" fmla="*/ 159639 h 655605"/>
                  <a:gd name="connsiteX45" fmla="*/ 169450 w 365283"/>
                  <a:gd name="connsiteY45" fmla="*/ 236125 h 655605"/>
                  <a:gd name="connsiteX46" fmla="*/ 86487 w 365283"/>
                  <a:gd name="connsiteY46" fmla="*/ 159639 h 655605"/>
                  <a:gd name="connsiteX47" fmla="*/ 169450 w 365283"/>
                  <a:gd name="connsiteY47" fmla="*/ 159639 h 655605"/>
                  <a:gd name="connsiteX48" fmla="*/ 195644 w 365283"/>
                  <a:gd name="connsiteY48" fmla="*/ 237173 h 655605"/>
                  <a:gd name="connsiteX49" fmla="*/ 195644 w 365283"/>
                  <a:gd name="connsiteY49" fmla="*/ 159639 h 655605"/>
                  <a:gd name="connsiteX50" fmla="*/ 273177 w 365283"/>
                  <a:gd name="connsiteY50" fmla="*/ 159639 h 655605"/>
                  <a:gd name="connsiteX51" fmla="*/ 195644 w 365283"/>
                  <a:gd name="connsiteY51" fmla="*/ 237173 h 655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365283" h="655605">
                    <a:moveTo>
                      <a:pt x="351949" y="133445"/>
                    </a:moveTo>
                    <a:lnTo>
                      <a:pt x="195644" y="133445"/>
                    </a:lnTo>
                    <a:lnTo>
                      <a:pt x="195644" y="26289"/>
                    </a:lnTo>
                    <a:lnTo>
                      <a:pt x="229553" y="26289"/>
                    </a:lnTo>
                    <a:cubicBezTo>
                      <a:pt x="236792" y="26289"/>
                      <a:pt x="242697" y="20384"/>
                      <a:pt x="242697" y="13145"/>
                    </a:cubicBezTo>
                    <a:cubicBezTo>
                      <a:pt x="242697" y="5906"/>
                      <a:pt x="236792" y="0"/>
                      <a:pt x="229553" y="0"/>
                    </a:cubicBezTo>
                    <a:lnTo>
                      <a:pt x="135541" y="0"/>
                    </a:lnTo>
                    <a:cubicBezTo>
                      <a:pt x="128302" y="0"/>
                      <a:pt x="122396" y="5906"/>
                      <a:pt x="122396" y="13145"/>
                    </a:cubicBezTo>
                    <a:cubicBezTo>
                      <a:pt x="122396" y="20384"/>
                      <a:pt x="128302" y="26289"/>
                      <a:pt x="135541" y="26289"/>
                    </a:cubicBezTo>
                    <a:lnTo>
                      <a:pt x="169450" y="26289"/>
                    </a:lnTo>
                    <a:lnTo>
                      <a:pt x="169450" y="133445"/>
                    </a:lnTo>
                    <a:lnTo>
                      <a:pt x="13145" y="133445"/>
                    </a:lnTo>
                    <a:cubicBezTo>
                      <a:pt x="5906" y="133445"/>
                      <a:pt x="0" y="139351"/>
                      <a:pt x="0" y="146590"/>
                    </a:cubicBezTo>
                    <a:cubicBezTo>
                      <a:pt x="0" y="153829"/>
                      <a:pt x="5906" y="159734"/>
                      <a:pt x="13145" y="159734"/>
                    </a:cubicBezTo>
                    <a:lnTo>
                      <a:pt x="48578" y="159734"/>
                    </a:lnTo>
                    <a:cubicBezTo>
                      <a:pt x="49149" y="160592"/>
                      <a:pt x="49625" y="161544"/>
                      <a:pt x="50387" y="162211"/>
                    </a:cubicBezTo>
                    <a:lnTo>
                      <a:pt x="151924" y="255842"/>
                    </a:lnTo>
                    <a:lnTo>
                      <a:pt x="60198" y="255842"/>
                    </a:lnTo>
                    <a:cubicBezTo>
                      <a:pt x="52959" y="255842"/>
                      <a:pt x="47054" y="261747"/>
                      <a:pt x="47054" y="268986"/>
                    </a:cubicBezTo>
                    <a:cubicBezTo>
                      <a:pt x="47054" y="276225"/>
                      <a:pt x="52959" y="282131"/>
                      <a:pt x="60198" y="282131"/>
                    </a:cubicBezTo>
                    <a:lnTo>
                      <a:pt x="169450" y="282131"/>
                    </a:lnTo>
                    <a:lnTo>
                      <a:pt x="169450" y="423100"/>
                    </a:lnTo>
                    <a:lnTo>
                      <a:pt x="135541" y="423100"/>
                    </a:lnTo>
                    <a:cubicBezTo>
                      <a:pt x="128302" y="423100"/>
                      <a:pt x="122396" y="429006"/>
                      <a:pt x="122396" y="436245"/>
                    </a:cubicBezTo>
                    <a:cubicBezTo>
                      <a:pt x="122396" y="443484"/>
                      <a:pt x="128302" y="449390"/>
                      <a:pt x="135541" y="449390"/>
                    </a:cubicBezTo>
                    <a:lnTo>
                      <a:pt x="169450" y="449390"/>
                    </a:lnTo>
                    <a:lnTo>
                      <a:pt x="169450" y="642461"/>
                    </a:lnTo>
                    <a:cubicBezTo>
                      <a:pt x="169450" y="649700"/>
                      <a:pt x="175355" y="655606"/>
                      <a:pt x="182594" y="655606"/>
                    </a:cubicBezTo>
                    <a:cubicBezTo>
                      <a:pt x="189833" y="655606"/>
                      <a:pt x="195739" y="649700"/>
                      <a:pt x="195739" y="642461"/>
                    </a:cubicBezTo>
                    <a:lnTo>
                      <a:pt x="195739" y="449390"/>
                    </a:lnTo>
                    <a:lnTo>
                      <a:pt x="229648" y="449390"/>
                    </a:lnTo>
                    <a:cubicBezTo>
                      <a:pt x="236887" y="449390"/>
                      <a:pt x="242792" y="443484"/>
                      <a:pt x="242792" y="436245"/>
                    </a:cubicBezTo>
                    <a:cubicBezTo>
                      <a:pt x="242792" y="429006"/>
                      <a:pt x="236887" y="423100"/>
                      <a:pt x="229648" y="423100"/>
                    </a:cubicBezTo>
                    <a:lnTo>
                      <a:pt x="195739" y="423100"/>
                    </a:lnTo>
                    <a:lnTo>
                      <a:pt x="195739" y="282131"/>
                    </a:lnTo>
                    <a:lnTo>
                      <a:pt x="304991" y="282131"/>
                    </a:lnTo>
                    <a:cubicBezTo>
                      <a:pt x="312230" y="282131"/>
                      <a:pt x="318135" y="276225"/>
                      <a:pt x="318135" y="268986"/>
                    </a:cubicBezTo>
                    <a:cubicBezTo>
                      <a:pt x="318135" y="261747"/>
                      <a:pt x="312230" y="255842"/>
                      <a:pt x="304991" y="255842"/>
                    </a:cubicBezTo>
                    <a:lnTo>
                      <a:pt x="214313" y="255842"/>
                    </a:lnTo>
                    <a:lnTo>
                      <a:pt x="308324" y="161830"/>
                    </a:lnTo>
                    <a:cubicBezTo>
                      <a:pt x="308991" y="161163"/>
                      <a:pt x="309277" y="160401"/>
                      <a:pt x="309753" y="159639"/>
                    </a:cubicBezTo>
                    <a:lnTo>
                      <a:pt x="352139" y="159639"/>
                    </a:lnTo>
                    <a:cubicBezTo>
                      <a:pt x="359378" y="159639"/>
                      <a:pt x="365284" y="153734"/>
                      <a:pt x="365284" y="146495"/>
                    </a:cubicBezTo>
                    <a:cubicBezTo>
                      <a:pt x="365284" y="139255"/>
                      <a:pt x="359378" y="133350"/>
                      <a:pt x="352139" y="133350"/>
                    </a:cubicBezTo>
                    <a:close/>
                    <a:moveTo>
                      <a:pt x="169450" y="159639"/>
                    </a:moveTo>
                    <a:lnTo>
                      <a:pt x="169450" y="236125"/>
                    </a:lnTo>
                    <a:lnTo>
                      <a:pt x="86487" y="159639"/>
                    </a:lnTo>
                    <a:lnTo>
                      <a:pt x="169450" y="159639"/>
                    </a:lnTo>
                    <a:close/>
                    <a:moveTo>
                      <a:pt x="195644" y="237173"/>
                    </a:moveTo>
                    <a:lnTo>
                      <a:pt x="195644" y="159639"/>
                    </a:lnTo>
                    <a:lnTo>
                      <a:pt x="273177" y="159639"/>
                    </a:lnTo>
                    <a:lnTo>
                      <a:pt x="195644" y="2371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: Shape 74">
                <a:extLst>
                  <a:ext uri="{FF2B5EF4-FFF2-40B4-BE49-F238E27FC236}">
                    <a16:creationId xmlns:a16="http://schemas.microsoft.com/office/drawing/2014/main" id="{7AA750AB-507D-33A0-68B9-AFCC1D14DA96}"/>
                  </a:ext>
                </a:extLst>
              </p:cNvPr>
              <p:cNvSpPr/>
              <p:nvPr/>
            </p:nvSpPr>
            <p:spPr>
              <a:xfrm>
                <a:off x="4206946" y="3441503"/>
                <a:ext cx="279749" cy="445007"/>
              </a:xfrm>
              <a:custGeom>
                <a:avLst/>
                <a:gdLst>
                  <a:gd name="connsiteX0" fmla="*/ 266414 w 279749"/>
                  <a:gd name="connsiteY0" fmla="*/ 123253 h 445007"/>
                  <a:gd name="connsiteX1" fmla="*/ 152876 w 279749"/>
                  <a:gd name="connsiteY1" fmla="*/ 123253 h 445007"/>
                  <a:gd name="connsiteX2" fmla="*/ 152876 w 279749"/>
                  <a:gd name="connsiteY2" fmla="*/ 26289 h 445007"/>
                  <a:gd name="connsiteX3" fmla="*/ 174974 w 279749"/>
                  <a:gd name="connsiteY3" fmla="*/ 26289 h 445007"/>
                  <a:gd name="connsiteX4" fmla="*/ 188119 w 279749"/>
                  <a:gd name="connsiteY4" fmla="*/ 13145 h 445007"/>
                  <a:gd name="connsiteX5" fmla="*/ 174974 w 279749"/>
                  <a:gd name="connsiteY5" fmla="*/ 0 h 445007"/>
                  <a:gd name="connsiteX6" fmla="*/ 104584 w 279749"/>
                  <a:gd name="connsiteY6" fmla="*/ 0 h 445007"/>
                  <a:gd name="connsiteX7" fmla="*/ 91440 w 279749"/>
                  <a:gd name="connsiteY7" fmla="*/ 13145 h 445007"/>
                  <a:gd name="connsiteX8" fmla="*/ 104584 w 279749"/>
                  <a:gd name="connsiteY8" fmla="*/ 26289 h 445007"/>
                  <a:gd name="connsiteX9" fmla="*/ 126682 w 279749"/>
                  <a:gd name="connsiteY9" fmla="*/ 26289 h 445007"/>
                  <a:gd name="connsiteX10" fmla="*/ 126682 w 279749"/>
                  <a:gd name="connsiteY10" fmla="*/ 123253 h 445007"/>
                  <a:gd name="connsiteX11" fmla="*/ 13144 w 279749"/>
                  <a:gd name="connsiteY11" fmla="*/ 123253 h 445007"/>
                  <a:gd name="connsiteX12" fmla="*/ 0 w 279749"/>
                  <a:gd name="connsiteY12" fmla="*/ 136398 h 445007"/>
                  <a:gd name="connsiteX13" fmla="*/ 13144 w 279749"/>
                  <a:gd name="connsiteY13" fmla="*/ 149543 h 445007"/>
                  <a:gd name="connsiteX14" fmla="*/ 38100 w 279749"/>
                  <a:gd name="connsiteY14" fmla="*/ 149543 h 445007"/>
                  <a:gd name="connsiteX15" fmla="*/ 38862 w 279749"/>
                  <a:gd name="connsiteY15" fmla="*/ 150590 h 445007"/>
                  <a:gd name="connsiteX16" fmla="*/ 126778 w 279749"/>
                  <a:gd name="connsiteY16" fmla="*/ 231553 h 445007"/>
                  <a:gd name="connsiteX17" fmla="*/ 126778 w 279749"/>
                  <a:gd name="connsiteY17" fmla="*/ 290036 h 445007"/>
                  <a:gd name="connsiteX18" fmla="*/ 95345 w 279749"/>
                  <a:gd name="connsiteY18" fmla="*/ 290036 h 445007"/>
                  <a:gd name="connsiteX19" fmla="*/ 82201 w 279749"/>
                  <a:gd name="connsiteY19" fmla="*/ 303181 h 445007"/>
                  <a:gd name="connsiteX20" fmla="*/ 95345 w 279749"/>
                  <a:gd name="connsiteY20" fmla="*/ 316325 h 445007"/>
                  <a:gd name="connsiteX21" fmla="*/ 126778 w 279749"/>
                  <a:gd name="connsiteY21" fmla="*/ 316325 h 445007"/>
                  <a:gd name="connsiteX22" fmla="*/ 126778 w 279749"/>
                  <a:gd name="connsiteY22" fmla="*/ 431864 h 445007"/>
                  <a:gd name="connsiteX23" fmla="*/ 139922 w 279749"/>
                  <a:gd name="connsiteY23" fmla="*/ 445008 h 445007"/>
                  <a:gd name="connsiteX24" fmla="*/ 153067 w 279749"/>
                  <a:gd name="connsiteY24" fmla="*/ 431864 h 445007"/>
                  <a:gd name="connsiteX25" fmla="*/ 153067 w 279749"/>
                  <a:gd name="connsiteY25" fmla="*/ 316325 h 445007"/>
                  <a:gd name="connsiteX26" fmla="*/ 184499 w 279749"/>
                  <a:gd name="connsiteY26" fmla="*/ 316325 h 445007"/>
                  <a:gd name="connsiteX27" fmla="*/ 197644 w 279749"/>
                  <a:gd name="connsiteY27" fmla="*/ 303181 h 445007"/>
                  <a:gd name="connsiteX28" fmla="*/ 184499 w 279749"/>
                  <a:gd name="connsiteY28" fmla="*/ 290036 h 445007"/>
                  <a:gd name="connsiteX29" fmla="*/ 153067 w 279749"/>
                  <a:gd name="connsiteY29" fmla="*/ 290036 h 445007"/>
                  <a:gd name="connsiteX30" fmla="*/ 153067 w 279749"/>
                  <a:gd name="connsiteY30" fmla="*/ 233172 h 445007"/>
                  <a:gd name="connsiteX31" fmla="*/ 153734 w 279749"/>
                  <a:gd name="connsiteY31" fmla="*/ 232791 h 445007"/>
                  <a:gd name="connsiteX32" fmla="*/ 236220 w 279749"/>
                  <a:gd name="connsiteY32" fmla="*/ 150305 h 445007"/>
                  <a:gd name="connsiteX33" fmla="*/ 236601 w 279749"/>
                  <a:gd name="connsiteY33" fmla="*/ 149638 h 445007"/>
                  <a:gd name="connsiteX34" fmla="*/ 266605 w 279749"/>
                  <a:gd name="connsiteY34" fmla="*/ 149638 h 445007"/>
                  <a:gd name="connsiteX35" fmla="*/ 279749 w 279749"/>
                  <a:gd name="connsiteY35" fmla="*/ 136493 h 445007"/>
                  <a:gd name="connsiteX36" fmla="*/ 266605 w 279749"/>
                  <a:gd name="connsiteY36" fmla="*/ 123349 h 445007"/>
                  <a:gd name="connsiteX37" fmla="*/ 76390 w 279749"/>
                  <a:gd name="connsiteY37" fmla="*/ 149447 h 445007"/>
                  <a:gd name="connsiteX38" fmla="*/ 126682 w 279749"/>
                  <a:gd name="connsiteY38" fmla="*/ 149447 h 445007"/>
                  <a:gd name="connsiteX39" fmla="*/ 126682 w 279749"/>
                  <a:gd name="connsiteY39" fmla="*/ 195739 h 445007"/>
                  <a:gd name="connsiteX40" fmla="*/ 76390 w 279749"/>
                  <a:gd name="connsiteY40" fmla="*/ 149447 h 445007"/>
                  <a:gd name="connsiteX41" fmla="*/ 152876 w 279749"/>
                  <a:gd name="connsiteY41" fmla="*/ 196120 h 445007"/>
                  <a:gd name="connsiteX42" fmla="*/ 152876 w 279749"/>
                  <a:gd name="connsiteY42" fmla="*/ 149447 h 445007"/>
                  <a:gd name="connsiteX43" fmla="*/ 199549 w 279749"/>
                  <a:gd name="connsiteY43" fmla="*/ 149447 h 445007"/>
                  <a:gd name="connsiteX44" fmla="*/ 152876 w 279749"/>
                  <a:gd name="connsiteY44" fmla="*/ 196120 h 445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79749" h="445007">
                    <a:moveTo>
                      <a:pt x="266414" y="123253"/>
                    </a:moveTo>
                    <a:lnTo>
                      <a:pt x="152876" y="123253"/>
                    </a:lnTo>
                    <a:lnTo>
                      <a:pt x="152876" y="26289"/>
                    </a:lnTo>
                    <a:lnTo>
                      <a:pt x="174974" y="26289"/>
                    </a:lnTo>
                    <a:cubicBezTo>
                      <a:pt x="182213" y="26289"/>
                      <a:pt x="188119" y="20384"/>
                      <a:pt x="188119" y="13145"/>
                    </a:cubicBezTo>
                    <a:cubicBezTo>
                      <a:pt x="188119" y="5905"/>
                      <a:pt x="182213" y="0"/>
                      <a:pt x="174974" y="0"/>
                    </a:cubicBezTo>
                    <a:lnTo>
                      <a:pt x="104584" y="0"/>
                    </a:lnTo>
                    <a:cubicBezTo>
                      <a:pt x="97345" y="0"/>
                      <a:pt x="91440" y="5905"/>
                      <a:pt x="91440" y="13145"/>
                    </a:cubicBezTo>
                    <a:cubicBezTo>
                      <a:pt x="91440" y="20384"/>
                      <a:pt x="97345" y="26289"/>
                      <a:pt x="104584" y="26289"/>
                    </a:cubicBezTo>
                    <a:lnTo>
                      <a:pt x="126682" y="26289"/>
                    </a:lnTo>
                    <a:lnTo>
                      <a:pt x="126682" y="123253"/>
                    </a:lnTo>
                    <a:lnTo>
                      <a:pt x="13144" y="123253"/>
                    </a:lnTo>
                    <a:cubicBezTo>
                      <a:pt x="5905" y="123253"/>
                      <a:pt x="0" y="129159"/>
                      <a:pt x="0" y="136398"/>
                    </a:cubicBezTo>
                    <a:cubicBezTo>
                      <a:pt x="0" y="143637"/>
                      <a:pt x="5905" y="149543"/>
                      <a:pt x="13144" y="149543"/>
                    </a:cubicBezTo>
                    <a:lnTo>
                      <a:pt x="38100" y="149543"/>
                    </a:lnTo>
                    <a:cubicBezTo>
                      <a:pt x="38100" y="149543"/>
                      <a:pt x="38481" y="150209"/>
                      <a:pt x="38862" y="150590"/>
                    </a:cubicBezTo>
                    <a:lnTo>
                      <a:pt x="126778" y="231553"/>
                    </a:lnTo>
                    <a:lnTo>
                      <a:pt x="126778" y="290036"/>
                    </a:lnTo>
                    <a:lnTo>
                      <a:pt x="95345" y="290036"/>
                    </a:lnTo>
                    <a:cubicBezTo>
                      <a:pt x="88106" y="290036"/>
                      <a:pt x="82201" y="295942"/>
                      <a:pt x="82201" y="303181"/>
                    </a:cubicBezTo>
                    <a:cubicBezTo>
                      <a:pt x="82201" y="310420"/>
                      <a:pt x="88106" y="316325"/>
                      <a:pt x="95345" y="316325"/>
                    </a:cubicBezTo>
                    <a:lnTo>
                      <a:pt x="126778" y="316325"/>
                    </a:lnTo>
                    <a:lnTo>
                      <a:pt x="126778" y="431864"/>
                    </a:lnTo>
                    <a:cubicBezTo>
                      <a:pt x="126778" y="439103"/>
                      <a:pt x="132683" y="445008"/>
                      <a:pt x="139922" y="445008"/>
                    </a:cubicBezTo>
                    <a:cubicBezTo>
                      <a:pt x="147161" y="445008"/>
                      <a:pt x="153067" y="439103"/>
                      <a:pt x="153067" y="431864"/>
                    </a:cubicBezTo>
                    <a:lnTo>
                      <a:pt x="153067" y="316325"/>
                    </a:lnTo>
                    <a:lnTo>
                      <a:pt x="184499" y="316325"/>
                    </a:lnTo>
                    <a:cubicBezTo>
                      <a:pt x="191738" y="316325"/>
                      <a:pt x="197644" y="310420"/>
                      <a:pt x="197644" y="303181"/>
                    </a:cubicBezTo>
                    <a:cubicBezTo>
                      <a:pt x="197644" y="295942"/>
                      <a:pt x="191738" y="290036"/>
                      <a:pt x="184499" y="290036"/>
                    </a:cubicBezTo>
                    <a:lnTo>
                      <a:pt x="153067" y="290036"/>
                    </a:lnTo>
                    <a:lnTo>
                      <a:pt x="153067" y="233172"/>
                    </a:lnTo>
                    <a:cubicBezTo>
                      <a:pt x="153067" y="233172"/>
                      <a:pt x="153543" y="232982"/>
                      <a:pt x="153734" y="232791"/>
                    </a:cubicBezTo>
                    <a:lnTo>
                      <a:pt x="236220" y="150305"/>
                    </a:lnTo>
                    <a:cubicBezTo>
                      <a:pt x="236220" y="150305"/>
                      <a:pt x="236506" y="149828"/>
                      <a:pt x="236601" y="149638"/>
                    </a:cubicBezTo>
                    <a:lnTo>
                      <a:pt x="266605" y="149638"/>
                    </a:lnTo>
                    <a:cubicBezTo>
                      <a:pt x="273844" y="149638"/>
                      <a:pt x="279749" y="143732"/>
                      <a:pt x="279749" y="136493"/>
                    </a:cubicBezTo>
                    <a:cubicBezTo>
                      <a:pt x="279749" y="129254"/>
                      <a:pt x="273844" y="123349"/>
                      <a:pt x="266605" y="123349"/>
                    </a:cubicBezTo>
                    <a:close/>
                    <a:moveTo>
                      <a:pt x="76390" y="149447"/>
                    </a:moveTo>
                    <a:lnTo>
                      <a:pt x="126682" y="149447"/>
                    </a:lnTo>
                    <a:lnTo>
                      <a:pt x="126682" y="195739"/>
                    </a:lnTo>
                    <a:lnTo>
                      <a:pt x="76390" y="149447"/>
                    </a:lnTo>
                    <a:close/>
                    <a:moveTo>
                      <a:pt x="152876" y="196120"/>
                    </a:moveTo>
                    <a:lnTo>
                      <a:pt x="152876" y="149447"/>
                    </a:lnTo>
                    <a:lnTo>
                      <a:pt x="199549" y="149447"/>
                    </a:lnTo>
                    <a:lnTo>
                      <a:pt x="152876" y="19612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6" name="Agrupar 135">
            <a:extLst>
              <a:ext uri="{FF2B5EF4-FFF2-40B4-BE49-F238E27FC236}">
                <a16:creationId xmlns:a16="http://schemas.microsoft.com/office/drawing/2014/main" id="{BD5EA9D5-7C8F-4A33-EE82-95B7970A7D62}"/>
              </a:ext>
            </a:extLst>
          </p:cNvPr>
          <p:cNvGrpSpPr/>
          <p:nvPr/>
        </p:nvGrpSpPr>
        <p:grpSpPr>
          <a:xfrm>
            <a:off x="2241749" y="3205451"/>
            <a:ext cx="828098" cy="828098"/>
            <a:chOff x="2241749" y="3205451"/>
            <a:chExt cx="828098" cy="828098"/>
          </a:xfrm>
        </p:grpSpPr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35E80E46-7209-7ED7-5CDF-89DCBF9ACB07}"/>
                </a:ext>
              </a:extLst>
            </p:cNvPr>
            <p:cNvSpPr/>
            <p:nvPr/>
          </p:nvSpPr>
          <p:spPr>
            <a:xfrm>
              <a:off x="2241749" y="3205451"/>
              <a:ext cx="828098" cy="828098"/>
            </a:xfrm>
            <a:prstGeom prst="ellipse">
              <a:avLst/>
            </a:prstGeom>
            <a:solidFill>
              <a:srgbClr val="225E66"/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4" name="Graphic 4">
              <a:extLst>
                <a:ext uri="{FF2B5EF4-FFF2-40B4-BE49-F238E27FC236}">
                  <a16:creationId xmlns:a16="http://schemas.microsoft.com/office/drawing/2014/main" id="{F2A3CE8E-DD56-1385-AE76-907FF968E64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385724" y="3338376"/>
              <a:ext cx="540148" cy="540148"/>
            </a:xfrm>
            <a:prstGeom prst="rect">
              <a:avLst/>
            </a:prstGeom>
          </p:spPr>
        </p:pic>
      </p:grpSp>
      <p:grpSp>
        <p:nvGrpSpPr>
          <p:cNvPr id="129" name="Agrupar 128">
            <a:extLst>
              <a:ext uri="{FF2B5EF4-FFF2-40B4-BE49-F238E27FC236}">
                <a16:creationId xmlns:a16="http://schemas.microsoft.com/office/drawing/2014/main" id="{C0A71936-1C10-9A80-10A3-6016704AA2B5}"/>
              </a:ext>
            </a:extLst>
          </p:cNvPr>
          <p:cNvGrpSpPr/>
          <p:nvPr/>
        </p:nvGrpSpPr>
        <p:grpSpPr>
          <a:xfrm>
            <a:off x="4279704" y="3119726"/>
            <a:ext cx="828098" cy="828098"/>
            <a:chOff x="4279704" y="3119726"/>
            <a:chExt cx="828098" cy="828098"/>
          </a:xfrm>
        </p:grpSpPr>
        <p:sp>
          <p:nvSpPr>
            <p:cNvPr id="35" name="Elipse 34">
              <a:extLst>
                <a:ext uri="{FF2B5EF4-FFF2-40B4-BE49-F238E27FC236}">
                  <a16:creationId xmlns:a16="http://schemas.microsoft.com/office/drawing/2014/main" id="{6E2A37DE-282E-6EBB-3CB1-3FD6CBD37D2F}"/>
                </a:ext>
              </a:extLst>
            </p:cNvPr>
            <p:cNvSpPr/>
            <p:nvPr/>
          </p:nvSpPr>
          <p:spPr>
            <a:xfrm>
              <a:off x="4279704" y="3119726"/>
              <a:ext cx="828098" cy="828098"/>
            </a:xfrm>
            <a:prstGeom prst="ellipse">
              <a:avLst/>
            </a:prstGeom>
            <a:solidFill>
              <a:srgbClr val="9DB1CB"/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6" name="Graphic 37">
              <a:extLst>
                <a:ext uri="{FF2B5EF4-FFF2-40B4-BE49-F238E27FC236}">
                  <a16:creationId xmlns:a16="http://schemas.microsoft.com/office/drawing/2014/main" id="{0F67303A-DC57-9500-BC13-840D7782A697}"/>
                </a:ext>
              </a:extLst>
            </p:cNvPr>
            <p:cNvGrpSpPr/>
            <p:nvPr/>
          </p:nvGrpSpPr>
          <p:grpSpPr>
            <a:xfrm>
              <a:off x="4494131" y="3270475"/>
              <a:ext cx="436021" cy="496233"/>
              <a:chOff x="1980793" y="4051724"/>
              <a:chExt cx="576176" cy="655743"/>
            </a:xfrm>
            <a:solidFill>
              <a:schemeClr val="bg1"/>
            </a:solidFill>
          </p:grpSpPr>
          <p:sp>
            <p:nvSpPr>
              <p:cNvPr id="67" name="Freeform: Shape 207">
                <a:extLst>
                  <a:ext uri="{FF2B5EF4-FFF2-40B4-BE49-F238E27FC236}">
                    <a16:creationId xmlns:a16="http://schemas.microsoft.com/office/drawing/2014/main" id="{D36F6240-264E-43CD-FCC3-F6A3F5B51FFF}"/>
                  </a:ext>
                </a:extLst>
              </p:cNvPr>
              <p:cNvSpPr/>
              <p:nvPr/>
            </p:nvSpPr>
            <p:spPr>
              <a:xfrm>
                <a:off x="2218926" y="4051724"/>
                <a:ext cx="338044" cy="104245"/>
              </a:xfrm>
              <a:custGeom>
                <a:avLst/>
                <a:gdLst>
                  <a:gd name="connsiteX0" fmla="*/ 335280 w 338044"/>
                  <a:gd name="connsiteY0" fmla="*/ 5281 h 104245"/>
                  <a:gd name="connsiteX1" fmla="*/ 316897 w 338044"/>
                  <a:gd name="connsiteY1" fmla="*/ 2804 h 104245"/>
                  <a:gd name="connsiteX2" fmla="*/ 206311 w 338044"/>
                  <a:gd name="connsiteY2" fmla="*/ 36809 h 104245"/>
                  <a:gd name="connsiteX3" fmla="*/ 160401 w 338044"/>
                  <a:gd name="connsiteY3" fmla="*/ 19664 h 104245"/>
                  <a:gd name="connsiteX4" fmla="*/ 128873 w 338044"/>
                  <a:gd name="connsiteY4" fmla="*/ 5567 h 104245"/>
                  <a:gd name="connsiteX5" fmla="*/ 41624 w 338044"/>
                  <a:gd name="connsiteY5" fmla="*/ 15949 h 104245"/>
                  <a:gd name="connsiteX6" fmla="*/ 0 w 338044"/>
                  <a:gd name="connsiteY6" fmla="*/ 91006 h 104245"/>
                  <a:gd name="connsiteX7" fmla="*/ 13049 w 338044"/>
                  <a:gd name="connsiteY7" fmla="*/ 104246 h 104245"/>
                  <a:gd name="connsiteX8" fmla="*/ 13144 w 338044"/>
                  <a:gd name="connsiteY8" fmla="*/ 104246 h 104245"/>
                  <a:gd name="connsiteX9" fmla="*/ 26289 w 338044"/>
                  <a:gd name="connsiteY9" fmla="*/ 91196 h 104245"/>
                  <a:gd name="connsiteX10" fmla="*/ 56102 w 338044"/>
                  <a:gd name="connsiteY10" fmla="*/ 37761 h 104245"/>
                  <a:gd name="connsiteX11" fmla="*/ 120110 w 338044"/>
                  <a:gd name="connsiteY11" fmla="*/ 30236 h 104245"/>
                  <a:gd name="connsiteX12" fmla="*/ 148781 w 338044"/>
                  <a:gd name="connsiteY12" fmla="*/ 43095 h 104245"/>
                  <a:gd name="connsiteX13" fmla="*/ 202502 w 338044"/>
                  <a:gd name="connsiteY13" fmla="*/ 62717 h 104245"/>
                  <a:gd name="connsiteX14" fmla="*/ 332899 w 338044"/>
                  <a:gd name="connsiteY14" fmla="*/ 23664 h 104245"/>
                  <a:gd name="connsiteX15" fmla="*/ 335375 w 338044"/>
                  <a:gd name="connsiteY15" fmla="*/ 5281 h 104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38044" h="104245">
                    <a:moveTo>
                      <a:pt x="335280" y="5281"/>
                    </a:moveTo>
                    <a:cubicBezTo>
                      <a:pt x="330899" y="-434"/>
                      <a:pt x="322707" y="-1577"/>
                      <a:pt x="316897" y="2804"/>
                    </a:cubicBezTo>
                    <a:cubicBezTo>
                      <a:pt x="279559" y="31284"/>
                      <a:pt x="243364" y="42333"/>
                      <a:pt x="206311" y="36809"/>
                    </a:cubicBezTo>
                    <a:cubicBezTo>
                      <a:pt x="189643" y="34332"/>
                      <a:pt x="175451" y="27188"/>
                      <a:pt x="160401" y="19664"/>
                    </a:cubicBezTo>
                    <a:cubicBezTo>
                      <a:pt x="150495" y="14711"/>
                      <a:pt x="140303" y="9567"/>
                      <a:pt x="128873" y="5567"/>
                    </a:cubicBezTo>
                    <a:cubicBezTo>
                      <a:pt x="100203" y="-4625"/>
                      <a:pt x="66865" y="-625"/>
                      <a:pt x="41624" y="15949"/>
                    </a:cubicBezTo>
                    <a:cubicBezTo>
                      <a:pt x="16192" y="32713"/>
                      <a:pt x="286" y="61478"/>
                      <a:pt x="0" y="91006"/>
                    </a:cubicBezTo>
                    <a:cubicBezTo>
                      <a:pt x="0" y="98245"/>
                      <a:pt x="5810" y="104150"/>
                      <a:pt x="13049" y="104246"/>
                    </a:cubicBezTo>
                    <a:lnTo>
                      <a:pt x="13144" y="104246"/>
                    </a:lnTo>
                    <a:cubicBezTo>
                      <a:pt x="20384" y="104246"/>
                      <a:pt x="26194" y="98435"/>
                      <a:pt x="26289" y="91196"/>
                    </a:cubicBezTo>
                    <a:cubicBezTo>
                      <a:pt x="26480" y="70241"/>
                      <a:pt x="37814" y="49763"/>
                      <a:pt x="56102" y="37761"/>
                    </a:cubicBezTo>
                    <a:cubicBezTo>
                      <a:pt x="74295" y="25760"/>
                      <a:pt x="99441" y="22902"/>
                      <a:pt x="120110" y="30236"/>
                    </a:cubicBezTo>
                    <a:cubicBezTo>
                      <a:pt x="130016" y="33761"/>
                      <a:pt x="139160" y="38333"/>
                      <a:pt x="148781" y="43095"/>
                    </a:cubicBezTo>
                    <a:cubicBezTo>
                      <a:pt x="164973" y="51191"/>
                      <a:pt x="181737" y="59573"/>
                      <a:pt x="202502" y="62717"/>
                    </a:cubicBezTo>
                    <a:cubicBezTo>
                      <a:pt x="246316" y="69289"/>
                      <a:pt x="290227" y="56144"/>
                      <a:pt x="332899" y="23664"/>
                    </a:cubicBezTo>
                    <a:cubicBezTo>
                      <a:pt x="338614" y="19283"/>
                      <a:pt x="339757" y="11091"/>
                      <a:pt x="335375" y="52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208">
                <a:extLst>
                  <a:ext uri="{FF2B5EF4-FFF2-40B4-BE49-F238E27FC236}">
                    <a16:creationId xmlns:a16="http://schemas.microsoft.com/office/drawing/2014/main" id="{6631DFFC-9FFB-3343-72B3-447CDBA21DB1}"/>
                  </a:ext>
                </a:extLst>
              </p:cNvPr>
              <p:cNvSpPr/>
              <p:nvPr/>
            </p:nvSpPr>
            <p:spPr>
              <a:xfrm>
                <a:off x="1980793" y="4211119"/>
                <a:ext cx="491795" cy="496347"/>
              </a:xfrm>
              <a:custGeom>
                <a:avLst/>
                <a:gdLst>
                  <a:gd name="connsiteX0" fmla="*/ 353481 w 491795"/>
                  <a:gd name="connsiteY0" fmla="*/ 26289 h 496347"/>
                  <a:gd name="connsiteX1" fmla="*/ 362625 w 491795"/>
                  <a:gd name="connsiteY1" fmla="*/ 26289 h 496347"/>
                  <a:gd name="connsiteX2" fmla="*/ 375769 w 491795"/>
                  <a:gd name="connsiteY2" fmla="*/ 13145 h 496347"/>
                  <a:gd name="connsiteX3" fmla="*/ 362625 w 491795"/>
                  <a:gd name="connsiteY3" fmla="*/ 0 h 496347"/>
                  <a:gd name="connsiteX4" fmla="*/ 148884 w 491795"/>
                  <a:gd name="connsiteY4" fmla="*/ 0 h 496347"/>
                  <a:gd name="connsiteX5" fmla="*/ 135739 w 491795"/>
                  <a:gd name="connsiteY5" fmla="*/ 13145 h 496347"/>
                  <a:gd name="connsiteX6" fmla="*/ 148884 w 491795"/>
                  <a:gd name="connsiteY6" fmla="*/ 26289 h 496347"/>
                  <a:gd name="connsiteX7" fmla="*/ 162409 w 491795"/>
                  <a:gd name="connsiteY7" fmla="*/ 26289 h 496347"/>
                  <a:gd name="connsiteX8" fmla="*/ 141930 w 491795"/>
                  <a:gd name="connsiteY8" fmla="*/ 86392 h 496347"/>
                  <a:gd name="connsiteX9" fmla="*/ 770 w 491795"/>
                  <a:gd name="connsiteY9" fmla="*/ 478822 h 496347"/>
                  <a:gd name="connsiteX10" fmla="*/ 2389 w 491795"/>
                  <a:gd name="connsiteY10" fmla="*/ 490823 h 496347"/>
                  <a:gd name="connsiteX11" fmla="*/ 13152 w 491795"/>
                  <a:gd name="connsiteY11" fmla="*/ 496348 h 496347"/>
                  <a:gd name="connsiteX12" fmla="*/ 478639 w 491795"/>
                  <a:gd name="connsiteY12" fmla="*/ 496348 h 496347"/>
                  <a:gd name="connsiteX13" fmla="*/ 489212 w 491795"/>
                  <a:gd name="connsiteY13" fmla="*/ 491014 h 496347"/>
                  <a:gd name="connsiteX14" fmla="*/ 491212 w 491795"/>
                  <a:gd name="connsiteY14" fmla="*/ 479393 h 496347"/>
                  <a:gd name="connsiteX15" fmla="*/ 353481 w 491795"/>
                  <a:gd name="connsiteY15" fmla="*/ 26194 h 496347"/>
                  <a:gd name="connsiteX16" fmla="*/ 31821 w 491795"/>
                  <a:gd name="connsiteY16" fmla="*/ 470154 h 496347"/>
                  <a:gd name="connsiteX17" fmla="*/ 166600 w 491795"/>
                  <a:gd name="connsiteY17" fmla="*/ 95060 h 496347"/>
                  <a:gd name="connsiteX18" fmla="*/ 190032 w 491795"/>
                  <a:gd name="connsiteY18" fmla="*/ 26289 h 496347"/>
                  <a:gd name="connsiteX19" fmla="*/ 325953 w 491795"/>
                  <a:gd name="connsiteY19" fmla="*/ 26289 h 496347"/>
                  <a:gd name="connsiteX20" fmla="*/ 373197 w 491795"/>
                  <a:gd name="connsiteY20" fmla="*/ 181737 h 496347"/>
                  <a:gd name="connsiteX21" fmla="*/ 257088 w 491795"/>
                  <a:gd name="connsiteY21" fmla="*/ 181737 h 496347"/>
                  <a:gd name="connsiteX22" fmla="*/ 243943 w 491795"/>
                  <a:gd name="connsiteY22" fmla="*/ 194882 h 496347"/>
                  <a:gd name="connsiteX23" fmla="*/ 257088 w 491795"/>
                  <a:gd name="connsiteY23" fmla="*/ 208026 h 496347"/>
                  <a:gd name="connsiteX24" fmla="*/ 381198 w 491795"/>
                  <a:gd name="connsiteY24" fmla="*/ 208026 h 496347"/>
                  <a:gd name="connsiteX25" fmla="*/ 417679 w 491795"/>
                  <a:gd name="connsiteY25" fmla="*/ 328136 h 496347"/>
                  <a:gd name="connsiteX26" fmla="*/ 293664 w 491795"/>
                  <a:gd name="connsiteY26" fmla="*/ 328136 h 496347"/>
                  <a:gd name="connsiteX27" fmla="*/ 280519 w 491795"/>
                  <a:gd name="connsiteY27" fmla="*/ 341281 h 496347"/>
                  <a:gd name="connsiteX28" fmla="*/ 293664 w 491795"/>
                  <a:gd name="connsiteY28" fmla="*/ 354425 h 496347"/>
                  <a:gd name="connsiteX29" fmla="*/ 421108 w 491795"/>
                  <a:gd name="connsiteY29" fmla="*/ 354425 h 496347"/>
                  <a:gd name="connsiteX30" fmla="*/ 425394 w 491795"/>
                  <a:gd name="connsiteY30" fmla="*/ 353568 h 496347"/>
                  <a:gd name="connsiteX31" fmla="*/ 460923 w 491795"/>
                  <a:gd name="connsiteY31" fmla="*/ 470440 h 496347"/>
                  <a:gd name="connsiteX32" fmla="*/ 31821 w 491795"/>
                  <a:gd name="connsiteY32" fmla="*/ 470440 h 496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91795" h="496347">
                    <a:moveTo>
                      <a:pt x="353481" y="26289"/>
                    </a:moveTo>
                    <a:lnTo>
                      <a:pt x="362625" y="26289"/>
                    </a:lnTo>
                    <a:cubicBezTo>
                      <a:pt x="369864" y="26289"/>
                      <a:pt x="375769" y="20384"/>
                      <a:pt x="375769" y="13145"/>
                    </a:cubicBezTo>
                    <a:cubicBezTo>
                      <a:pt x="375769" y="5906"/>
                      <a:pt x="369864" y="0"/>
                      <a:pt x="362625" y="0"/>
                    </a:cubicBezTo>
                    <a:lnTo>
                      <a:pt x="148884" y="0"/>
                    </a:lnTo>
                    <a:cubicBezTo>
                      <a:pt x="141645" y="0"/>
                      <a:pt x="135739" y="5906"/>
                      <a:pt x="135739" y="13145"/>
                    </a:cubicBezTo>
                    <a:cubicBezTo>
                      <a:pt x="135739" y="20384"/>
                      <a:pt x="141645" y="26289"/>
                      <a:pt x="148884" y="26289"/>
                    </a:cubicBezTo>
                    <a:lnTo>
                      <a:pt x="162409" y="26289"/>
                    </a:lnTo>
                    <a:lnTo>
                      <a:pt x="141930" y="86392"/>
                    </a:lnTo>
                    <a:lnTo>
                      <a:pt x="770" y="478822"/>
                    </a:lnTo>
                    <a:cubicBezTo>
                      <a:pt x="-659" y="482822"/>
                      <a:pt x="-87" y="487299"/>
                      <a:pt x="2389" y="490823"/>
                    </a:cubicBezTo>
                    <a:cubicBezTo>
                      <a:pt x="4866" y="494348"/>
                      <a:pt x="8866" y="496348"/>
                      <a:pt x="13152" y="496348"/>
                    </a:cubicBezTo>
                    <a:lnTo>
                      <a:pt x="478639" y="496348"/>
                    </a:lnTo>
                    <a:cubicBezTo>
                      <a:pt x="482830" y="496348"/>
                      <a:pt x="486735" y="494348"/>
                      <a:pt x="489212" y="491014"/>
                    </a:cubicBezTo>
                    <a:cubicBezTo>
                      <a:pt x="491688" y="487680"/>
                      <a:pt x="492450" y="483394"/>
                      <a:pt x="491212" y="479393"/>
                    </a:cubicBezTo>
                    <a:lnTo>
                      <a:pt x="353481" y="26194"/>
                    </a:lnTo>
                    <a:close/>
                    <a:moveTo>
                      <a:pt x="31821" y="470154"/>
                    </a:moveTo>
                    <a:lnTo>
                      <a:pt x="166600" y="95060"/>
                    </a:lnTo>
                    <a:lnTo>
                      <a:pt x="190032" y="26289"/>
                    </a:lnTo>
                    <a:lnTo>
                      <a:pt x="325953" y="26289"/>
                    </a:lnTo>
                    <a:lnTo>
                      <a:pt x="373197" y="181737"/>
                    </a:lnTo>
                    <a:lnTo>
                      <a:pt x="257088" y="181737"/>
                    </a:lnTo>
                    <a:cubicBezTo>
                      <a:pt x="249849" y="181737"/>
                      <a:pt x="243943" y="187642"/>
                      <a:pt x="243943" y="194882"/>
                    </a:cubicBezTo>
                    <a:cubicBezTo>
                      <a:pt x="243943" y="202121"/>
                      <a:pt x="249849" y="208026"/>
                      <a:pt x="257088" y="208026"/>
                    </a:cubicBezTo>
                    <a:lnTo>
                      <a:pt x="381198" y="208026"/>
                    </a:lnTo>
                    <a:lnTo>
                      <a:pt x="417679" y="328136"/>
                    </a:lnTo>
                    <a:lnTo>
                      <a:pt x="293664" y="328136"/>
                    </a:lnTo>
                    <a:cubicBezTo>
                      <a:pt x="286425" y="328136"/>
                      <a:pt x="280519" y="334042"/>
                      <a:pt x="280519" y="341281"/>
                    </a:cubicBezTo>
                    <a:cubicBezTo>
                      <a:pt x="280519" y="348520"/>
                      <a:pt x="286425" y="354425"/>
                      <a:pt x="293664" y="354425"/>
                    </a:cubicBezTo>
                    <a:lnTo>
                      <a:pt x="421108" y="354425"/>
                    </a:lnTo>
                    <a:cubicBezTo>
                      <a:pt x="422632" y="354425"/>
                      <a:pt x="424061" y="354044"/>
                      <a:pt x="425394" y="353568"/>
                    </a:cubicBezTo>
                    <a:lnTo>
                      <a:pt x="460923" y="470440"/>
                    </a:lnTo>
                    <a:lnTo>
                      <a:pt x="31821" y="47044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9" name="Graphic 31">
            <a:extLst>
              <a:ext uri="{FF2B5EF4-FFF2-40B4-BE49-F238E27FC236}">
                <a16:creationId xmlns:a16="http://schemas.microsoft.com/office/drawing/2014/main" id="{91DE78F4-CBF5-FEA8-F1E3-0F0D5EC177B8}"/>
              </a:ext>
            </a:extLst>
          </p:cNvPr>
          <p:cNvGrpSpPr/>
          <p:nvPr/>
        </p:nvGrpSpPr>
        <p:grpSpPr>
          <a:xfrm>
            <a:off x="6514165" y="5681905"/>
            <a:ext cx="568912" cy="320999"/>
            <a:chOff x="3634447" y="1415129"/>
            <a:chExt cx="655839" cy="370046"/>
          </a:xfrm>
          <a:solidFill>
            <a:srgbClr val="333333"/>
          </a:solidFill>
        </p:grpSpPr>
        <p:sp>
          <p:nvSpPr>
            <p:cNvPr id="70" name="Freeform: Shape 111">
              <a:extLst>
                <a:ext uri="{FF2B5EF4-FFF2-40B4-BE49-F238E27FC236}">
                  <a16:creationId xmlns:a16="http://schemas.microsoft.com/office/drawing/2014/main" id="{C2356DFE-F5E7-C4C7-42D1-B1028A6B443D}"/>
                </a:ext>
              </a:extLst>
            </p:cNvPr>
            <p:cNvSpPr/>
            <p:nvPr/>
          </p:nvSpPr>
          <p:spPr>
            <a:xfrm>
              <a:off x="4129754" y="1635442"/>
              <a:ext cx="74485" cy="74485"/>
            </a:xfrm>
            <a:custGeom>
              <a:avLst/>
              <a:gdLst>
                <a:gd name="connsiteX0" fmla="*/ 0 w 74485"/>
                <a:gd name="connsiteY0" fmla="*/ 37243 h 74485"/>
                <a:gd name="connsiteX1" fmla="*/ 37243 w 74485"/>
                <a:gd name="connsiteY1" fmla="*/ 74486 h 74485"/>
                <a:gd name="connsiteX2" fmla="*/ 74486 w 74485"/>
                <a:gd name="connsiteY2" fmla="*/ 37243 h 74485"/>
                <a:gd name="connsiteX3" fmla="*/ 37243 w 74485"/>
                <a:gd name="connsiteY3" fmla="*/ 0 h 74485"/>
                <a:gd name="connsiteX4" fmla="*/ 0 w 74485"/>
                <a:gd name="connsiteY4" fmla="*/ 37243 h 74485"/>
                <a:gd name="connsiteX5" fmla="*/ 48387 w 74485"/>
                <a:gd name="connsiteY5" fmla="*/ 37243 h 74485"/>
                <a:gd name="connsiteX6" fmla="*/ 37338 w 74485"/>
                <a:gd name="connsiteY6" fmla="*/ 48292 h 74485"/>
                <a:gd name="connsiteX7" fmla="*/ 26289 w 74485"/>
                <a:gd name="connsiteY7" fmla="*/ 37243 h 74485"/>
                <a:gd name="connsiteX8" fmla="*/ 37338 w 74485"/>
                <a:gd name="connsiteY8" fmla="*/ 26194 h 74485"/>
                <a:gd name="connsiteX9" fmla="*/ 48387 w 74485"/>
                <a:gd name="connsiteY9" fmla="*/ 37243 h 74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485" h="74485">
                  <a:moveTo>
                    <a:pt x="0" y="37243"/>
                  </a:moveTo>
                  <a:cubicBezTo>
                    <a:pt x="0" y="57817"/>
                    <a:pt x="16764" y="74486"/>
                    <a:pt x="37243" y="74486"/>
                  </a:cubicBezTo>
                  <a:cubicBezTo>
                    <a:pt x="57722" y="74486"/>
                    <a:pt x="74486" y="57721"/>
                    <a:pt x="74486" y="37243"/>
                  </a:cubicBezTo>
                  <a:cubicBezTo>
                    <a:pt x="74486" y="16764"/>
                    <a:pt x="57722" y="0"/>
                    <a:pt x="37243" y="0"/>
                  </a:cubicBezTo>
                  <a:cubicBezTo>
                    <a:pt x="16764" y="0"/>
                    <a:pt x="0" y="16764"/>
                    <a:pt x="0" y="37243"/>
                  </a:cubicBezTo>
                  <a:close/>
                  <a:moveTo>
                    <a:pt x="48387" y="37243"/>
                  </a:moveTo>
                  <a:cubicBezTo>
                    <a:pt x="48387" y="43339"/>
                    <a:pt x="43434" y="48292"/>
                    <a:pt x="37338" y="48292"/>
                  </a:cubicBezTo>
                  <a:cubicBezTo>
                    <a:pt x="31242" y="48292"/>
                    <a:pt x="26289" y="43339"/>
                    <a:pt x="26289" y="37243"/>
                  </a:cubicBezTo>
                  <a:cubicBezTo>
                    <a:pt x="26289" y="31147"/>
                    <a:pt x="31242" y="26194"/>
                    <a:pt x="37338" y="26194"/>
                  </a:cubicBezTo>
                  <a:cubicBezTo>
                    <a:pt x="43434" y="26194"/>
                    <a:pt x="48387" y="31147"/>
                    <a:pt x="48387" y="37243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112">
              <a:extLst>
                <a:ext uri="{FF2B5EF4-FFF2-40B4-BE49-F238E27FC236}">
                  <a16:creationId xmlns:a16="http://schemas.microsoft.com/office/drawing/2014/main" id="{65D13349-B9B7-6C98-C87E-788900203164}"/>
                </a:ext>
              </a:extLst>
            </p:cNvPr>
            <p:cNvSpPr/>
            <p:nvPr/>
          </p:nvSpPr>
          <p:spPr>
            <a:xfrm>
              <a:off x="3634447" y="1415129"/>
              <a:ext cx="655839" cy="370046"/>
            </a:xfrm>
            <a:custGeom>
              <a:avLst/>
              <a:gdLst>
                <a:gd name="connsiteX0" fmla="*/ 653898 w 655839"/>
                <a:gd name="connsiteY0" fmla="*/ 185071 h 370046"/>
                <a:gd name="connsiteX1" fmla="*/ 642754 w 655839"/>
                <a:gd name="connsiteY1" fmla="*/ 178879 h 370046"/>
                <a:gd name="connsiteX2" fmla="*/ 569887 w 655839"/>
                <a:gd name="connsiteY2" fmla="*/ 178879 h 370046"/>
                <a:gd name="connsiteX3" fmla="*/ 569887 w 655839"/>
                <a:gd name="connsiteY3" fmla="*/ 58960 h 370046"/>
                <a:gd name="connsiteX4" fmla="*/ 580841 w 655839"/>
                <a:gd name="connsiteY4" fmla="*/ 58960 h 370046"/>
                <a:gd name="connsiteX5" fmla="*/ 593986 w 655839"/>
                <a:gd name="connsiteY5" fmla="*/ 45815 h 370046"/>
                <a:gd name="connsiteX6" fmla="*/ 580841 w 655839"/>
                <a:gd name="connsiteY6" fmla="*/ 32671 h 370046"/>
                <a:gd name="connsiteX7" fmla="*/ 569887 w 655839"/>
                <a:gd name="connsiteY7" fmla="*/ 32671 h 370046"/>
                <a:gd name="connsiteX8" fmla="*/ 569887 w 655839"/>
                <a:gd name="connsiteY8" fmla="*/ 13145 h 370046"/>
                <a:gd name="connsiteX9" fmla="*/ 556743 w 655839"/>
                <a:gd name="connsiteY9" fmla="*/ 0 h 370046"/>
                <a:gd name="connsiteX10" fmla="*/ 543598 w 655839"/>
                <a:gd name="connsiteY10" fmla="*/ 13145 h 370046"/>
                <a:gd name="connsiteX11" fmla="*/ 543598 w 655839"/>
                <a:gd name="connsiteY11" fmla="*/ 32671 h 370046"/>
                <a:gd name="connsiteX12" fmla="*/ 532645 w 655839"/>
                <a:gd name="connsiteY12" fmla="*/ 32671 h 370046"/>
                <a:gd name="connsiteX13" fmla="*/ 519500 w 655839"/>
                <a:gd name="connsiteY13" fmla="*/ 45815 h 370046"/>
                <a:gd name="connsiteX14" fmla="*/ 532645 w 655839"/>
                <a:gd name="connsiteY14" fmla="*/ 58960 h 370046"/>
                <a:gd name="connsiteX15" fmla="*/ 543598 w 655839"/>
                <a:gd name="connsiteY15" fmla="*/ 58960 h 370046"/>
                <a:gd name="connsiteX16" fmla="*/ 543598 w 655839"/>
                <a:gd name="connsiteY16" fmla="*/ 178879 h 370046"/>
                <a:gd name="connsiteX17" fmla="*/ 487306 w 655839"/>
                <a:gd name="connsiteY17" fmla="*/ 178879 h 370046"/>
                <a:gd name="connsiteX18" fmla="*/ 487306 w 655839"/>
                <a:gd name="connsiteY18" fmla="*/ 116777 h 370046"/>
                <a:gd name="connsiteX19" fmla="*/ 474161 w 655839"/>
                <a:gd name="connsiteY19" fmla="*/ 103632 h 370046"/>
                <a:gd name="connsiteX20" fmla="*/ 365386 w 655839"/>
                <a:gd name="connsiteY20" fmla="*/ 103632 h 370046"/>
                <a:gd name="connsiteX21" fmla="*/ 365386 w 655839"/>
                <a:gd name="connsiteY21" fmla="*/ 77248 h 370046"/>
                <a:gd name="connsiteX22" fmla="*/ 352241 w 655839"/>
                <a:gd name="connsiteY22" fmla="*/ 64103 h 370046"/>
                <a:gd name="connsiteX23" fmla="*/ 231940 w 655839"/>
                <a:gd name="connsiteY23" fmla="*/ 64103 h 370046"/>
                <a:gd name="connsiteX24" fmla="*/ 231940 w 655839"/>
                <a:gd name="connsiteY24" fmla="*/ 47530 h 370046"/>
                <a:gd name="connsiteX25" fmla="*/ 218796 w 655839"/>
                <a:gd name="connsiteY25" fmla="*/ 34385 h 370046"/>
                <a:gd name="connsiteX26" fmla="*/ 77350 w 655839"/>
                <a:gd name="connsiteY26" fmla="*/ 34385 h 370046"/>
                <a:gd name="connsiteX27" fmla="*/ 64205 w 655839"/>
                <a:gd name="connsiteY27" fmla="*/ 47530 h 370046"/>
                <a:gd name="connsiteX28" fmla="*/ 64205 w 655839"/>
                <a:gd name="connsiteY28" fmla="*/ 178784 h 370046"/>
                <a:gd name="connsiteX29" fmla="*/ 13151 w 655839"/>
                <a:gd name="connsiteY29" fmla="*/ 178784 h 370046"/>
                <a:gd name="connsiteX30" fmla="*/ 1912 w 655839"/>
                <a:gd name="connsiteY30" fmla="*/ 185071 h 370046"/>
                <a:gd name="connsiteX31" fmla="*/ 1531 w 655839"/>
                <a:gd name="connsiteY31" fmla="*/ 197929 h 370046"/>
                <a:gd name="connsiteX32" fmla="*/ 57633 w 655839"/>
                <a:gd name="connsiteY32" fmla="*/ 305753 h 370046"/>
                <a:gd name="connsiteX33" fmla="*/ 161551 w 655839"/>
                <a:gd name="connsiteY33" fmla="*/ 370046 h 370046"/>
                <a:gd name="connsiteX34" fmla="*/ 496545 w 655839"/>
                <a:gd name="connsiteY34" fmla="*/ 370046 h 370046"/>
                <a:gd name="connsiteX35" fmla="*/ 600463 w 655839"/>
                <a:gd name="connsiteY35" fmla="*/ 305753 h 370046"/>
                <a:gd name="connsiteX36" fmla="*/ 654469 w 655839"/>
                <a:gd name="connsiteY36" fmla="*/ 197739 h 370046"/>
                <a:gd name="connsiteX37" fmla="*/ 653898 w 655839"/>
                <a:gd name="connsiteY37" fmla="*/ 184976 h 370046"/>
                <a:gd name="connsiteX38" fmla="*/ 461207 w 655839"/>
                <a:gd name="connsiteY38" fmla="*/ 129826 h 370046"/>
                <a:gd name="connsiteX39" fmla="*/ 461207 w 655839"/>
                <a:gd name="connsiteY39" fmla="*/ 178784 h 370046"/>
                <a:gd name="connsiteX40" fmla="*/ 365481 w 655839"/>
                <a:gd name="connsiteY40" fmla="*/ 178784 h 370046"/>
                <a:gd name="connsiteX41" fmla="*/ 365481 w 655839"/>
                <a:gd name="connsiteY41" fmla="*/ 129826 h 370046"/>
                <a:gd name="connsiteX42" fmla="*/ 461207 w 655839"/>
                <a:gd name="connsiteY42" fmla="*/ 129826 h 370046"/>
                <a:gd name="connsiteX43" fmla="*/ 339287 w 655839"/>
                <a:gd name="connsiteY43" fmla="*/ 90297 h 370046"/>
                <a:gd name="connsiteX44" fmla="*/ 339287 w 655839"/>
                <a:gd name="connsiteY44" fmla="*/ 178784 h 370046"/>
                <a:gd name="connsiteX45" fmla="*/ 232036 w 655839"/>
                <a:gd name="connsiteY45" fmla="*/ 178784 h 370046"/>
                <a:gd name="connsiteX46" fmla="*/ 232036 w 655839"/>
                <a:gd name="connsiteY46" fmla="*/ 90297 h 370046"/>
                <a:gd name="connsiteX47" fmla="*/ 339287 w 655839"/>
                <a:gd name="connsiteY47" fmla="*/ 90297 h 370046"/>
                <a:gd name="connsiteX48" fmla="*/ 90399 w 655839"/>
                <a:gd name="connsiteY48" fmla="*/ 60674 h 370046"/>
                <a:gd name="connsiteX49" fmla="*/ 205842 w 655839"/>
                <a:gd name="connsiteY49" fmla="*/ 60674 h 370046"/>
                <a:gd name="connsiteX50" fmla="*/ 205842 w 655839"/>
                <a:gd name="connsiteY50" fmla="*/ 178879 h 370046"/>
                <a:gd name="connsiteX51" fmla="*/ 90399 w 655839"/>
                <a:gd name="connsiteY51" fmla="*/ 178879 h 370046"/>
                <a:gd name="connsiteX52" fmla="*/ 90399 w 655839"/>
                <a:gd name="connsiteY52" fmla="*/ 60674 h 370046"/>
                <a:gd name="connsiteX53" fmla="*/ 577031 w 655839"/>
                <a:gd name="connsiteY53" fmla="*/ 294132 h 370046"/>
                <a:gd name="connsiteX54" fmla="*/ 496545 w 655839"/>
                <a:gd name="connsiteY54" fmla="*/ 343948 h 370046"/>
                <a:gd name="connsiteX55" fmla="*/ 161646 w 655839"/>
                <a:gd name="connsiteY55" fmla="*/ 343948 h 370046"/>
                <a:gd name="connsiteX56" fmla="*/ 80969 w 655839"/>
                <a:gd name="connsiteY56" fmla="*/ 293942 h 370046"/>
                <a:gd name="connsiteX57" fmla="*/ 34678 w 655839"/>
                <a:gd name="connsiteY57" fmla="*/ 205073 h 370046"/>
                <a:gd name="connsiteX58" fmla="*/ 621513 w 655839"/>
                <a:gd name="connsiteY58" fmla="*/ 205073 h 370046"/>
                <a:gd name="connsiteX59" fmla="*/ 577031 w 655839"/>
                <a:gd name="connsiteY59" fmla="*/ 294132 h 37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655839" h="370046">
                  <a:moveTo>
                    <a:pt x="653898" y="185071"/>
                  </a:moveTo>
                  <a:cubicBezTo>
                    <a:pt x="651517" y="181261"/>
                    <a:pt x="647326" y="178879"/>
                    <a:pt x="642754" y="178879"/>
                  </a:cubicBezTo>
                  <a:lnTo>
                    <a:pt x="569887" y="178879"/>
                  </a:lnTo>
                  <a:lnTo>
                    <a:pt x="569887" y="58960"/>
                  </a:lnTo>
                  <a:lnTo>
                    <a:pt x="580841" y="58960"/>
                  </a:lnTo>
                  <a:cubicBezTo>
                    <a:pt x="588080" y="58960"/>
                    <a:pt x="593986" y="53054"/>
                    <a:pt x="593986" y="45815"/>
                  </a:cubicBezTo>
                  <a:cubicBezTo>
                    <a:pt x="593986" y="38576"/>
                    <a:pt x="588080" y="32671"/>
                    <a:pt x="580841" y="32671"/>
                  </a:cubicBezTo>
                  <a:lnTo>
                    <a:pt x="569887" y="32671"/>
                  </a:lnTo>
                  <a:lnTo>
                    <a:pt x="569887" y="13145"/>
                  </a:lnTo>
                  <a:cubicBezTo>
                    <a:pt x="569887" y="5906"/>
                    <a:pt x="563982" y="0"/>
                    <a:pt x="556743" y="0"/>
                  </a:cubicBezTo>
                  <a:cubicBezTo>
                    <a:pt x="549504" y="0"/>
                    <a:pt x="543598" y="5906"/>
                    <a:pt x="543598" y="13145"/>
                  </a:cubicBezTo>
                  <a:lnTo>
                    <a:pt x="543598" y="32671"/>
                  </a:lnTo>
                  <a:lnTo>
                    <a:pt x="532645" y="32671"/>
                  </a:lnTo>
                  <a:cubicBezTo>
                    <a:pt x="525406" y="32671"/>
                    <a:pt x="519500" y="38576"/>
                    <a:pt x="519500" y="45815"/>
                  </a:cubicBezTo>
                  <a:cubicBezTo>
                    <a:pt x="519500" y="53054"/>
                    <a:pt x="525406" y="58960"/>
                    <a:pt x="532645" y="58960"/>
                  </a:cubicBezTo>
                  <a:lnTo>
                    <a:pt x="543598" y="58960"/>
                  </a:lnTo>
                  <a:lnTo>
                    <a:pt x="543598" y="178879"/>
                  </a:lnTo>
                  <a:lnTo>
                    <a:pt x="487306" y="178879"/>
                  </a:lnTo>
                  <a:lnTo>
                    <a:pt x="487306" y="116777"/>
                  </a:lnTo>
                  <a:cubicBezTo>
                    <a:pt x="487306" y="109538"/>
                    <a:pt x="481400" y="103632"/>
                    <a:pt x="474161" y="103632"/>
                  </a:cubicBezTo>
                  <a:lnTo>
                    <a:pt x="365386" y="103632"/>
                  </a:lnTo>
                  <a:lnTo>
                    <a:pt x="365386" y="77248"/>
                  </a:lnTo>
                  <a:cubicBezTo>
                    <a:pt x="365386" y="70009"/>
                    <a:pt x="359480" y="64103"/>
                    <a:pt x="352241" y="64103"/>
                  </a:cubicBezTo>
                  <a:lnTo>
                    <a:pt x="231940" y="64103"/>
                  </a:lnTo>
                  <a:lnTo>
                    <a:pt x="231940" y="47530"/>
                  </a:lnTo>
                  <a:cubicBezTo>
                    <a:pt x="231940" y="40291"/>
                    <a:pt x="226035" y="34385"/>
                    <a:pt x="218796" y="34385"/>
                  </a:cubicBezTo>
                  <a:lnTo>
                    <a:pt x="77350" y="34385"/>
                  </a:lnTo>
                  <a:cubicBezTo>
                    <a:pt x="70111" y="34385"/>
                    <a:pt x="64205" y="40291"/>
                    <a:pt x="64205" y="47530"/>
                  </a:cubicBezTo>
                  <a:lnTo>
                    <a:pt x="64205" y="178784"/>
                  </a:lnTo>
                  <a:lnTo>
                    <a:pt x="13151" y="178784"/>
                  </a:lnTo>
                  <a:cubicBezTo>
                    <a:pt x="8579" y="178784"/>
                    <a:pt x="4293" y="181166"/>
                    <a:pt x="1912" y="185071"/>
                  </a:cubicBezTo>
                  <a:cubicBezTo>
                    <a:pt x="-470" y="188976"/>
                    <a:pt x="-660" y="193834"/>
                    <a:pt x="1531" y="197929"/>
                  </a:cubicBezTo>
                  <a:lnTo>
                    <a:pt x="57633" y="305753"/>
                  </a:lnTo>
                  <a:cubicBezTo>
                    <a:pt x="77445" y="345377"/>
                    <a:pt x="117259" y="370046"/>
                    <a:pt x="161551" y="370046"/>
                  </a:cubicBezTo>
                  <a:lnTo>
                    <a:pt x="496545" y="370046"/>
                  </a:lnTo>
                  <a:cubicBezTo>
                    <a:pt x="540836" y="370046"/>
                    <a:pt x="580651" y="345472"/>
                    <a:pt x="600463" y="305753"/>
                  </a:cubicBezTo>
                  <a:lnTo>
                    <a:pt x="654469" y="197739"/>
                  </a:lnTo>
                  <a:cubicBezTo>
                    <a:pt x="656470" y="193643"/>
                    <a:pt x="656279" y="188881"/>
                    <a:pt x="653898" y="184976"/>
                  </a:cubicBezTo>
                  <a:close/>
                  <a:moveTo>
                    <a:pt x="461207" y="129826"/>
                  </a:moveTo>
                  <a:lnTo>
                    <a:pt x="461207" y="178784"/>
                  </a:lnTo>
                  <a:lnTo>
                    <a:pt x="365481" y="178784"/>
                  </a:lnTo>
                  <a:lnTo>
                    <a:pt x="365481" y="129826"/>
                  </a:lnTo>
                  <a:lnTo>
                    <a:pt x="461207" y="129826"/>
                  </a:lnTo>
                  <a:close/>
                  <a:moveTo>
                    <a:pt x="339287" y="90297"/>
                  </a:moveTo>
                  <a:lnTo>
                    <a:pt x="339287" y="178784"/>
                  </a:lnTo>
                  <a:lnTo>
                    <a:pt x="232036" y="178784"/>
                  </a:lnTo>
                  <a:lnTo>
                    <a:pt x="232036" y="90297"/>
                  </a:lnTo>
                  <a:lnTo>
                    <a:pt x="339287" y="90297"/>
                  </a:lnTo>
                  <a:close/>
                  <a:moveTo>
                    <a:pt x="90399" y="60674"/>
                  </a:moveTo>
                  <a:lnTo>
                    <a:pt x="205842" y="60674"/>
                  </a:lnTo>
                  <a:lnTo>
                    <a:pt x="205842" y="178879"/>
                  </a:lnTo>
                  <a:lnTo>
                    <a:pt x="90399" y="178879"/>
                  </a:lnTo>
                  <a:lnTo>
                    <a:pt x="90399" y="60674"/>
                  </a:lnTo>
                  <a:close/>
                  <a:moveTo>
                    <a:pt x="577031" y="294132"/>
                  </a:moveTo>
                  <a:cubicBezTo>
                    <a:pt x="561696" y="324803"/>
                    <a:pt x="530835" y="343948"/>
                    <a:pt x="496545" y="343948"/>
                  </a:cubicBezTo>
                  <a:lnTo>
                    <a:pt x="161646" y="343948"/>
                  </a:lnTo>
                  <a:cubicBezTo>
                    <a:pt x="127356" y="343948"/>
                    <a:pt x="96495" y="324898"/>
                    <a:pt x="80969" y="293942"/>
                  </a:cubicBezTo>
                  <a:lnTo>
                    <a:pt x="34678" y="205073"/>
                  </a:lnTo>
                  <a:lnTo>
                    <a:pt x="621513" y="205073"/>
                  </a:lnTo>
                  <a:lnTo>
                    <a:pt x="577031" y="294132"/>
                  </a:ln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5" name="Agrupar 154">
            <a:extLst>
              <a:ext uri="{FF2B5EF4-FFF2-40B4-BE49-F238E27FC236}">
                <a16:creationId xmlns:a16="http://schemas.microsoft.com/office/drawing/2014/main" id="{17953E1A-98CA-C870-8257-FE8A6A3AAB13}"/>
              </a:ext>
            </a:extLst>
          </p:cNvPr>
          <p:cNvGrpSpPr/>
          <p:nvPr/>
        </p:nvGrpSpPr>
        <p:grpSpPr>
          <a:xfrm>
            <a:off x="6375247" y="4316350"/>
            <a:ext cx="828098" cy="828098"/>
            <a:chOff x="6375247" y="4316350"/>
            <a:chExt cx="828098" cy="828098"/>
          </a:xfrm>
        </p:grpSpPr>
        <p:sp>
          <p:nvSpPr>
            <p:cNvPr id="51" name="Elipse 50">
              <a:extLst>
                <a:ext uri="{FF2B5EF4-FFF2-40B4-BE49-F238E27FC236}">
                  <a16:creationId xmlns:a16="http://schemas.microsoft.com/office/drawing/2014/main" id="{E04D9CA3-F0C7-C5AA-8BDA-0F8605A59384}"/>
                </a:ext>
              </a:extLst>
            </p:cNvPr>
            <p:cNvSpPr/>
            <p:nvPr/>
          </p:nvSpPr>
          <p:spPr>
            <a:xfrm>
              <a:off x="6375247" y="4316350"/>
              <a:ext cx="828098" cy="828098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98">
              <a:extLst>
                <a:ext uri="{FF2B5EF4-FFF2-40B4-BE49-F238E27FC236}">
                  <a16:creationId xmlns:a16="http://schemas.microsoft.com/office/drawing/2014/main" id="{A02B8C7C-6123-C348-4618-C61E099EB180}"/>
                </a:ext>
              </a:extLst>
            </p:cNvPr>
            <p:cNvSpPr/>
            <p:nvPr/>
          </p:nvSpPr>
          <p:spPr>
            <a:xfrm>
              <a:off x="6514165" y="4558359"/>
              <a:ext cx="573522" cy="371768"/>
            </a:xfrm>
            <a:custGeom>
              <a:avLst/>
              <a:gdLst>
                <a:gd name="connsiteX0" fmla="*/ 636175 w 655796"/>
                <a:gd name="connsiteY0" fmla="*/ 196691 h 425100"/>
                <a:gd name="connsiteX1" fmla="*/ 581597 w 655796"/>
                <a:gd name="connsiteY1" fmla="*/ 175451 h 425100"/>
                <a:gd name="connsiteX2" fmla="*/ 541496 w 655796"/>
                <a:gd name="connsiteY2" fmla="*/ 98203 h 425100"/>
                <a:gd name="connsiteX3" fmla="*/ 514160 w 655796"/>
                <a:gd name="connsiteY3" fmla="*/ 81534 h 425100"/>
                <a:gd name="connsiteX4" fmla="*/ 440246 w 655796"/>
                <a:gd name="connsiteY4" fmla="*/ 81534 h 425100"/>
                <a:gd name="connsiteX5" fmla="*/ 440246 w 655796"/>
                <a:gd name="connsiteY5" fmla="*/ 13145 h 425100"/>
                <a:gd name="connsiteX6" fmla="*/ 427101 w 655796"/>
                <a:gd name="connsiteY6" fmla="*/ 0 h 425100"/>
                <a:gd name="connsiteX7" fmla="*/ 13145 w 655796"/>
                <a:gd name="connsiteY7" fmla="*/ 0 h 425100"/>
                <a:gd name="connsiteX8" fmla="*/ 0 w 655796"/>
                <a:gd name="connsiteY8" fmla="*/ 13145 h 425100"/>
                <a:gd name="connsiteX9" fmla="*/ 0 w 655796"/>
                <a:gd name="connsiteY9" fmla="*/ 285941 h 425100"/>
                <a:gd name="connsiteX10" fmla="*/ 13145 w 655796"/>
                <a:gd name="connsiteY10" fmla="*/ 299085 h 425100"/>
                <a:gd name="connsiteX11" fmla="*/ 19717 w 655796"/>
                <a:gd name="connsiteY11" fmla="*/ 299085 h 425100"/>
                <a:gd name="connsiteX12" fmla="*/ 19717 w 655796"/>
                <a:gd name="connsiteY12" fmla="*/ 346043 h 425100"/>
                <a:gd name="connsiteX13" fmla="*/ 32861 w 655796"/>
                <a:gd name="connsiteY13" fmla="*/ 359188 h 425100"/>
                <a:gd name="connsiteX14" fmla="*/ 63722 w 655796"/>
                <a:gd name="connsiteY14" fmla="*/ 359188 h 425100"/>
                <a:gd name="connsiteX15" fmla="*/ 139065 w 655796"/>
                <a:gd name="connsiteY15" fmla="*/ 425101 h 425100"/>
                <a:gd name="connsiteX16" fmla="*/ 213932 w 655796"/>
                <a:gd name="connsiteY16" fmla="*/ 362141 h 425100"/>
                <a:gd name="connsiteX17" fmla="*/ 420910 w 655796"/>
                <a:gd name="connsiteY17" fmla="*/ 362141 h 425100"/>
                <a:gd name="connsiteX18" fmla="*/ 495776 w 655796"/>
                <a:gd name="connsiteY18" fmla="*/ 425101 h 425100"/>
                <a:gd name="connsiteX19" fmla="*/ 570643 w 655796"/>
                <a:gd name="connsiteY19" fmla="*/ 362141 h 425100"/>
                <a:gd name="connsiteX20" fmla="*/ 642652 w 655796"/>
                <a:gd name="connsiteY20" fmla="*/ 362141 h 425100"/>
                <a:gd name="connsiteX21" fmla="*/ 655796 w 655796"/>
                <a:gd name="connsiteY21" fmla="*/ 348996 h 425100"/>
                <a:gd name="connsiteX22" fmla="*/ 655796 w 655796"/>
                <a:gd name="connsiteY22" fmla="*/ 225552 h 425100"/>
                <a:gd name="connsiteX23" fmla="*/ 636080 w 655796"/>
                <a:gd name="connsiteY23" fmla="*/ 196786 h 425100"/>
                <a:gd name="connsiteX24" fmla="*/ 518255 w 655796"/>
                <a:gd name="connsiteY24" fmla="*/ 110300 h 425100"/>
                <a:gd name="connsiteX25" fmla="*/ 552069 w 655796"/>
                <a:gd name="connsiteY25" fmla="*/ 175451 h 425100"/>
                <a:gd name="connsiteX26" fmla="*/ 478822 w 655796"/>
                <a:gd name="connsiteY26" fmla="*/ 175451 h 425100"/>
                <a:gd name="connsiteX27" fmla="*/ 478822 w 655796"/>
                <a:gd name="connsiteY27" fmla="*/ 107823 h 425100"/>
                <a:gd name="connsiteX28" fmla="*/ 514160 w 655796"/>
                <a:gd name="connsiteY28" fmla="*/ 107823 h 425100"/>
                <a:gd name="connsiteX29" fmla="*/ 518255 w 655796"/>
                <a:gd name="connsiteY29" fmla="*/ 110300 h 425100"/>
                <a:gd name="connsiteX30" fmla="*/ 414052 w 655796"/>
                <a:gd name="connsiteY30" fmla="*/ 26289 h 425100"/>
                <a:gd name="connsiteX31" fmla="*/ 414052 w 655796"/>
                <a:gd name="connsiteY31" fmla="*/ 81534 h 425100"/>
                <a:gd name="connsiteX32" fmla="*/ 366522 w 655796"/>
                <a:gd name="connsiteY32" fmla="*/ 81534 h 425100"/>
                <a:gd name="connsiteX33" fmla="*/ 335852 w 655796"/>
                <a:gd name="connsiteY33" fmla="*/ 112205 h 425100"/>
                <a:gd name="connsiteX34" fmla="*/ 335852 w 655796"/>
                <a:gd name="connsiteY34" fmla="*/ 175451 h 425100"/>
                <a:gd name="connsiteX35" fmla="*/ 26289 w 655796"/>
                <a:gd name="connsiteY35" fmla="*/ 175451 h 425100"/>
                <a:gd name="connsiteX36" fmla="*/ 26289 w 655796"/>
                <a:gd name="connsiteY36" fmla="*/ 26289 h 425100"/>
                <a:gd name="connsiteX37" fmla="*/ 413957 w 655796"/>
                <a:gd name="connsiteY37" fmla="*/ 26289 h 425100"/>
                <a:gd name="connsiteX38" fmla="*/ 26289 w 655796"/>
                <a:gd name="connsiteY38" fmla="*/ 272796 h 425100"/>
                <a:gd name="connsiteX39" fmla="*/ 26289 w 655796"/>
                <a:gd name="connsiteY39" fmla="*/ 201740 h 425100"/>
                <a:gd name="connsiteX40" fmla="*/ 335756 w 655796"/>
                <a:gd name="connsiteY40" fmla="*/ 201740 h 425100"/>
                <a:gd name="connsiteX41" fmla="*/ 335756 w 655796"/>
                <a:gd name="connsiteY41" fmla="*/ 272796 h 425100"/>
                <a:gd name="connsiteX42" fmla="*/ 26289 w 655796"/>
                <a:gd name="connsiteY42" fmla="*/ 272796 h 425100"/>
                <a:gd name="connsiteX43" fmla="*/ 46006 w 655796"/>
                <a:gd name="connsiteY43" fmla="*/ 299085 h 425100"/>
                <a:gd name="connsiteX44" fmla="*/ 81724 w 655796"/>
                <a:gd name="connsiteY44" fmla="*/ 299085 h 425100"/>
                <a:gd name="connsiteX45" fmla="*/ 64770 w 655796"/>
                <a:gd name="connsiteY45" fmla="*/ 332899 h 425100"/>
                <a:gd name="connsiteX46" fmla="*/ 46006 w 655796"/>
                <a:gd name="connsiteY46" fmla="*/ 332899 h 425100"/>
                <a:gd name="connsiteX47" fmla="*/ 46006 w 655796"/>
                <a:gd name="connsiteY47" fmla="*/ 299085 h 425100"/>
                <a:gd name="connsiteX48" fmla="*/ 139065 w 655796"/>
                <a:gd name="connsiteY48" fmla="*/ 398717 h 425100"/>
                <a:gd name="connsiteX49" fmla="*/ 89249 w 655796"/>
                <a:gd name="connsiteY49" fmla="*/ 348901 h 425100"/>
                <a:gd name="connsiteX50" fmla="*/ 139065 w 655796"/>
                <a:gd name="connsiteY50" fmla="*/ 299085 h 425100"/>
                <a:gd name="connsiteX51" fmla="*/ 188881 w 655796"/>
                <a:gd name="connsiteY51" fmla="*/ 348901 h 425100"/>
                <a:gd name="connsiteX52" fmla="*/ 139065 w 655796"/>
                <a:gd name="connsiteY52" fmla="*/ 398717 h 425100"/>
                <a:gd name="connsiteX53" fmla="*/ 495776 w 655796"/>
                <a:gd name="connsiteY53" fmla="*/ 398717 h 425100"/>
                <a:gd name="connsiteX54" fmla="*/ 445961 w 655796"/>
                <a:gd name="connsiteY54" fmla="*/ 348901 h 425100"/>
                <a:gd name="connsiteX55" fmla="*/ 495776 w 655796"/>
                <a:gd name="connsiteY55" fmla="*/ 299085 h 425100"/>
                <a:gd name="connsiteX56" fmla="*/ 545592 w 655796"/>
                <a:gd name="connsiteY56" fmla="*/ 348901 h 425100"/>
                <a:gd name="connsiteX57" fmla="*/ 495776 w 655796"/>
                <a:gd name="connsiteY57" fmla="*/ 398717 h 425100"/>
                <a:gd name="connsiteX58" fmla="*/ 629507 w 655796"/>
                <a:gd name="connsiteY58" fmla="*/ 335756 h 425100"/>
                <a:gd name="connsiteX59" fmla="*/ 570643 w 655796"/>
                <a:gd name="connsiteY59" fmla="*/ 335756 h 425100"/>
                <a:gd name="connsiteX60" fmla="*/ 495776 w 655796"/>
                <a:gd name="connsiteY60" fmla="*/ 272796 h 425100"/>
                <a:gd name="connsiteX61" fmla="*/ 420910 w 655796"/>
                <a:gd name="connsiteY61" fmla="*/ 335756 h 425100"/>
                <a:gd name="connsiteX62" fmla="*/ 213932 w 655796"/>
                <a:gd name="connsiteY62" fmla="*/ 335756 h 425100"/>
                <a:gd name="connsiteX63" fmla="*/ 196406 w 655796"/>
                <a:gd name="connsiteY63" fmla="*/ 299085 h 425100"/>
                <a:gd name="connsiteX64" fmla="*/ 348901 w 655796"/>
                <a:gd name="connsiteY64" fmla="*/ 299085 h 425100"/>
                <a:gd name="connsiteX65" fmla="*/ 362045 w 655796"/>
                <a:gd name="connsiteY65" fmla="*/ 285941 h 425100"/>
                <a:gd name="connsiteX66" fmla="*/ 362045 w 655796"/>
                <a:gd name="connsiteY66" fmla="*/ 112205 h 425100"/>
                <a:gd name="connsiteX67" fmla="*/ 366427 w 655796"/>
                <a:gd name="connsiteY67" fmla="*/ 107823 h 425100"/>
                <a:gd name="connsiteX68" fmla="*/ 452533 w 655796"/>
                <a:gd name="connsiteY68" fmla="*/ 107823 h 425100"/>
                <a:gd name="connsiteX69" fmla="*/ 452533 w 655796"/>
                <a:gd name="connsiteY69" fmla="*/ 188595 h 425100"/>
                <a:gd name="connsiteX70" fmla="*/ 465677 w 655796"/>
                <a:gd name="connsiteY70" fmla="*/ 201740 h 425100"/>
                <a:gd name="connsiteX71" fmla="*/ 576644 w 655796"/>
                <a:gd name="connsiteY71" fmla="*/ 201740 h 425100"/>
                <a:gd name="connsiteX72" fmla="*/ 626650 w 655796"/>
                <a:gd name="connsiteY72" fmla="*/ 221171 h 425100"/>
                <a:gd name="connsiteX73" fmla="*/ 629603 w 655796"/>
                <a:gd name="connsiteY73" fmla="*/ 225457 h 425100"/>
                <a:gd name="connsiteX74" fmla="*/ 629603 w 655796"/>
                <a:gd name="connsiteY74" fmla="*/ 335852 h 42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655796" h="425100">
                  <a:moveTo>
                    <a:pt x="636175" y="196691"/>
                  </a:moveTo>
                  <a:lnTo>
                    <a:pt x="581597" y="175451"/>
                  </a:lnTo>
                  <a:lnTo>
                    <a:pt x="541496" y="98203"/>
                  </a:lnTo>
                  <a:cubicBezTo>
                    <a:pt x="536162" y="87916"/>
                    <a:pt x="525685" y="81534"/>
                    <a:pt x="514160" y="81534"/>
                  </a:cubicBezTo>
                  <a:lnTo>
                    <a:pt x="440246" y="81534"/>
                  </a:lnTo>
                  <a:lnTo>
                    <a:pt x="440246" y="13145"/>
                  </a:lnTo>
                  <a:cubicBezTo>
                    <a:pt x="440246" y="5906"/>
                    <a:pt x="434340" y="0"/>
                    <a:pt x="427101" y="0"/>
                  </a:cubicBezTo>
                  <a:lnTo>
                    <a:pt x="13145" y="0"/>
                  </a:lnTo>
                  <a:cubicBezTo>
                    <a:pt x="5906" y="0"/>
                    <a:pt x="0" y="5906"/>
                    <a:pt x="0" y="13145"/>
                  </a:cubicBezTo>
                  <a:lnTo>
                    <a:pt x="0" y="285941"/>
                  </a:lnTo>
                  <a:cubicBezTo>
                    <a:pt x="0" y="293180"/>
                    <a:pt x="5906" y="299085"/>
                    <a:pt x="13145" y="299085"/>
                  </a:cubicBezTo>
                  <a:lnTo>
                    <a:pt x="19717" y="299085"/>
                  </a:lnTo>
                  <a:lnTo>
                    <a:pt x="19717" y="346043"/>
                  </a:lnTo>
                  <a:cubicBezTo>
                    <a:pt x="19717" y="353282"/>
                    <a:pt x="25622" y="359188"/>
                    <a:pt x="32861" y="359188"/>
                  </a:cubicBezTo>
                  <a:lnTo>
                    <a:pt x="63722" y="359188"/>
                  </a:lnTo>
                  <a:cubicBezTo>
                    <a:pt x="68771" y="396335"/>
                    <a:pt x="100584" y="425101"/>
                    <a:pt x="139065" y="425101"/>
                  </a:cubicBezTo>
                  <a:cubicBezTo>
                    <a:pt x="177546" y="425101"/>
                    <a:pt x="207645" y="397859"/>
                    <a:pt x="213932" y="362141"/>
                  </a:cubicBezTo>
                  <a:lnTo>
                    <a:pt x="420910" y="362141"/>
                  </a:lnTo>
                  <a:cubicBezTo>
                    <a:pt x="427196" y="397859"/>
                    <a:pt x="458343" y="425101"/>
                    <a:pt x="495776" y="425101"/>
                  </a:cubicBezTo>
                  <a:cubicBezTo>
                    <a:pt x="533210" y="425101"/>
                    <a:pt x="564356" y="397859"/>
                    <a:pt x="570643" y="362141"/>
                  </a:cubicBezTo>
                  <a:lnTo>
                    <a:pt x="642652" y="362141"/>
                  </a:lnTo>
                  <a:cubicBezTo>
                    <a:pt x="649891" y="362141"/>
                    <a:pt x="655796" y="356235"/>
                    <a:pt x="655796" y="348996"/>
                  </a:cubicBezTo>
                  <a:lnTo>
                    <a:pt x="655796" y="225552"/>
                  </a:lnTo>
                  <a:cubicBezTo>
                    <a:pt x="655796" y="212789"/>
                    <a:pt x="648081" y="201454"/>
                    <a:pt x="636080" y="196786"/>
                  </a:cubicBezTo>
                  <a:close/>
                  <a:moveTo>
                    <a:pt x="518255" y="110300"/>
                  </a:moveTo>
                  <a:lnTo>
                    <a:pt x="552069" y="175451"/>
                  </a:lnTo>
                  <a:lnTo>
                    <a:pt x="478822" y="175451"/>
                  </a:lnTo>
                  <a:lnTo>
                    <a:pt x="478822" y="107823"/>
                  </a:lnTo>
                  <a:lnTo>
                    <a:pt x="514160" y="107823"/>
                  </a:lnTo>
                  <a:cubicBezTo>
                    <a:pt x="515874" y="107823"/>
                    <a:pt x="517398" y="108776"/>
                    <a:pt x="518255" y="110300"/>
                  </a:cubicBezTo>
                  <a:close/>
                  <a:moveTo>
                    <a:pt x="414052" y="26289"/>
                  </a:moveTo>
                  <a:lnTo>
                    <a:pt x="414052" y="81534"/>
                  </a:lnTo>
                  <a:lnTo>
                    <a:pt x="366522" y="81534"/>
                  </a:lnTo>
                  <a:cubicBezTo>
                    <a:pt x="349568" y="81534"/>
                    <a:pt x="335852" y="95250"/>
                    <a:pt x="335852" y="112205"/>
                  </a:cubicBezTo>
                  <a:lnTo>
                    <a:pt x="335852" y="175451"/>
                  </a:lnTo>
                  <a:lnTo>
                    <a:pt x="26289" y="175451"/>
                  </a:lnTo>
                  <a:lnTo>
                    <a:pt x="26289" y="26289"/>
                  </a:lnTo>
                  <a:lnTo>
                    <a:pt x="413957" y="26289"/>
                  </a:lnTo>
                  <a:close/>
                  <a:moveTo>
                    <a:pt x="26289" y="272796"/>
                  </a:moveTo>
                  <a:lnTo>
                    <a:pt x="26289" y="201740"/>
                  </a:lnTo>
                  <a:lnTo>
                    <a:pt x="335756" y="201740"/>
                  </a:lnTo>
                  <a:lnTo>
                    <a:pt x="335756" y="272796"/>
                  </a:lnTo>
                  <a:lnTo>
                    <a:pt x="26289" y="272796"/>
                  </a:lnTo>
                  <a:close/>
                  <a:moveTo>
                    <a:pt x="46006" y="299085"/>
                  </a:moveTo>
                  <a:lnTo>
                    <a:pt x="81724" y="299085"/>
                  </a:lnTo>
                  <a:cubicBezTo>
                    <a:pt x="73438" y="308610"/>
                    <a:pt x="67532" y="320135"/>
                    <a:pt x="64770" y="332899"/>
                  </a:cubicBezTo>
                  <a:lnTo>
                    <a:pt x="46006" y="332899"/>
                  </a:lnTo>
                  <a:lnTo>
                    <a:pt x="46006" y="299085"/>
                  </a:lnTo>
                  <a:close/>
                  <a:moveTo>
                    <a:pt x="139065" y="398717"/>
                  </a:moveTo>
                  <a:cubicBezTo>
                    <a:pt x="111633" y="398717"/>
                    <a:pt x="89249" y="376333"/>
                    <a:pt x="89249" y="348901"/>
                  </a:cubicBezTo>
                  <a:cubicBezTo>
                    <a:pt x="89249" y="321469"/>
                    <a:pt x="111633" y="299085"/>
                    <a:pt x="139065" y="299085"/>
                  </a:cubicBezTo>
                  <a:cubicBezTo>
                    <a:pt x="166497" y="299085"/>
                    <a:pt x="188881" y="321469"/>
                    <a:pt x="188881" y="348901"/>
                  </a:cubicBezTo>
                  <a:cubicBezTo>
                    <a:pt x="188881" y="376333"/>
                    <a:pt x="166497" y="398717"/>
                    <a:pt x="139065" y="398717"/>
                  </a:cubicBezTo>
                  <a:close/>
                  <a:moveTo>
                    <a:pt x="495776" y="398717"/>
                  </a:moveTo>
                  <a:cubicBezTo>
                    <a:pt x="468249" y="398717"/>
                    <a:pt x="445961" y="376333"/>
                    <a:pt x="445961" y="348901"/>
                  </a:cubicBezTo>
                  <a:cubicBezTo>
                    <a:pt x="445961" y="321469"/>
                    <a:pt x="468344" y="299085"/>
                    <a:pt x="495776" y="299085"/>
                  </a:cubicBezTo>
                  <a:cubicBezTo>
                    <a:pt x="523208" y="299085"/>
                    <a:pt x="545592" y="321469"/>
                    <a:pt x="545592" y="348901"/>
                  </a:cubicBezTo>
                  <a:cubicBezTo>
                    <a:pt x="545592" y="376333"/>
                    <a:pt x="523208" y="398717"/>
                    <a:pt x="495776" y="398717"/>
                  </a:cubicBezTo>
                  <a:close/>
                  <a:moveTo>
                    <a:pt x="629507" y="335756"/>
                  </a:moveTo>
                  <a:lnTo>
                    <a:pt x="570643" y="335756"/>
                  </a:lnTo>
                  <a:cubicBezTo>
                    <a:pt x="564356" y="300038"/>
                    <a:pt x="533210" y="272796"/>
                    <a:pt x="495776" y="272796"/>
                  </a:cubicBezTo>
                  <a:cubicBezTo>
                    <a:pt x="458343" y="272796"/>
                    <a:pt x="427196" y="300038"/>
                    <a:pt x="420910" y="335756"/>
                  </a:cubicBezTo>
                  <a:lnTo>
                    <a:pt x="213932" y="335756"/>
                  </a:lnTo>
                  <a:cubicBezTo>
                    <a:pt x="211455" y="321850"/>
                    <a:pt x="205359" y="309277"/>
                    <a:pt x="196406" y="299085"/>
                  </a:cubicBezTo>
                  <a:lnTo>
                    <a:pt x="348901" y="299085"/>
                  </a:lnTo>
                  <a:cubicBezTo>
                    <a:pt x="356140" y="299085"/>
                    <a:pt x="362045" y="293180"/>
                    <a:pt x="362045" y="285941"/>
                  </a:cubicBezTo>
                  <a:lnTo>
                    <a:pt x="362045" y="112205"/>
                  </a:lnTo>
                  <a:cubicBezTo>
                    <a:pt x="362045" y="109728"/>
                    <a:pt x="364046" y="107823"/>
                    <a:pt x="366427" y="107823"/>
                  </a:cubicBezTo>
                  <a:lnTo>
                    <a:pt x="452533" y="107823"/>
                  </a:lnTo>
                  <a:lnTo>
                    <a:pt x="452533" y="188595"/>
                  </a:lnTo>
                  <a:cubicBezTo>
                    <a:pt x="452533" y="195834"/>
                    <a:pt x="458438" y="201740"/>
                    <a:pt x="465677" y="201740"/>
                  </a:cubicBezTo>
                  <a:lnTo>
                    <a:pt x="576644" y="201740"/>
                  </a:lnTo>
                  <a:lnTo>
                    <a:pt x="626650" y="221171"/>
                  </a:lnTo>
                  <a:cubicBezTo>
                    <a:pt x="628460" y="221837"/>
                    <a:pt x="629603" y="223552"/>
                    <a:pt x="629603" y="225457"/>
                  </a:cubicBezTo>
                  <a:lnTo>
                    <a:pt x="629603" y="335852"/>
                  </a:ln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3" name="Graphic 13">
            <a:extLst>
              <a:ext uri="{FF2B5EF4-FFF2-40B4-BE49-F238E27FC236}">
                <a16:creationId xmlns:a16="http://schemas.microsoft.com/office/drawing/2014/main" id="{95BB0DE8-EAB1-7346-55E1-B3BFDE6CF573}"/>
              </a:ext>
            </a:extLst>
          </p:cNvPr>
          <p:cNvGrpSpPr/>
          <p:nvPr/>
        </p:nvGrpSpPr>
        <p:grpSpPr>
          <a:xfrm>
            <a:off x="6612557" y="3304321"/>
            <a:ext cx="426634" cy="462034"/>
            <a:chOff x="8221979" y="2219991"/>
            <a:chExt cx="605639" cy="655891"/>
          </a:xfrm>
          <a:solidFill>
            <a:schemeClr val="bg1"/>
          </a:solidFill>
        </p:grpSpPr>
        <p:sp>
          <p:nvSpPr>
            <p:cNvPr id="74" name="Freeform: Shape 83">
              <a:extLst>
                <a:ext uri="{FF2B5EF4-FFF2-40B4-BE49-F238E27FC236}">
                  <a16:creationId xmlns:a16="http://schemas.microsoft.com/office/drawing/2014/main" id="{3B0F8FC1-7BCD-4C73-EEB6-D7924621B0C3}"/>
                </a:ext>
              </a:extLst>
            </p:cNvPr>
            <p:cNvSpPr/>
            <p:nvPr/>
          </p:nvSpPr>
          <p:spPr>
            <a:xfrm>
              <a:off x="8345614" y="2298667"/>
              <a:ext cx="223646" cy="238696"/>
            </a:xfrm>
            <a:custGeom>
              <a:avLst/>
              <a:gdLst>
                <a:gd name="connsiteX0" fmla="*/ 210502 w 223646"/>
                <a:gd name="connsiteY0" fmla="*/ 95 h 238696"/>
                <a:gd name="connsiteX1" fmla="*/ 13144 w 223646"/>
                <a:gd name="connsiteY1" fmla="*/ 95 h 238696"/>
                <a:gd name="connsiteX2" fmla="*/ 0 w 223646"/>
                <a:gd name="connsiteY2" fmla="*/ 13240 h 238696"/>
                <a:gd name="connsiteX3" fmla="*/ 0 w 223646"/>
                <a:gd name="connsiteY3" fmla="*/ 225552 h 238696"/>
                <a:gd name="connsiteX4" fmla="*/ 13144 w 223646"/>
                <a:gd name="connsiteY4" fmla="*/ 238697 h 238696"/>
                <a:gd name="connsiteX5" fmla="*/ 210502 w 223646"/>
                <a:gd name="connsiteY5" fmla="*/ 238697 h 238696"/>
                <a:gd name="connsiteX6" fmla="*/ 223647 w 223646"/>
                <a:gd name="connsiteY6" fmla="*/ 225552 h 238696"/>
                <a:gd name="connsiteX7" fmla="*/ 223647 w 223646"/>
                <a:gd name="connsiteY7" fmla="*/ 13145 h 238696"/>
                <a:gd name="connsiteX8" fmla="*/ 210502 w 223646"/>
                <a:gd name="connsiteY8" fmla="*/ 0 h 238696"/>
                <a:gd name="connsiteX9" fmla="*/ 197358 w 223646"/>
                <a:gd name="connsiteY9" fmla="*/ 212408 h 238696"/>
                <a:gd name="connsiteX10" fmla="*/ 26289 w 223646"/>
                <a:gd name="connsiteY10" fmla="*/ 212408 h 238696"/>
                <a:gd name="connsiteX11" fmla="*/ 26289 w 223646"/>
                <a:gd name="connsiteY11" fmla="*/ 26289 h 238696"/>
                <a:gd name="connsiteX12" fmla="*/ 197358 w 223646"/>
                <a:gd name="connsiteY12" fmla="*/ 26289 h 238696"/>
                <a:gd name="connsiteX13" fmla="*/ 197358 w 223646"/>
                <a:gd name="connsiteY13" fmla="*/ 212408 h 238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3646" h="238696">
                  <a:moveTo>
                    <a:pt x="210502" y="95"/>
                  </a:moveTo>
                  <a:lnTo>
                    <a:pt x="13144" y="95"/>
                  </a:lnTo>
                  <a:cubicBezTo>
                    <a:pt x="5905" y="95"/>
                    <a:pt x="0" y="6001"/>
                    <a:pt x="0" y="13240"/>
                  </a:cubicBezTo>
                  <a:lnTo>
                    <a:pt x="0" y="225552"/>
                  </a:lnTo>
                  <a:cubicBezTo>
                    <a:pt x="0" y="232791"/>
                    <a:pt x="5905" y="238697"/>
                    <a:pt x="13144" y="238697"/>
                  </a:cubicBezTo>
                  <a:lnTo>
                    <a:pt x="210502" y="238697"/>
                  </a:lnTo>
                  <a:cubicBezTo>
                    <a:pt x="217742" y="238697"/>
                    <a:pt x="223647" y="232791"/>
                    <a:pt x="223647" y="225552"/>
                  </a:cubicBezTo>
                  <a:lnTo>
                    <a:pt x="223647" y="13145"/>
                  </a:lnTo>
                  <a:cubicBezTo>
                    <a:pt x="223647" y="5905"/>
                    <a:pt x="217742" y="0"/>
                    <a:pt x="210502" y="0"/>
                  </a:cubicBezTo>
                  <a:close/>
                  <a:moveTo>
                    <a:pt x="197358" y="212408"/>
                  </a:moveTo>
                  <a:lnTo>
                    <a:pt x="26289" y="212408"/>
                  </a:lnTo>
                  <a:lnTo>
                    <a:pt x="26289" y="26289"/>
                  </a:lnTo>
                  <a:lnTo>
                    <a:pt x="197358" y="26289"/>
                  </a:lnTo>
                  <a:lnTo>
                    <a:pt x="197358" y="21240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84">
              <a:extLst>
                <a:ext uri="{FF2B5EF4-FFF2-40B4-BE49-F238E27FC236}">
                  <a16:creationId xmlns:a16="http://schemas.microsoft.com/office/drawing/2014/main" id="{79472461-8A14-1B2E-E886-BBA9688E3ED0}"/>
                </a:ext>
              </a:extLst>
            </p:cNvPr>
            <p:cNvSpPr/>
            <p:nvPr/>
          </p:nvSpPr>
          <p:spPr>
            <a:xfrm>
              <a:off x="8221979" y="2219991"/>
              <a:ext cx="605639" cy="655891"/>
            </a:xfrm>
            <a:custGeom>
              <a:avLst/>
              <a:gdLst>
                <a:gd name="connsiteX0" fmla="*/ 602171 w 605639"/>
                <a:gd name="connsiteY0" fmla="*/ 346615 h 655891"/>
                <a:gd name="connsiteX1" fmla="*/ 577787 w 605639"/>
                <a:gd name="connsiteY1" fmla="*/ 243935 h 655891"/>
                <a:gd name="connsiteX2" fmla="*/ 551688 w 605639"/>
                <a:gd name="connsiteY2" fmla="*/ 192500 h 655891"/>
                <a:gd name="connsiteX3" fmla="*/ 538925 w 605639"/>
                <a:gd name="connsiteY3" fmla="*/ 169736 h 655891"/>
                <a:gd name="connsiteX4" fmla="*/ 554831 w 605639"/>
                <a:gd name="connsiteY4" fmla="*/ 153257 h 655891"/>
                <a:gd name="connsiteX5" fmla="*/ 576358 w 605639"/>
                <a:gd name="connsiteY5" fmla="*/ 129921 h 655891"/>
                <a:gd name="connsiteX6" fmla="*/ 583025 w 605639"/>
                <a:gd name="connsiteY6" fmla="*/ 115443 h 655891"/>
                <a:gd name="connsiteX7" fmla="*/ 579596 w 605639"/>
                <a:gd name="connsiteY7" fmla="*/ 94774 h 655891"/>
                <a:gd name="connsiteX8" fmla="*/ 569500 w 605639"/>
                <a:gd name="connsiteY8" fmla="*/ 71057 h 655891"/>
                <a:gd name="connsiteX9" fmla="*/ 562832 w 605639"/>
                <a:gd name="connsiteY9" fmla="*/ 55626 h 655891"/>
                <a:gd name="connsiteX10" fmla="*/ 594932 w 605639"/>
                <a:gd name="connsiteY10" fmla="*/ 23622 h 655891"/>
                <a:gd name="connsiteX11" fmla="*/ 594932 w 605639"/>
                <a:gd name="connsiteY11" fmla="*/ 5048 h 655891"/>
                <a:gd name="connsiteX12" fmla="*/ 576358 w 605639"/>
                <a:gd name="connsiteY12" fmla="*/ 5048 h 655891"/>
                <a:gd name="connsiteX13" fmla="*/ 535400 w 605639"/>
                <a:gd name="connsiteY13" fmla="*/ 46006 h 655891"/>
                <a:gd name="connsiteX14" fmla="*/ 527018 w 605639"/>
                <a:gd name="connsiteY14" fmla="*/ 54007 h 655891"/>
                <a:gd name="connsiteX15" fmla="*/ 499301 w 605639"/>
                <a:gd name="connsiteY15" fmla="*/ 87154 h 655891"/>
                <a:gd name="connsiteX16" fmla="*/ 501872 w 605639"/>
                <a:gd name="connsiteY16" fmla="*/ 151257 h 655891"/>
                <a:gd name="connsiteX17" fmla="*/ 529114 w 605639"/>
                <a:gd name="connsiteY17" fmla="*/ 205835 h 655891"/>
                <a:gd name="connsiteX18" fmla="*/ 553307 w 605639"/>
                <a:gd name="connsiteY18" fmla="*/ 253270 h 655891"/>
                <a:gd name="connsiteX19" fmla="*/ 576167 w 605639"/>
                <a:gd name="connsiteY19" fmla="*/ 348901 h 655891"/>
                <a:gd name="connsiteX20" fmla="*/ 573596 w 605639"/>
                <a:gd name="connsiteY20" fmla="*/ 508730 h 655891"/>
                <a:gd name="connsiteX21" fmla="*/ 563118 w 605639"/>
                <a:gd name="connsiteY21" fmla="*/ 540163 h 655891"/>
                <a:gd name="connsiteX22" fmla="*/ 519875 w 605639"/>
                <a:gd name="connsiteY22" fmla="*/ 547878 h 655891"/>
                <a:gd name="connsiteX23" fmla="*/ 514731 w 605639"/>
                <a:gd name="connsiteY23" fmla="*/ 480917 h 655891"/>
                <a:gd name="connsiteX24" fmla="*/ 500444 w 605639"/>
                <a:gd name="connsiteY24" fmla="*/ 371951 h 655891"/>
                <a:gd name="connsiteX25" fmla="*/ 468725 w 605639"/>
                <a:gd name="connsiteY25" fmla="*/ 360426 h 655891"/>
                <a:gd name="connsiteX26" fmla="*/ 426244 w 605639"/>
                <a:gd name="connsiteY26" fmla="*/ 370046 h 655891"/>
                <a:gd name="connsiteX27" fmla="*/ 426244 w 605639"/>
                <a:gd name="connsiteY27" fmla="*/ 80582 h 655891"/>
                <a:gd name="connsiteX28" fmla="*/ 345662 w 605639"/>
                <a:gd name="connsiteY28" fmla="*/ 0 h 655891"/>
                <a:gd name="connsiteX29" fmla="*/ 125539 w 605639"/>
                <a:gd name="connsiteY29" fmla="*/ 0 h 655891"/>
                <a:gd name="connsiteX30" fmla="*/ 44958 w 605639"/>
                <a:gd name="connsiteY30" fmla="*/ 80582 h 655891"/>
                <a:gd name="connsiteX31" fmla="*/ 44958 w 605639"/>
                <a:gd name="connsiteY31" fmla="*/ 629603 h 655891"/>
                <a:gd name="connsiteX32" fmla="*/ 13145 w 605639"/>
                <a:gd name="connsiteY32" fmla="*/ 629603 h 655891"/>
                <a:gd name="connsiteX33" fmla="*/ 0 w 605639"/>
                <a:gd name="connsiteY33" fmla="*/ 642747 h 655891"/>
                <a:gd name="connsiteX34" fmla="*/ 13145 w 605639"/>
                <a:gd name="connsiteY34" fmla="*/ 655892 h 655891"/>
                <a:gd name="connsiteX35" fmla="*/ 457772 w 605639"/>
                <a:gd name="connsiteY35" fmla="*/ 655892 h 655891"/>
                <a:gd name="connsiteX36" fmla="*/ 470916 w 605639"/>
                <a:gd name="connsiteY36" fmla="*/ 642747 h 655891"/>
                <a:gd name="connsiteX37" fmla="*/ 457772 w 605639"/>
                <a:gd name="connsiteY37" fmla="*/ 629603 h 655891"/>
                <a:gd name="connsiteX38" fmla="*/ 425863 w 605639"/>
                <a:gd name="connsiteY38" fmla="*/ 629603 h 655891"/>
                <a:gd name="connsiteX39" fmla="*/ 425863 w 605639"/>
                <a:gd name="connsiteY39" fmla="*/ 419195 h 655891"/>
                <a:gd name="connsiteX40" fmla="*/ 425863 w 605639"/>
                <a:gd name="connsiteY40" fmla="*/ 419195 h 655891"/>
                <a:gd name="connsiteX41" fmla="*/ 425863 w 605639"/>
                <a:gd name="connsiteY41" fmla="*/ 418814 h 655891"/>
                <a:gd name="connsiteX42" fmla="*/ 437769 w 605639"/>
                <a:gd name="connsiteY42" fmla="*/ 393383 h 655891"/>
                <a:gd name="connsiteX43" fmla="*/ 463868 w 605639"/>
                <a:gd name="connsiteY43" fmla="*/ 386144 h 655891"/>
                <a:gd name="connsiteX44" fmla="*/ 486156 w 605639"/>
                <a:gd name="connsiteY44" fmla="*/ 394049 h 655891"/>
                <a:gd name="connsiteX45" fmla="*/ 490823 w 605639"/>
                <a:gd name="connsiteY45" fmla="*/ 469392 h 655891"/>
                <a:gd name="connsiteX46" fmla="*/ 507111 w 605639"/>
                <a:gd name="connsiteY46" fmla="*/ 570929 h 655891"/>
                <a:gd name="connsiteX47" fmla="*/ 584168 w 605639"/>
                <a:gd name="connsiteY47" fmla="*/ 555308 h 655891"/>
                <a:gd name="connsiteX48" fmla="*/ 599218 w 605639"/>
                <a:gd name="connsiteY48" fmla="*/ 512826 h 655891"/>
                <a:gd name="connsiteX49" fmla="*/ 602075 w 605639"/>
                <a:gd name="connsiteY49" fmla="*/ 346615 h 655891"/>
                <a:gd name="connsiteX50" fmla="*/ 522637 w 605639"/>
                <a:gd name="connsiteY50" fmla="*/ 98870 h 655891"/>
                <a:gd name="connsiteX51" fmla="*/ 542639 w 605639"/>
                <a:gd name="connsiteY51" fmla="*/ 75248 h 655891"/>
                <a:gd name="connsiteX52" fmla="*/ 545402 w 605639"/>
                <a:gd name="connsiteY52" fmla="*/ 81534 h 655891"/>
                <a:gd name="connsiteX53" fmla="*/ 555212 w 605639"/>
                <a:gd name="connsiteY53" fmla="*/ 104585 h 655891"/>
                <a:gd name="connsiteX54" fmla="*/ 557117 w 605639"/>
                <a:gd name="connsiteY54" fmla="*/ 111157 h 655891"/>
                <a:gd name="connsiteX55" fmla="*/ 554927 w 605639"/>
                <a:gd name="connsiteY55" fmla="*/ 114776 h 655891"/>
                <a:gd name="connsiteX56" fmla="*/ 536067 w 605639"/>
                <a:gd name="connsiteY56" fmla="*/ 134779 h 655891"/>
                <a:gd name="connsiteX57" fmla="*/ 527114 w 605639"/>
                <a:gd name="connsiteY57" fmla="*/ 143923 h 655891"/>
                <a:gd name="connsiteX58" fmla="*/ 526542 w 605639"/>
                <a:gd name="connsiteY58" fmla="*/ 142399 h 655891"/>
                <a:gd name="connsiteX59" fmla="*/ 522637 w 605639"/>
                <a:gd name="connsiteY59" fmla="*/ 98774 h 655891"/>
                <a:gd name="connsiteX60" fmla="*/ 71152 w 605639"/>
                <a:gd name="connsiteY60" fmla="*/ 629603 h 655891"/>
                <a:gd name="connsiteX61" fmla="*/ 71152 w 605639"/>
                <a:gd name="connsiteY61" fmla="*/ 80582 h 655891"/>
                <a:gd name="connsiteX62" fmla="*/ 125444 w 605639"/>
                <a:gd name="connsiteY62" fmla="*/ 26289 h 655891"/>
                <a:gd name="connsiteX63" fmla="*/ 345281 w 605639"/>
                <a:gd name="connsiteY63" fmla="*/ 26289 h 655891"/>
                <a:gd name="connsiteX64" fmla="*/ 399574 w 605639"/>
                <a:gd name="connsiteY64" fmla="*/ 80582 h 655891"/>
                <a:gd name="connsiteX65" fmla="*/ 399574 w 605639"/>
                <a:gd name="connsiteY65" fmla="*/ 418814 h 655891"/>
                <a:gd name="connsiteX66" fmla="*/ 399574 w 605639"/>
                <a:gd name="connsiteY66" fmla="*/ 419005 h 655891"/>
                <a:gd name="connsiteX67" fmla="*/ 399574 w 605639"/>
                <a:gd name="connsiteY67" fmla="*/ 629603 h 655891"/>
                <a:gd name="connsiteX68" fmla="*/ 71152 w 605639"/>
                <a:gd name="connsiteY68" fmla="*/ 629603 h 65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5639" h="655891">
                  <a:moveTo>
                    <a:pt x="602171" y="346615"/>
                  </a:moveTo>
                  <a:cubicBezTo>
                    <a:pt x="598742" y="305943"/>
                    <a:pt x="590264" y="277178"/>
                    <a:pt x="577787" y="243935"/>
                  </a:cubicBezTo>
                  <a:cubicBezTo>
                    <a:pt x="570833" y="225552"/>
                    <a:pt x="561118" y="208693"/>
                    <a:pt x="551688" y="192500"/>
                  </a:cubicBezTo>
                  <a:cubicBezTo>
                    <a:pt x="547211" y="184785"/>
                    <a:pt x="542925" y="177260"/>
                    <a:pt x="538925" y="169736"/>
                  </a:cubicBezTo>
                  <a:cubicBezTo>
                    <a:pt x="542830" y="165354"/>
                    <a:pt x="549307" y="158782"/>
                    <a:pt x="554831" y="153257"/>
                  </a:cubicBezTo>
                  <a:cubicBezTo>
                    <a:pt x="565976" y="141923"/>
                    <a:pt x="573024" y="134684"/>
                    <a:pt x="576358" y="129921"/>
                  </a:cubicBezTo>
                  <a:cubicBezTo>
                    <a:pt x="578453" y="126968"/>
                    <a:pt x="581882" y="122111"/>
                    <a:pt x="583025" y="115443"/>
                  </a:cubicBezTo>
                  <a:cubicBezTo>
                    <a:pt x="584454" y="106871"/>
                    <a:pt x="581406" y="99346"/>
                    <a:pt x="579596" y="94774"/>
                  </a:cubicBezTo>
                  <a:cubicBezTo>
                    <a:pt x="576739" y="87821"/>
                    <a:pt x="573119" y="79439"/>
                    <a:pt x="569500" y="71057"/>
                  </a:cubicBezTo>
                  <a:cubicBezTo>
                    <a:pt x="567214" y="65723"/>
                    <a:pt x="564928" y="60579"/>
                    <a:pt x="562832" y="55626"/>
                  </a:cubicBezTo>
                  <a:lnTo>
                    <a:pt x="594932" y="23622"/>
                  </a:lnTo>
                  <a:cubicBezTo>
                    <a:pt x="600075" y="18479"/>
                    <a:pt x="600075" y="10192"/>
                    <a:pt x="594932" y="5048"/>
                  </a:cubicBezTo>
                  <a:cubicBezTo>
                    <a:pt x="589788" y="-95"/>
                    <a:pt x="581501" y="-95"/>
                    <a:pt x="576358" y="5048"/>
                  </a:cubicBezTo>
                  <a:lnTo>
                    <a:pt x="535400" y="46006"/>
                  </a:lnTo>
                  <a:cubicBezTo>
                    <a:pt x="532733" y="48673"/>
                    <a:pt x="529876" y="51340"/>
                    <a:pt x="527018" y="54007"/>
                  </a:cubicBezTo>
                  <a:cubicBezTo>
                    <a:pt x="517208" y="63151"/>
                    <a:pt x="506159" y="73533"/>
                    <a:pt x="499301" y="87154"/>
                  </a:cubicBezTo>
                  <a:cubicBezTo>
                    <a:pt x="487585" y="110395"/>
                    <a:pt x="496253" y="134969"/>
                    <a:pt x="501872" y="151257"/>
                  </a:cubicBezTo>
                  <a:cubicBezTo>
                    <a:pt x="508730" y="170879"/>
                    <a:pt x="519113" y="188595"/>
                    <a:pt x="529114" y="205835"/>
                  </a:cubicBezTo>
                  <a:cubicBezTo>
                    <a:pt x="538448" y="221837"/>
                    <a:pt x="547211" y="236887"/>
                    <a:pt x="553307" y="253270"/>
                  </a:cubicBezTo>
                  <a:cubicBezTo>
                    <a:pt x="565309" y="285179"/>
                    <a:pt x="572833" y="311087"/>
                    <a:pt x="576167" y="348901"/>
                  </a:cubicBezTo>
                  <a:cubicBezTo>
                    <a:pt x="581597" y="412147"/>
                    <a:pt x="580739" y="464344"/>
                    <a:pt x="573596" y="508730"/>
                  </a:cubicBezTo>
                  <a:cubicBezTo>
                    <a:pt x="571786" y="519875"/>
                    <a:pt x="569309" y="531495"/>
                    <a:pt x="563118" y="540163"/>
                  </a:cubicBezTo>
                  <a:cubicBezTo>
                    <a:pt x="553307" y="554069"/>
                    <a:pt x="533019" y="554927"/>
                    <a:pt x="519875" y="547878"/>
                  </a:cubicBezTo>
                  <a:cubicBezTo>
                    <a:pt x="499301" y="536734"/>
                    <a:pt x="504444" y="502063"/>
                    <a:pt x="514731" y="480917"/>
                  </a:cubicBezTo>
                  <a:cubicBezTo>
                    <a:pt x="526733" y="456057"/>
                    <a:pt x="551879" y="404241"/>
                    <a:pt x="500444" y="371951"/>
                  </a:cubicBezTo>
                  <a:cubicBezTo>
                    <a:pt x="491681" y="366427"/>
                    <a:pt x="480917" y="362522"/>
                    <a:pt x="468725" y="360426"/>
                  </a:cubicBezTo>
                  <a:cubicBezTo>
                    <a:pt x="453771" y="357854"/>
                    <a:pt x="438722" y="361569"/>
                    <a:pt x="426244" y="370046"/>
                  </a:cubicBezTo>
                  <a:lnTo>
                    <a:pt x="426244" y="80582"/>
                  </a:lnTo>
                  <a:cubicBezTo>
                    <a:pt x="426244" y="36195"/>
                    <a:pt x="390144" y="0"/>
                    <a:pt x="345662" y="0"/>
                  </a:cubicBezTo>
                  <a:lnTo>
                    <a:pt x="125539" y="0"/>
                  </a:lnTo>
                  <a:cubicBezTo>
                    <a:pt x="81058" y="0"/>
                    <a:pt x="44958" y="36100"/>
                    <a:pt x="44958" y="80582"/>
                  </a:cubicBezTo>
                  <a:lnTo>
                    <a:pt x="44958" y="629603"/>
                  </a:lnTo>
                  <a:lnTo>
                    <a:pt x="13145" y="629603"/>
                  </a:lnTo>
                  <a:cubicBezTo>
                    <a:pt x="5906" y="629603"/>
                    <a:pt x="0" y="635508"/>
                    <a:pt x="0" y="642747"/>
                  </a:cubicBezTo>
                  <a:cubicBezTo>
                    <a:pt x="0" y="649986"/>
                    <a:pt x="5906" y="655892"/>
                    <a:pt x="13145" y="655892"/>
                  </a:cubicBezTo>
                  <a:lnTo>
                    <a:pt x="457772" y="655892"/>
                  </a:lnTo>
                  <a:cubicBezTo>
                    <a:pt x="465011" y="655892"/>
                    <a:pt x="470916" y="649986"/>
                    <a:pt x="470916" y="642747"/>
                  </a:cubicBezTo>
                  <a:cubicBezTo>
                    <a:pt x="470916" y="635508"/>
                    <a:pt x="465011" y="629603"/>
                    <a:pt x="457772" y="629603"/>
                  </a:cubicBezTo>
                  <a:lnTo>
                    <a:pt x="425863" y="629603"/>
                  </a:lnTo>
                  <a:lnTo>
                    <a:pt x="425863" y="419195"/>
                  </a:lnTo>
                  <a:lnTo>
                    <a:pt x="425863" y="419195"/>
                  </a:lnTo>
                  <a:lnTo>
                    <a:pt x="425863" y="418814"/>
                  </a:lnTo>
                  <a:cubicBezTo>
                    <a:pt x="425863" y="409003"/>
                    <a:pt x="430244" y="399764"/>
                    <a:pt x="437769" y="393383"/>
                  </a:cubicBezTo>
                  <a:cubicBezTo>
                    <a:pt x="445103" y="387191"/>
                    <a:pt x="454628" y="384524"/>
                    <a:pt x="463868" y="386144"/>
                  </a:cubicBezTo>
                  <a:cubicBezTo>
                    <a:pt x="472726" y="387668"/>
                    <a:pt x="480251" y="390335"/>
                    <a:pt x="486156" y="394049"/>
                  </a:cubicBezTo>
                  <a:cubicBezTo>
                    <a:pt x="509778" y="408908"/>
                    <a:pt x="510921" y="427863"/>
                    <a:pt x="490823" y="469392"/>
                  </a:cubicBezTo>
                  <a:cubicBezTo>
                    <a:pt x="473583" y="505016"/>
                    <a:pt x="473393" y="552641"/>
                    <a:pt x="507111" y="570929"/>
                  </a:cubicBezTo>
                  <a:cubicBezTo>
                    <a:pt x="533781" y="585311"/>
                    <a:pt x="567690" y="578549"/>
                    <a:pt x="584168" y="555308"/>
                  </a:cubicBezTo>
                  <a:cubicBezTo>
                    <a:pt x="593503" y="542163"/>
                    <a:pt x="597027" y="526542"/>
                    <a:pt x="599218" y="512826"/>
                  </a:cubicBezTo>
                  <a:cubicBezTo>
                    <a:pt x="606743" y="466344"/>
                    <a:pt x="607600" y="411956"/>
                    <a:pt x="602075" y="346615"/>
                  </a:cubicBezTo>
                  <a:close/>
                  <a:moveTo>
                    <a:pt x="522637" y="98870"/>
                  </a:moveTo>
                  <a:cubicBezTo>
                    <a:pt x="527018" y="90202"/>
                    <a:pt x="534448" y="82868"/>
                    <a:pt x="542639" y="75248"/>
                  </a:cubicBezTo>
                  <a:cubicBezTo>
                    <a:pt x="543592" y="77343"/>
                    <a:pt x="544449" y="79439"/>
                    <a:pt x="545402" y="81534"/>
                  </a:cubicBezTo>
                  <a:cubicBezTo>
                    <a:pt x="548926" y="89726"/>
                    <a:pt x="552450" y="97822"/>
                    <a:pt x="555212" y="104585"/>
                  </a:cubicBezTo>
                  <a:cubicBezTo>
                    <a:pt x="555784" y="106013"/>
                    <a:pt x="557308" y="109823"/>
                    <a:pt x="557117" y="111157"/>
                  </a:cubicBezTo>
                  <a:cubicBezTo>
                    <a:pt x="557022" y="111824"/>
                    <a:pt x="555593" y="113824"/>
                    <a:pt x="554927" y="114776"/>
                  </a:cubicBezTo>
                  <a:cubicBezTo>
                    <a:pt x="552545" y="118205"/>
                    <a:pt x="543401" y="127445"/>
                    <a:pt x="536067" y="134779"/>
                  </a:cubicBezTo>
                  <a:cubicBezTo>
                    <a:pt x="532638" y="138208"/>
                    <a:pt x="529781" y="141161"/>
                    <a:pt x="527114" y="143923"/>
                  </a:cubicBezTo>
                  <a:cubicBezTo>
                    <a:pt x="526923" y="143446"/>
                    <a:pt x="526733" y="142970"/>
                    <a:pt x="526542" y="142399"/>
                  </a:cubicBezTo>
                  <a:cubicBezTo>
                    <a:pt x="520732" y="125825"/>
                    <a:pt x="516446" y="111061"/>
                    <a:pt x="522637" y="98774"/>
                  </a:cubicBezTo>
                  <a:close/>
                  <a:moveTo>
                    <a:pt x="71152" y="629603"/>
                  </a:moveTo>
                  <a:lnTo>
                    <a:pt x="71152" y="80582"/>
                  </a:lnTo>
                  <a:cubicBezTo>
                    <a:pt x="71152" y="50673"/>
                    <a:pt x="95536" y="26289"/>
                    <a:pt x="125444" y="26289"/>
                  </a:cubicBezTo>
                  <a:lnTo>
                    <a:pt x="345281" y="26289"/>
                  </a:lnTo>
                  <a:cubicBezTo>
                    <a:pt x="375190" y="26289"/>
                    <a:pt x="399574" y="50673"/>
                    <a:pt x="399574" y="80582"/>
                  </a:cubicBezTo>
                  <a:lnTo>
                    <a:pt x="399574" y="418814"/>
                  </a:lnTo>
                  <a:cubicBezTo>
                    <a:pt x="399574" y="418814"/>
                    <a:pt x="399574" y="419005"/>
                    <a:pt x="399574" y="419005"/>
                  </a:cubicBezTo>
                  <a:lnTo>
                    <a:pt x="399574" y="629603"/>
                  </a:lnTo>
                  <a:lnTo>
                    <a:pt x="71152" y="6296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0" name="Agrupar 129">
            <a:extLst>
              <a:ext uri="{FF2B5EF4-FFF2-40B4-BE49-F238E27FC236}">
                <a16:creationId xmlns:a16="http://schemas.microsoft.com/office/drawing/2014/main" id="{F993A456-94E3-FA07-B3BC-1E022F376141}"/>
              </a:ext>
            </a:extLst>
          </p:cNvPr>
          <p:cNvGrpSpPr/>
          <p:nvPr/>
        </p:nvGrpSpPr>
        <p:grpSpPr>
          <a:xfrm>
            <a:off x="4279554" y="4348748"/>
            <a:ext cx="828098" cy="828098"/>
            <a:chOff x="4279704" y="4316350"/>
            <a:chExt cx="828098" cy="828098"/>
          </a:xfrm>
        </p:grpSpPr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734E32B5-EF1C-6AA5-B90C-65009307DB42}"/>
                </a:ext>
              </a:extLst>
            </p:cNvPr>
            <p:cNvSpPr/>
            <p:nvPr/>
          </p:nvSpPr>
          <p:spPr>
            <a:xfrm>
              <a:off x="4279704" y="4316350"/>
              <a:ext cx="828098" cy="828098"/>
            </a:xfrm>
            <a:prstGeom prst="ellipse">
              <a:avLst/>
            </a:prstGeom>
            <a:solidFill>
              <a:srgbClr val="9DB1CB"/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99">
              <a:extLst>
                <a:ext uri="{FF2B5EF4-FFF2-40B4-BE49-F238E27FC236}">
                  <a16:creationId xmlns:a16="http://schemas.microsoft.com/office/drawing/2014/main" id="{BEF74621-1DD6-A868-FC33-DEB9D38ED45C}"/>
                </a:ext>
              </a:extLst>
            </p:cNvPr>
            <p:cNvSpPr/>
            <p:nvPr/>
          </p:nvSpPr>
          <p:spPr>
            <a:xfrm>
              <a:off x="4365902" y="4558359"/>
              <a:ext cx="655701" cy="313372"/>
            </a:xfrm>
            <a:custGeom>
              <a:avLst/>
              <a:gdLst>
                <a:gd name="connsiteX0" fmla="*/ 642747 w 655701"/>
                <a:gd name="connsiteY0" fmla="*/ 206026 h 313372"/>
                <a:gd name="connsiteX1" fmla="*/ 436817 w 655701"/>
                <a:gd name="connsiteY1" fmla="*/ 206026 h 313372"/>
                <a:gd name="connsiteX2" fmla="*/ 436817 w 655701"/>
                <a:gd name="connsiteY2" fmla="*/ 204407 h 313372"/>
                <a:gd name="connsiteX3" fmla="*/ 340900 w 655701"/>
                <a:gd name="connsiteY3" fmla="*/ 96298 h 313372"/>
                <a:gd name="connsiteX4" fmla="*/ 340900 w 655701"/>
                <a:gd name="connsiteY4" fmla="*/ 13145 h 313372"/>
                <a:gd name="connsiteX5" fmla="*/ 327755 w 655701"/>
                <a:gd name="connsiteY5" fmla="*/ 0 h 313372"/>
                <a:gd name="connsiteX6" fmla="*/ 314611 w 655701"/>
                <a:gd name="connsiteY6" fmla="*/ 13145 h 313372"/>
                <a:gd name="connsiteX7" fmla="*/ 314611 w 655701"/>
                <a:gd name="connsiteY7" fmla="*/ 96202 h 313372"/>
                <a:gd name="connsiteX8" fmla="*/ 218694 w 655701"/>
                <a:gd name="connsiteY8" fmla="*/ 204311 h 313372"/>
                <a:gd name="connsiteX9" fmla="*/ 218694 w 655701"/>
                <a:gd name="connsiteY9" fmla="*/ 205931 h 313372"/>
                <a:gd name="connsiteX10" fmla="*/ 13144 w 655701"/>
                <a:gd name="connsiteY10" fmla="*/ 205931 h 313372"/>
                <a:gd name="connsiteX11" fmla="*/ 0 w 655701"/>
                <a:gd name="connsiteY11" fmla="*/ 219075 h 313372"/>
                <a:gd name="connsiteX12" fmla="*/ 13144 w 655701"/>
                <a:gd name="connsiteY12" fmla="*/ 232219 h 313372"/>
                <a:gd name="connsiteX13" fmla="*/ 76772 w 655701"/>
                <a:gd name="connsiteY13" fmla="*/ 232219 h 313372"/>
                <a:gd name="connsiteX14" fmla="*/ 69247 w 655701"/>
                <a:gd name="connsiteY14" fmla="*/ 258890 h 313372"/>
                <a:gd name="connsiteX15" fmla="*/ 122111 w 655701"/>
                <a:gd name="connsiteY15" fmla="*/ 311753 h 313372"/>
                <a:gd name="connsiteX16" fmla="*/ 174974 w 655701"/>
                <a:gd name="connsiteY16" fmla="*/ 258890 h 313372"/>
                <a:gd name="connsiteX17" fmla="*/ 167450 w 655701"/>
                <a:gd name="connsiteY17" fmla="*/ 232219 h 313372"/>
                <a:gd name="connsiteX18" fmla="*/ 222599 w 655701"/>
                <a:gd name="connsiteY18" fmla="*/ 232219 h 313372"/>
                <a:gd name="connsiteX19" fmla="*/ 327851 w 655701"/>
                <a:gd name="connsiteY19" fmla="*/ 313373 h 313372"/>
                <a:gd name="connsiteX20" fmla="*/ 433102 w 655701"/>
                <a:gd name="connsiteY20" fmla="*/ 232219 h 313372"/>
                <a:gd name="connsiteX21" fmla="*/ 489871 w 655701"/>
                <a:gd name="connsiteY21" fmla="*/ 232219 h 313372"/>
                <a:gd name="connsiteX22" fmla="*/ 482346 w 655701"/>
                <a:gd name="connsiteY22" fmla="*/ 258890 h 313372"/>
                <a:gd name="connsiteX23" fmla="*/ 535210 w 655701"/>
                <a:gd name="connsiteY23" fmla="*/ 311753 h 313372"/>
                <a:gd name="connsiteX24" fmla="*/ 588074 w 655701"/>
                <a:gd name="connsiteY24" fmla="*/ 258890 h 313372"/>
                <a:gd name="connsiteX25" fmla="*/ 580549 w 655701"/>
                <a:gd name="connsiteY25" fmla="*/ 232219 h 313372"/>
                <a:gd name="connsiteX26" fmla="*/ 642557 w 655701"/>
                <a:gd name="connsiteY26" fmla="*/ 232219 h 313372"/>
                <a:gd name="connsiteX27" fmla="*/ 655701 w 655701"/>
                <a:gd name="connsiteY27" fmla="*/ 219075 h 313372"/>
                <a:gd name="connsiteX28" fmla="*/ 642557 w 655701"/>
                <a:gd name="connsiteY28" fmla="*/ 205931 h 313372"/>
                <a:gd name="connsiteX29" fmla="*/ 148876 w 655701"/>
                <a:gd name="connsiteY29" fmla="*/ 258890 h 313372"/>
                <a:gd name="connsiteX30" fmla="*/ 122206 w 655701"/>
                <a:gd name="connsiteY30" fmla="*/ 285560 h 313372"/>
                <a:gd name="connsiteX31" fmla="*/ 95536 w 655701"/>
                <a:gd name="connsiteY31" fmla="*/ 258890 h 313372"/>
                <a:gd name="connsiteX32" fmla="*/ 122206 w 655701"/>
                <a:gd name="connsiteY32" fmla="*/ 232219 h 313372"/>
                <a:gd name="connsiteX33" fmla="*/ 148876 w 655701"/>
                <a:gd name="connsiteY33" fmla="*/ 258890 h 313372"/>
                <a:gd name="connsiteX34" fmla="*/ 327946 w 655701"/>
                <a:gd name="connsiteY34" fmla="*/ 121634 h 313372"/>
                <a:gd name="connsiteX35" fmla="*/ 403860 w 655701"/>
                <a:gd name="connsiteY35" fmla="*/ 171545 h 313372"/>
                <a:gd name="connsiteX36" fmla="*/ 252032 w 655701"/>
                <a:gd name="connsiteY36" fmla="*/ 171545 h 313372"/>
                <a:gd name="connsiteX37" fmla="*/ 327946 w 655701"/>
                <a:gd name="connsiteY37" fmla="*/ 121634 h 313372"/>
                <a:gd name="connsiteX38" fmla="*/ 327946 w 655701"/>
                <a:gd name="connsiteY38" fmla="*/ 287179 h 313372"/>
                <a:gd name="connsiteX39" fmla="*/ 245174 w 655701"/>
                <a:gd name="connsiteY39" fmla="*/ 204407 h 313372"/>
                <a:gd name="connsiteX40" fmla="*/ 245555 w 655701"/>
                <a:gd name="connsiteY40" fmla="*/ 197739 h 313372"/>
                <a:gd name="connsiteX41" fmla="*/ 410432 w 655701"/>
                <a:gd name="connsiteY41" fmla="*/ 197739 h 313372"/>
                <a:gd name="connsiteX42" fmla="*/ 410813 w 655701"/>
                <a:gd name="connsiteY42" fmla="*/ 204407 h 313372"/>
                <a:gd name="connsiteX43" fmla="*/ 328041 w 655701"/>
                <a:gd name="connsiteY43" fmla="*/ 287179 h 313372"/>
                <a:gd name="connsiteX44" fmla="*/ 561975 w 655701"/>
                <a:gd name="connsiteY44" fmla="*/ 258890 h 313372"/>
                <a:gd name="connsiteX45" fmla="*/ 535305 w 655701"/>
                <a:gd name="connsiteY45" fmla="*/ 285560 h 313372"/>
                <a:gd name="connsiteX46" fmla="*/ 508635 w 655701"/>
                <a:gd name="connsiteY46" fmla="*/ 258890 h 313372"/>
                <a:gd name="connsiteX47" fmla="*/ 535305 w 655701"/>
                <a:gd name="connsiteY47" fmla="*/ 232219 h 313372"/>
                <a:gd name="connsiteX48" fmla="*/ 561975 w 655701"/>
                <a:gd name="connsiteY48" fmla="*/ 258890 h 313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55701" h="313372">
                  <a:moveTo>
                    <a:pt x="642747" y="206026"/>
                  </a:moveTo>
                  <a:lnTo>
                    <a:pt x="436817" y="206026"/>
                  </a:lnTo>
                  <a:cubicBezTo>
                    <a:pt x="436817" y="205454"/>
                    <a:pt x="436817" y="204978"/>
                    <a:pt x="436817" y="204407"/>
                  </a:cubicBezTo>
                  <a:cubicBezTo>
                    <a:pt x="436817" y="148781"/>
                    <a:pt x="394906" y="102775"/>
                    <a:pt x="340900" y="96298"/>
                  </a:cubicBezTo>
                  <a:lnTo>
                    <a:pt x="340900" y="13145"/>
                  </a:lnTo>
                  <a:cubicBezTo>
                    <a:pt x="340900" y="5905"/>
                    <a:pt x="334994" y="0"/>
                    <a:pt x="327755" y="0"/>
                  </a:cubicBezTo>
                  <a:cubicBezTo>
                    <a:pt x="320516" y="0"/>
                    <a:pt x="314611" y="5905"/>
                    <a:pt x="314611" y="13145"/>
                  </a:cubicBezTo>
                  <a:lnTo>
                    <a:pt x="314611" y="96202"/>
                  </a:lnTo>
                  <a:cubicBezTo>
                    <a:pt x="260699" y="102680"/>
                    <a:pt x="218694" y="148685"/>
                    <a:pt x="218694" y="204311"/>
                  </a:cubicBezTo>
                  <a:cubicBezTo>
                    <a:pt x="218694" y="204883"/>
                    <a:pt x="218694" y="205359"/>
                    <a:pt x="218694" y="205931"/>
                  </a:cubicBezTo>
                  <a:lnTo>
                    <a:pt x="13144" y="205931"/>
                  </a:lnTo>
                  <a:cubicBezTo>
                    <a:pt x="5905" y="205931"/>
                    <a:pt x="0" y="211836"/>
                    <a:pt x="0" y="219075"/>
                  </a:cubicBezTo>
                  <a:cubicBezTo>
                    <a:pt x="0" y="226314"/>
                    <a:pt x="5905" y="232219"/>
                    <a:pt x="13144" y="232219"/>
                  </a:cubicBezTo>
                  <a:lnTo>
                    <a:pt x="76772" y="232219"/>
                  </a:lnTo>
                  <a:cubicBezTo>
                    <a:pt x="72104" y="240125"/>
                    <a:pt x="69247" y="249079"/>
                    <a:pt x="69247" y="258890"/>
                  </a:cubicBezTo>
                  <a:cubicBezTo>
                    <a:pt x="69247" y="288036"/>
                    <a:pt x="92964" y="311753"/>
                    <a:pt x="122111" y="311753"/>
                  </a:cubicBezTo>
                  <a:cubicBezTo>
                    <a:pt x="151257" y="311753"/>
                    <a:pt x="174974" y="288036"/>
                    <a:pt x="174974" y="258890"/>
                  </a:cubicBezTo>
                  <a:cubicBezTo>
                    <a:pt x="174974" y="249079"/>
                    <a:pt x="172117" y="240125"/>
                    <a:pt x="167450" y="232219"/>
                  </a:cubicBezTo>
                  <a:lnTo>
                    <a:pt x="222599" y="232219"/>
                  </a:lnTo>
                  <a:cubicBezTo>
                    <a:pt x="234982" y="278892"/>
                    <a:pt x="277368" y="313373"/>
                    <a:pt x="327851" y="313373"/>
                  </a:cubicBezTo>
                  <a:cubicBezTo>
                    <a:pt x="378333" y="313373"/>
                    <a:pt x="420719" y="278892"/>
                    <a:pt x="433102" y="232219"/>
                  </a:cubicBezTo>
                  <a:lnTo>
                    <a:pt x="489871" y="232219"/>
                  </a:lnTo>
                  <a:cubicBezTo>
                    <a:pt x="485204" y="240125"/>
                    <a:pt x="482346" y="249079"/>
                    <a:pt x="482346" y="258890"/>
                  </a:cubicBezTo>
                  <a:cubicBezTo>
                    <a:pt x="482346" y="288036"/>
                    <a:pt x="506063" y="311753"/>
                    <a:pt x="535210" y="311753"/>
                  </a:cubicBezTo>
                  <a:cubicBezTo>
                    <a:pt x="564356" y="311753"/>
                    <a:pt x="588074" y="288036"/>
                    <a:pt x="588074" y="258890"/>
                  </a:cubicBezTo>
                  <a:cubicBezTo>
                    <a:pt x="588074" y="249079"/>
                    <a:pt x="585216" y="240125"/>
                    <a:pt x="580549" y="232219"/>
                  </a:cubicBezTo>
                  <a:lnTo>
                    <a:pt x="642557" y="232219"/>
                  </a:lnTo>
                  <a:cubicBezTo>
                    <a:pt x="649796" y="232219"/>
                    <a:pt x="655701" y="226314"/>
                    <a:pt x="655701" y="219075"/>
                  </a:cubicBezTo>
                  <a:cubicBezTo>
                    <a:pt x="655701" y="211836"/>
                    <a:pt x="649796" y="205931"/>
                    <a:pt x="642557" y="205931"/>
                  </a:cubicBezTo>
                  <a:close/>
                  <a:moveTo>
                    <a:pt x="148876" y="258890"/>
                  </a:moveTo>
                  <a:cubicBezTo>
                    <a:pt x="148876" y="273558"/>
                    <a:pt x="136874" y="285560"/>
                    <a:pt x="122206" y="285560"/>
                  </a:cubicBezTo>
                  <a:cubicBezTo>
                    <a:pt x="107537" y="285560"/>
                    <a:pt x="95536" y="273558"/>
                    <a:pt x="95536" y="258890"/>
                  </a:cubicBezTo>
                  <a:cubicBezTo>
                    <a:pt x="95536" y="244221"/>
                    <a:pt x="107537" y="232219"/>
                    <a:pt x="122206" y="232219"/>
                  </a:cubicBezTo>
                  <a:cubicBezTo>
                    <a:pt x="136874" y="232219"/>
                    <a:pt x="148876" y="244221"/>
                    <a:pt x="148876" y="258890"/>
                  </a:cubicBezTo>
                  <a:close/>
                  <a:moveTo>
                    <a:pt x="327946" y="121634"/>
                  </a:moveTo>
                  <a:cubicBezTo>
                    <a:pt x="361855" y="121634"/>
                    <a:pt x="391097" y="142208"/>
                    <a:pt x="403860" y="171545"/>
                  </a:cubicBezTo>
                  <a:lnTo>
                    <a:pt x="252032" y="171545"/>
                  </a:lnTo>
                  <a:cubicBezTo>
                    <a:pt x="264795" y="142208"/>
                    <a:pt x="294037" y="121634"/>
                    <a:pt x="327946" y="121634"/>
                  </a:cubicBezTo>
                  <a:close/>
                  <a:moveTo>
                    <a:pt x="327946" y="287179"/>
                  </a:moveTo>
                  <a:cubicBezTo>
                    <a:pt x="282321" y="287179"/>
                    <a:pt x="245174" y="250031"/>
                    <a:pt x="245174" y="204407"/>
                  </a:cubicBezTo>
                  <a:cubicBezTo>
                    <a:pt x="245174" y="202120"/>
                    <a:pt x="245364" y="199930"/>
                    <a:pt x="245555" y="197739"/>
                  </a:cubicBezTo>
                  <a:lnTo>
                    <a:pt x="410432" y="197739"/>
                  </a:lnTo>
                  <a:cubicBezTo>
                    <a:pt x="410623" y="199930"/>
                    <a:pt x="410813" y="202216"/>
                    <a:pt x="410813" y="204407"/>
                  </a:cubicBezTo>
                  <a:cubicBezTo>
                    <a:pt x="410813" y="250031"/>
                    <a:pt x="373666" y="287179"/>
                    <a:pt x="328041" y="287179"/>
                  </a:cubicBezTo>
                  <a:close/>
                  <a:moveTo>
                    <a:pt x="561975" y="258890"/>
                  </a:moveTo>
                  <a:cubicBezTo>
                    <a:pt x="561975" y="273558"/>
                    <a:pt x="549974" y="285560"/>
                    <a:pt x="535305" y="285560"/>
                  </a:cubicBezTo>
                  <a:cubicBezTo>
                    <a:pt x="520637" y="285560"/>
                    <a:pt x="508635" y="273558"/>
                    <a:pt x="508635" y="258890"/>
                  </a:cubicBezTo>
                  <a:cubicBezTo>
                    <a:pt x="508635" y="244221"/>
                    <a:pt x="520637" y="232219"/>
                    <a:pt x="535305" y="232219"/>
                  </a:cubicBezTo>
                  <a:cubicBezTo>
                    <a:pt x="549974" y="232219"/>
                    <a:pt x="561975" y="244221"/>
                    <a:pt x="561975" y="25889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8" name="Agrupar 127">
            <a:extLst>
              <a:ext uri="{FF2B5EF4-FFF2-40B4-BE49-F238E27FC236}">
                <a16:creationId xmlns:a16="http://schemas.microsoft.com/office/drawing/2014/main" id="{6CBA59C0-F9A6-DFA3-D3CF-D18F11BC4591}"/>
              </a:ext>
            </a:extLst>
          </p:cNvPr>
          <p:cNvGrpSpPr/>
          <p:nvPr/>
        </p:nvGrpSpPr>
        <p:grpSpPr>
          <a:xfrm>
            <a:off x="4279704" y="2021863"/>
            <a:ext cx="828098" cy="828098"/>
            <a:chOff x="4279704" y="2021863"/>
            <a:chExt cx="828098" cy="828098"/>
          </a:xfrm>
        </p:grpSpPr>
        <p:sp>
          <p:nvSpPr>
            <p:cNvPr id="37" name="Elipse 36">
              <a:extLst>
                <a:ext uri="{FF2B5EF4-FFF2-40B4-BE49-F238E27FC236}">
                  <a16:creationId xmlns:a16="http://schemas.microsoft.com/office/drawing/2014/main" id="{97189029-F75D-4F1C-055A-CC0A334E8C26}"/>
                </a:ext>
              </a:extLst>
            </p:cNvPr>
            <p:cNvSpPr/>
            <p:nvPr/>
          </p:nvSpPr>
          <p:spPr>
            <a:xfrm>
              <a:off x="4279704" y="2021863"/>
              <a:ext cx="828098" cy="828098"/>
            </a:xfrm>
            <a:prstGeom prst="ellipse">
              <a:avLst/>
            </a:prstGeom>
            <a:solidFill>
              <a:srgbClr val="9DB1CB"/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77" name="Graphic 5">
              <a:extLst>
                <a:ext uri="{FF2B5EF4-FFF2-40B4-BE49-F238E27FC236}">
                  <a16:creationId xmlns:a16="http://schemas.microsoft.com/office/drawing/2014/main" id="{95F90DE1-AEB1-6C66-4EA4-6524F1EC5C23}"/>
                </a:ext>
              </a:extLst>
            </p:cNvPr>
            <p:cNvGrpSpPr/>
            <p:nvPr/>
          </p:nvGrpSpPr>
          <p:grpSpPr>
            <a:xfrm>
              <a:off x="4433933" y="2172888"/>
              <a:ext cx="519638" cy="522005"/>
              <a:chOff x="6453965" y="2434233"/>
              <a:chExt cx="655358" cy="658343"/>
            </a:xfrm>
            <a:solidFill>
              <a:schemeClr val="bg1"/>
            </a:solidFill>
          </p:grpSpPr>
          <p:sp>
            <p:nvSpPr>
              <p:cNvPr id="78" name="Freeform: Shape 85">
                <a:extLst>
                  <a:ext uri="{FF2B5EF4-FFF2-40B4-BE49-F238E27FC236}">
                    <a16:creationId xmlns:a16="http://schemas.microsoft.com/office/drawing/2014/main" id="{859A7D3A-D0D2-8B49-0E8B-38147710F807}"/>
                  </a:ext>
                </a:extLst>
              </p:cNvPr>
              <p:cNvSpPr/>
              <p:nvPr/>
            </p:nvSpPr>
            <p:spPr>
              <a:xfrm>
                <a:off x="6453965" y="2528982"/>
                <a:ext cx="655358" cy="563594"/>
              </a:xfrm>
              <a:custGeom>
                <a:avLst/>
                <a:gdLst>
                  <a:gd name="connsiteX0" fmla="*/ 648732 w 655358"/>
                  <a:gd name="connsiteY0" fmla="*/ 31528 h 563594"/>
                  <a:gd name="connsiteX1" fmla="*/ 597202 w 655358"/>
                  <a:gd name="connsiteY1" fmla="*/ 95 h 563594"/>
                  <a:gd name="connsiteX2" fmla="*/ 484902 w 655358"/>
                  <a:gd name="connsiteY2" fmla="*/ 95 h 563594"/>
                  <a:gd name="connsiteX3" fmla="*/ 471758 w 655358"/>
                  <a:gd name="connsiteY3" fmla="*/ 13240 h 563594"/>
                  <a:gd name="connsiteX4" fmla="*/ 484902 w 655358"/>
                  <a:gd name="connsiteY4" fmla="*/ 26384 h 563594"/>
                  <a:gd name="connsiteX5" fmla="*/ 597202 w 655358"/>
                  <a:gd name="connsiteY5" fmla="*/ 26384 h 563594"/>
                  <a:gd name="connsiteX6" fmla="*/ 625396 w 655358"/>
                  <a:gd name="connsiteY6" fmla="*/ 43625 h 563594"/>
                  <a:gd name="connsiteX7" fmla="*/ 623205 w 655358"/>
                  <a:gd name="connsiteY7" fmla="*/ 76581 h 563594"/>
                  <a:gd name="connsiteX8" fmla="*/ 429086 w 655358"/>
                  <a:gd name="connsiteY8" fmla="*/ 351854 h 563594"/>
                  <a:gd name="connsiteX9" fmla="*/ 426704 w 655358"/>
                  <a:gd name="connsiteY9" fmla="*/ 359378 h 563594"/>
                  <a:gd name="connsiteX10" fmla="*/ 426704 w 655358"/>
                  <a:gd name="connsiteY10" fmla="*/ 458819 h 563594"/>
                  <a:gd name="connsiteX11" fmla="*/ 228584 w 655358"/>
                  <a:gd name="connsiteY11" fmla="*/ 458819 h 563594"/>
                  <a:gd name="connsiteX12" fmla="*/ 228584 w 655358"/>
                  <a:gd name="connsiteY12" fmla="*/ 359378 h 563594"/>
                  <a:gd name="connsiteX13" fmla="*/ 226203 w 655358"/>
                  <a:gd name="connsiteY13" fmla="*/ 351854 h 563594"/>
                  <a:gd name="connsiteX14" fmla="*/ 32084 w 655358"/>
                  <a:gd name="connsiteY14" fmla="*/ 76486 h 563594"/>
                  <a:gd name="connsiteX15" fmla="*/ 29893 w 655358"/>
                  <a:gd name="connsiteY15" fmla="*/ 43529 h 563594"/>
                  <a:gd name="connsiteX16" fmla="*/ 58087 w 655358"/>
                  <a:gd name="connsiteY16" fmla="*/ 26289 h 563594"/>
                  <a:gd name="connsiteX17" fmla="*/ 166862 w 655358"/>
                  <a:gd name="connsiteY17" fmla="*/ 26289 h 563594"/>
                  <a:gd name="connsiteX18" fmla="*/ 180007 w 655358"/>
                  <a:gd name="connsiteY18" fmla="*/ 13145 h 563594"/>
                  <a:gd name="connsiteX19" fmla="*/ 166862 w 655358"/>
                  <a:gd name="connsiteY19" fmla="*/ 0 h 563594"/>
                  <a:gd name="connsiteX20" fmla="*/ 58087 w 655358"/>
                  <a:gd name="connsiteY20" fmla="*/ 0 h 563594"/>
                  <a:gd name="connsiteX21" fmla="*/ 6557 w 655358"/>
                  <a:gd name="connsiteY21" fmla="*/ 31433 h 563594"/>
                  <a:gd name="connsiteX22" fmla="*/ 10557 w 655358"/>
                  <a:gd name="connsiteY22" fmla="*/ 91630 h 563594"/>
                  <a:gd name="connsiteX23" fmla="*/ 202295 w 655358"/>
                  <a:gd name="connsiteY23" fmla="*/ 363474 h 563594"/>
                  <a:gd name="connsiteX24" fmla="*/ 202295 w 655358"/>
                  <a:gd name="connsiteY24" fmla="*/ 550450 h 563594"/>
                  <a:gd name="connsiteX25" fmla="*/ 215440 w 655358"/>
                  <a:gd name="connsiteY25" fmla="*/ 563594 h 563594"/>
                  <a:gd name="connsiteX26" fmla="*/ 439849 w 655358"/>
                  <a:gd name="connsiteY26" fmla="*/ 563594 h 563594"/>
                  <a:gd name="connsiteX27" fmla="*/ 452993 w 655358"/>
                  <a:gd name="connsiteY27" fmla="*/ 550450 h 563594"/>
                  <a:gd name="connsiteX28" fmla="*/ 452993 w 655358"/>
                  <a:gd name="connsiteY28" fmla="*/ 363474 h 563594"/>
                  <a:gd name="connsiteX29" fmla="*/ 644732 w 655358"/>
                  <a:gd name="connsiteY29" fmla="*/ 91630 h 563594"/>
                  <a:gd name="connsiteX30" fmla="*/ 648732 w 655358"/>
                  <a:gd name="connsiteY30" fmla="*/ 31433 h 563594"/>
                  <a:gd name="connsiteX31" fmla="*/ 426704 w 655358"/>
                  <a:gd name="connsiteY31" fmla="*/ 537401 h 563594"/>
                  <a:gd name="connsiteX32" fmla="*/ 228584 w 655358"/>
                  <a:gd name="connsiteY32" fmla="*/ 537401 h 563594"/>
                  <a:gd name="connsiteX33" fmla="*/ 228584 w 655358"/>
                  <a:gd name="connsiteY33" fmla="*/ 485108 h 563594"/>
                  <a:gd name="connsiteX34" fmla="*/ 426704 w 655358"/>
                  <a:gd name="connsiteY34" fmla="*/ 485108 h 563594"/>
                  <a:gd name="connsiteX35" fmla="*/ 426704 w 655358"/>
                  <a:gd name="connsiteY35" fmla="*/ 537401 h 563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655358" h="563594">
                    <a:moveTo>
                      <a:pt x="648732" y="31528"/>
                    </a:moveTo>
                    <a:cubicBezTo>
                      <a:pt x="638636" y="12097"/>
                      <a:pt x="618919" y="95"/>
                      <a:pt x="597202" y="95"/>
                    </a:cubicBezTo>
                    <a:lnTo>
                      <a:pt x="484902" y="95"/>
                    </a:lnTo>
                    <a:cubicBezTo>
                      <a:pt x="477663" y="95"/>
                      <a:pt x="471758" y="6001"/>
                      <a:pt x="471758" y="13240"/>
                    </a:cubicBezTo>
                    <a:cubicBezTo>
                      <a:pt x="471758" y="20479"/>
                      <a:pt x="477663" y="26384"/>
                      <a:pt x="484902" y="26384"/>
                    </a:cubicBezTo>
                    <a:lnTo>
                      <a:pt x="597202" y="26384"/>
                    </a:lnTo>
                    <a:cubicBezTo>
                      <a:pt x="609203" y="26384"/>
                      <a:pt x="619776" y="32861"/>
                      <a:pt x="625396" y="43625"/>
                    </a:cubicBezTo>
                    <a:cubicBezTo>
                      <a:pt x="631016" y="54388"/>
                      <a:pt x="630158" y="66770"/>
                      <a:pt x="623205" y="76581"/>
                    </a:cubicBezTo>
                    <a:lnTo>
                      <a:pt x="429086" y="351854"/>
                    </a:lnTo>
                    <a:cubicBezTo>
                      <a:pt x="427562" y="354044"/>
                      <a:pt x="426704" y="356711"/>
                      <a:pt x="426704" y="359378"/>
                    </a:cubicBezTo>
                    <a:lnTo>
                      <a:pt x="426704" y="458819"/>
                    </a:lnTo>
                    <a:lnTo>
                      <a:pt x="228584" y="458819"/>
                    </a:lnTo>
                    <a:lnTo>
                      <a:pt x="228584" y="359378"/>
                    </a:lnTo>
                    <a:cubicBezTo>
                      <a:pt x="228584" y="356711"/>
                      <a:pt x="227727" y="354044"/>
                      <a:pt x="226203" y="351854"/>
                    </a:cubicBezTo>
                    <a:lnTo>
                      <a:pt x="32084" y="76486"/>
                    </a:lnTo>
                    <a:cubicBezTo>
                      <a:pt x="25130" y="66675"/>
                      <a:pt x="24368" y="54388"/>
                      <a:pt x="29893" y="43529"/>
                    </a:cubicBezTo>
                    <a:cubicBezTo>
                      <a:pt x="35513" y="32671"/>
                      <a:pt x="45990" y="26289"/>
                      <a:pt x="58087" y="26289"/>
                    </a:cubicBezTo>
                    <a:lnTo>
                      <a:pt x="166862" y="26289"/>
                    </a:lnTo>
                    <a:cubicBezTo>
                      <a:pt x="174101" y="26289"/>
                      <a:pt x="180007" y="20383"/>
                      <a:pt x="180007" y="13145"/>
                    </a:cubicBezTo>
                    <a:cubicBezTo>
                      <a:pt x="180007" y="5905"/>
                      <a:pt x="174101" y="0"/>
                      <a:pt x="166862" y="0"/>
                    </a:cubicBezTo>
                    <a:lnTo>
                      <a:pt x="58087" y="0"/>
                    </a:lnTo>
                    <a:cubicBezTo>
                      <a:pt x="36370" y="0"/>
                      <a:pt x="16653" y="12097"/>
                      <a:pt x="6557" y="31433"/>
                    </a:cubicBezTo>
                    <a:cubicBezTo>
                      <a:pt x="-3445" y="50864"/>
                      <a:pt x="-1921" y="73914"/>
                      <a:pt x="10557" y="91630"/>
                    </a:cubicBezTo>
                    <a:lnTo>
                      <a:pt x="202295" y="363474"/>
                    </a:lnTo>
                    <a:lnTo>
                      <a:pt x="202295" y="550450"/>
                    </a:lnTo>
                    <a:cubicBezTo>
                      <a:pt x="202295" y="557689"/>
                      <a:pt x="208201" y="563594"/>
                      <a:pt x="215440" y="563594"/>
                    </a:cubicBezTo>
                    <a:lnTo>
                      <a:pt x="439849" y="563594"/>
                    </a:lnTo>
                    <a:cubicBezTo>
                      <a:pt x="447088" y="563594"/>
                      <a:pt x="452993" y="557689"/>
                      <a:pt x="452993" y="550450"/>
                    </a:cubicBezTo>
                    <a:lnTo>
                      <a:pt x="452993" y="363474"/>
                    </a:lnTo>
                    <a:lnTo>
                      <a:pt x="644732" y="91630"/>
                    </a:lnTo>
                    <a:cubicBezTo>
                      <a:pt x="657305" y="73914"/>
                      <a:pt x="658829" y="50864"/>
                      <a:pt x="648732" y="31433"/>
                    </a:cubicBezTo>
                    <a:close/>
                    <a:moveTo>
                      <a:pt x="426704" y="537401"/>
                    </a:moveTo>
                    <a:lnTo>
                      <a:pt x="228584" y="537401"/>
                    </a:lnTo>
                    <a:lnTo>
                      <a:pt x="228584" y="485108"/>
                    </a:lnTo>
                    <a:lnTo>
                      <a:pt x="426704" y="485108"/>
                    </a:lnTo>
                    <a:lnTo>
                      <a:pt x="426704" y="53740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86">
                <a:extLst>
                  <a:ext uri="{FF2B5EF4-FFF2-40B4-BE49-F238E27FC236}">
                    <a16:creationId xmlns:a16="http://schemas.microsoft.com/office/drawing/2014/main" id="{F0952230-FBDF-5AD1-8292-54FC0BF0E1A8}"/>
                  </a:ext>
                </a:extLst>
              </p:cNvPr>
              <p:cNvSpPr/>
              <p:nvPr/>
            </p:nvSpPr>
            <p:spPr>
              <a:xfrm>
                <a:off x="6712306" y="2434238"/>
                <a:ext cx="47531" cy="179230"/>
              </a:xfrm>
              <a:custGeom>
                <a:avLst/>
                <a:gdLst>
                  <a:gd name="connsiteX0" fmla="*/ 11677 w 47531"/>
                  <a:gd name="connsiteY0" fmla="*/ 77599 h 179230"/>
                  <a:gd name="connsiteX1" fmla="*/ 20631 w 47531"/>
                  <a:gd name="connsiteY1" fmla="*/ 101317 h 179230"/>
                  <a:gd name="connsiteX2" fmla="*/ 2914 w 47531"/>
                  <a:gd name="connsiteY2" fmla="*/ 158181 h 179230"/>
                  <a:gd name="connsiteX3" fmla="*/ 5391 w 47531"/>
                  <a:gd name="connsiteY3" fmla="*/ 176564 h 179230"/>
                  <a:gd name="connsiteX4" fmla="*/ 13296 w 47531"/>
                  <a:gd name="connsiteY4" fmla="*/ 179231 h 179230"/>
                  <a:gd name="connsiteX5" fmla="*/ 23774 w 47531"/>
                  <a:gd name="connsiteY5" fmla="*/ 174088 h 179230"/>
                  <a:gd name="connsiteX6" fmla="*/ 46539 w 47531"/>
                  <a:gd name="connsiteY6" fmla="*/ 97411 h 179230"/>
                  <a:gd name="connsiteX7" fmla="*/ 35109 w 47531"/>
                  <a:gd name="connsiteY7" fmla="*/ 65884 h 179230"/>
                  <a:gd name="connsiteX8" fmla="*/ 28251 w 47531"/>
                  <a:gd name="connsiteY8" fmla="*/ 50644 h 179230"/>
                  <a:gd name="connsiteX9" fmla="*/ 31775 w 47531"/>
                  <a:gd name="connsiteY9" fmla="*/ 20354 h 179230"/>
                  <a:gd name="connsiteX10" fmla="*/ 27965 w 47531"/>
                  <a:gd name="connsiteY10" fmla="*/ 2161 h 179230"/>
                  <a:gd name="connsiteX11" fmla="*/ 9772 w 47531"/>
                  <a:gd name="connsiteY11" fmla="*/ 5971 h 179230"/>
                  <a:gd name="connsiteX12" fmla="*/ 3390 w 47531"/>
                  <a:gd name="connsiteY12" fmla="*/ 59502 h 179230"/>
                  <a:gd name="connsiteX13" fmla="*/ 11487 w 47531"/>
                  <a:gd name="connsiteY13" fmla="*/ 77599 h 179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7531" h="179230">
                    <a:moveTo>
                      <a:pt x="11677" y="77599"/>
                    </a:moveTo>
                    <a:cubicBezTo>
                      <a:pt x="15773" y="85886"/>
                      <a:pt x="19392" y="92935"/>
                      <a:pt x="20631" y="101317"/>
                    </a:cubicBezTo>
                    <a:cubicBezTo>
                      <a:pt x="23488" y="120176"/>
                      <a:pt x="17678" y="138750"/>
                      <a:pt x="2914" y="158181"/>
                    </a:cubicBezTo>
                    <a:cubicBezTo>
                      <a:pt x="-1467" y="163991"/>
                      <a:pt x="-324" y="172183"/>
                      <a:pt x="5391" y="176564"/>
                    </a:cubicBezTo>
                    <a:cubicBezTo>
                      <a:pt x="7772" y="178374"/>
                      <a:pt x="10534" y="179231"/>
                      <a:pt x="13296" y="179231"/>
                    </a:cubicBezTo>
                    <a:cubicBezTo>
                      <a:pt x="17297" y="179231"/>
                      <a:pt x="21202" y="177421"/>
                      <a:pt x="23774" y="174088"/>
                    </a:cubicBezTo>
                    <a:cubicBezTo>
                      <a:pt x="42824" y="149132"/>
                      <a:pt x="50444" y="123319"/>
                      <a:pt x="46539" y="97411"/>
                    </a:cubicBezTo>
                    <a:cubicBezTo>
                      <a:pt x="44634" y="84934"/>
                      <a:pt x="39776" y="75218"/>
                      <a:pt x="35109" y="65884"/>
                    </a:cubicBezTo>
                    <a:cubicBezTo>
                      <a:pt x="32537" y="60740"/>
                      <a:pt x="30060" y="55882"/>
                      <a:pt x="28251" y="50644"/>
                    </a:cubicBezTo>
                    <a:cubicBezTo>
                      <a:pt x="24726" y="40833"/>
                      <a:pt x="26155" y="28927"/>
                      <a:pt x="31775" y="20354"/>
                    </a:cubicBezTo>
                    <a:cubicBezTo>
                      <a:pt x="35775" y="14258"/>
                      <a:pt x="34061" y="6162"/>
                      <a:pt x="27965" y="2161"/>
                    </a:cubicBezTo>
                    <a:cubicBezTo>
                      <a:pt x="21964" y="-1839"/>
                      <a:pt x="13773" y="-125"/>
                      <a:pt x="9772" y="5971"/>
                    </a:cubicBezTo>
                    <a:cubicBezTo>
                      <a:pt x="-420" y="21402"/>
                      <a:pt x="-2801" y="41976"/>
                      <a:pt x="3390" y="59502"/>
                    </a:cubicBezTo>
                    <a:cubicBezTo>
                      <a:pt x="5772" y="66169"/>
                      <a:pt x="8629" y="71980"/>
                      <a:pt x="11487" y="7759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87">
                <a:extLst>
                  <a:ext uri="{FF2B5EF4-FFF2-40B4-BE49-F238E27FC236}">
                    <a16:creationId xmlns:a16="http://schemas.microsoft.com/office/drawing/2014/main" id="{FBCD5A4A-1078-E812-E077-EE62597F71F9}"/>
                  </a:ext>
                </a:extLst>
              </p:cNvPr>
              <p:cNvSpPr/>
              <p:nvPr/>
            </p:nvSpPr>
            <p:spPr>
              <a:xfrm>
                <a:off x="6803365" y="2434233"/>
                <a:ext cx="47436" cy="179235"/>
              </a:xfrm>
              <a:custGeom>
                <a:avLst/>
                <a:gdLst>
                  <a:gd name="connsiteX0" fmla="*/ 11582 w 47436"/>
                  <a:gd name="connsiteY0" fmla="*/ 77604 h 179235"/>
                  <a:gd name="connsiteX1" fmla="*/ 20535 w 47436"/>
                  <a:gd name="connsiteY1" fmla="*/ 101321 h 179235"/>
                  <a:gd name="connsiteX2" fmla="*/ 2819 w 47436"/>
                  <a:gd name="connsiteY2" fmla="*/ 158185 h 179235"/>
                  <a:gd name="connsiteX3" fmla="*/ 5295 w 47436"/>
                  <a:gd name="connsiteY3" fmla="*/ 176569 h 179235"/>
                  <a:gd name="connsiteX4" fmla="*/ 13201 w 47436"/>
                  <a:gd name="connsiteY4" fmla="*/ 179236 h 179235"/>
                  <a:gd name="connsiteX5" fmla="*/ 23679 w 47436"/>
                  <a:gd name="connsiteY5" fmla="*/ 174092 h 179235"/>
                  <a:gd name="connsiteX6" fmla="*/ 46443 w 47436"/>
                  <a:gd name="connsiteY6" fmla="*/ 97416 h 179235"/>
                  <a:gd name="connsiteX7" fmla="*/ 35013 w 47436"/>
                  <a:gd name="connsiteY7" fmla="*/ 65888 h 179235"/>
                  <a:gd name="connsiteX8" fmla="*/ 28155 w 47436"/>
                  <a:gd name="connsiteY8" fmla="*/ 50648 h 179235"/>
                  <a:gd name="connsiteX9" fmla="*/ 31680 w 47436"/>
                  <a:gd name="connsiteY9" fmla="*/ 20359 h 179235"/>
                  <a:gd name="connsiteX10" fmla="*/ 27965 w 47436"/>
                  <a:gd name="connsiteY10" fmla="*/ 2166 h 179235"/>
                  <a:gd name="connsiteX11" fmla="*/ 9772 w 47436"/>
                  <a:gd name="connsiteY11" fmla="*/ 5881 h 179235"/>
                  <a:gd name="connsiteX12" fmla="*/ 3390 w 47436"/>
                  <a:gd name="connsiteY12" fmla="*/ 59411 h 179235"/>
                  <a:gd name="connsiteX13" fmla="*/ 11487 w 47436"/>
                  <a:gd name="connsiteY13" fmla="*/ 77604 h 179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7436" h="179235">
                    <a:moveTo>
                      <a:pt x="11582" y="77604"/>
                    </a:moveTo>
                    <a:cubicBezTo>
                      <a:pt x="15678" y="85795"/>
                      <a:pt x="19297" y="92939"/>
                      <a:pt x="20535" y="101321"/>
                    </a:cubicBezTo>
                    <a:cubicBezTo>
                      <a:pt x="23393" y="120181"/>
                      <a:pt x="17583" y="138850"/>
                      <a:pt x="2819" y="158185"/>
                    </a:cubicBezTo>
                    <a:cubicBezTo>
                      <a:pt x="-1563" y="163996"/>
                      <a:pt x="-420" y="172187"/>
                      <a:pt x="5295" y="176569"/>
                    </a:cubicBezTo>
                    <a:cubicBezTo>
                      <a:pt x="7677" y="178378"/>
                      <a:pt x="10439" y="179236"/>
                      <a:pt x="13201" y="179236"/>
                    </a:cubicBezTo>
                    <a:cubicBezTo>
                      <a:pt x="17202" y="179236"/>
                      <a:pt x="21107" y="177426"/>
                      <a:pt x="23679" y="174092"/>
                    </a:cubicBezTo>
                    <a:cubicBezTo>
                      <a:pt x="42729" y="149137"/>
                      <a:pt x="50349" y="123324"/>
                      <a:pt x="46443" y="97416"/>
                    </a:cubicBezTo>
                    <a:cubicBezTo>
                      <a:pt x="44538" y="84938"/>
                      <a:pt x="39681" y="75318"/>
                      <a:pt x="35013" y="65888"/>
                    </a:cubicBezTo>
                    <a:cubicBezTo>
                      <a:pt x="32442" y="60745"/>
                      <a:pt x="29965" y="55887"/>
                      <a:pt x="28155" y="50648"/>
                    </a:cubicBezTo>
                    <a:cubicBezTo>
                      <a:pt x="24631" y="40837"/>
                      <a:pt x="26060" y="28931"/>
                      <a:pt x="31680" y="20359"/>
                    </a:cubicBezTo>
                    <a:cubicBezTo>
                      <a:pt x="35680" y="14263"/>
                      <a:pt x="33966" y="6166"/>
                      <a:pt x="27965" y="2166"/>
                    </a:cubicBezTo>
                    <a:cubicBezTo>
                      <a:pt x="21869" y="-1835"/>
                      <a:pt x="13773" y="-120"/>
                      <a:pt x="9772" y="5881"/>
                    </a:cubicBezTo>
                    <a:cubicBezTo>
                      <a:pt x="-420" y="21311"/>
                      <a:pt x="-2801" y="41885"/>
                      <a:pt x="3390" y="59411"/>
                    </a:cubicBezTo>
                    <a:cubicBezTo>
                      <a:pt x="5772" y="66079"/>
                      <a:pt x="8724" y="71889"/>
                      <a:pt x="11487" y="7760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8">
                <a:extLst>
                  <a:ext uri="{FF2B5EF4-FFF2-40B4-BE49-F238E27FC236}">
                    <a16:creationId xmlns:a16="http://schemas.microsoft.com/office/drawing/2014/main" id="{F812E6A4-8260-DCBD-70F9-1018C3E29D41}"/>
                  </a:ext>
                </a:extLst>
              </p:cNvPr>
              <p:cNvSpPr/>
              <p:nvPr/>
            </p:nvSpPr>
            <p:spPr>
              <a:xfrm>
                <a:off x="6701980" y="2665476"/>
                <a:ext cx="75438" cy="75437"/>
              </a:xfrm>
              <a:custGeom>
                <a:avLst/>
                <a:gdLst>
                  <a:gd name="connsiteX0" fmla="*/ 37719 w 75438"/>
                  <a:gd name="connsiteY0" fmla="*/ 75438 h 75437"/>
                  <a:gd name="connsiteX1" fmla="*/ 75438 w 75438"/>
                  <a:gd name="connsiteY1" fmla="*/ 37719 h 75437"/>
                  <a:gd name="connsiteX2" fmla="*/ 37719 w 75438"/>
                  <a:gd name="connsiteY2" fmla="*/ 0 h 75437"/>
                  <a:gd name="connsiteX3" fmla="*/ 0 w 75438"/>
                  <a:gd name="connsiteY3" fmla="*/ 37719 h 75437"/>
                  <a:gd name="connsiteX4" fmla="*/ 37719 w 75438"/>
                  <a:gd name="connsiteY4" fmla="*/ 75438 h 75437"/>
                  <a:gd name="connsiteX5" fmla="*/ 37719 w 75438"/>
                  <a:gd name="connsiteY5" fmla="*/ 26289 h 75437"/>
                  <a:gd name="connsiteX6" fmla="*/ 49149 w 75438"/>
                  <a:gd name="connsiteY6" fmla="*/ 37719 h 75437"/>
                  <a:gd name="connsiteX7" fmla="*/ 37719 w 75438"/>
                  <a:gd name="connsiteY7" fmla="*/ 49149 h 75437"/>
                  <a:gd name="connsiteX8" fmla="*/ 26289 w 75438"/>
                  <a:gd name="connsiteY8" fmla="*/ 37719 h 75437"/>
                  <a:gd name="connsiteX9" fmla="*/ 37719 w 75438"/>
                  <a:gd name="connsiteY9" fmla="*/ 26289 h 75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438" h="75437">
                    <a:moveTo>
                      <a:pt x="37719" y="75438"/>
                    </a:moveTo>
                    <a:cubicBezTo>
                      <a:pt x="58483" y="75438"/>
                      <a:pt x="75438" y="58483"/>
                      <a:pt x="75438" y="37719"/>
                    </a:cubicBezTo>
                    <a:cubicBezTo>
                      <a:pt x="75438" y="16955"/>
                      <a:pt x="58483" y="0"/>
                      <a:pt x="37719" y="0"/>
                    </a:cubicBezTo>
                    <a:cubicBezTo>
                      <a:pt x="16954" y="0"/>
                      <a:pt x="0" y="16955"/>
                      <a:pt x="0" y="37719"/>
                    </a:cubicBezTo>
                    <a:cubicBezTo>
                      <a:pt x="0" y="58483"/>
                      <a:pt x="16954" y="75438"/>
                      <a:pt x="37719" y="75438"/>
                    </a:cubicBezTo>
                    <a:close/>
                    <a:moveTo>
                      <a:pt x="37719" y="26289"/>
                    </a:moveTo>
                    <a:cubicBezTo>
                      <a:pt x="44006" y="26289"/>
                      <a:pt x="49149" y="31432"/>
                      <a:pt x="49149" y="37719"/>
                    </a:cubicBezTo>
                    <a:cubicBezTo>
                      <a:pt x="49149" y="44005"/>
                      <a:pt x="44006" y="49149"/>
                      <a:pt x="37719" y="49149"/>
                    </a:cubicBezTo>
                    <a:cubicBezTo>
                      <a:pt x="31432" y="49149"/>
                      <a:pt x="26289" y="44005"/>
                      <a:pt x="26289" y="37719"/>
                    </a:cubicBezTo>
                    <a:cubicBezTo>
                      <a:pt x="26289" y="31432"/>
                      <a:pt x="31432" y="26289"/>
                      <a:pt x="37719" y="2628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Freeform: Shape 89">
                <a:extLst>
                  <a:ext uri="{FF2B5EF4-FFF2-40B4-BE49-F238E27FC236}">
                    <a16:creationId xmlns:a16="http://schemas.microsoft.com/office/drawing/2014/main" id="{D7CE34F9-523A-EE81-91D0-9165021B837D}"/>
                  </a:ext>
                </a:extLst>
              </p:cNvPr>
              <p:cNvSpPr/>
              <p:nvPr/>
            </p:nvSpPr>
            <p:spPr>
              <a:xfrm>
                <a:off x="6780561" y="2761583"/>
                <a:ext cx="75438" cy="75437"/>
              </a:xfrm>
              <a:custGeom>
                <a:avLst/>
                <a:gdLst>
                  <a:gd name="connsiteX0" fmla="*/ 37719 w 75438"/>
                  <a:gd name="connsiteY0" fmla="*/ 75438 h 75437"/>
                  <a:gd name="connsiteX1" fmla="*/ 75438 w 75438"/>
                  <a:gd name="connsiteY1" fmla="*/ 37719 h 75437"/>
                  <a:gd name="connsiteX2" fmla="*/ 37719 w 75438"/>
                  <a:gd name="connsiteY2" fmla="*/ 0 h 75437"/>
                  <a:gd name="connsiteX3" fmla="*/ 0 w 75438"/>
                  <a:gd name="connsiteY3" fmla="*/ 37719 h 75437"/>
                  <a:gd name="connsiteX4" fmla="*/ 37719 w 75438"/>
                  <a:gd name="connsiteY4" fmla="*/ 75438 h 75437"/>
                  <a:gd name="connsiteX5" fmla="*/ 37719 w 75438"/>
                  <a:gd name="connsiteY5" fmla="*/ 26289 h 75437"/>
                  <a:gd name="connsiteX6" fmla="*/ 49149 w 75438"/>
                  <a:gd name="connsiteY6" fmla="*/ 37719 h 75437"/>
                  <a:gd name="connsiteX7" fmla="*/ 37719 w 75438"/>
                  <a:gd name="connsiteY7" fmla="*/ 49149 h 75437"/>
                  <a:gd name="connsiteX8" fmla="*/ 26289 w 75438"/>
                  <a:gd name="connsiteY8" fmla="*/ 37719 h 75437"/>
                  <a:gd name="connsiteX9" fmla="*/ 37719 w 75438"/>
                  <a:gd name="connsiteY9" fmla="*/ 26289 h 75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438" h="75437">
                    <a:moveTo>
                      <a:pt x="37719" y="75438"/>
                    </a:moveTo>
                    <a:cubicBezTo>
                      <a:pt x="58483" y="75438"/>
                      <a:pt x="75438" y="58483"/>
                      <a:pt x="75438" y="37719"/>
                    </a:cubicBezTo>
                    <a:cubicBezTo>
                      <a:pt x="75438" y="16954"/>
                      <a:pt x="58483" y="0"/>
                      <a:pt x="37719" y="0"/>
                    </a:cubicBezTo>
                    <a:cubicBezTo>
                      <a:pt x="16955" y="0"/>
                      <a:pt x="0" y="16954"/>
                      <a:pt x="0" y="37719"/>
                    </a:cubicBezTo>
                    <a:cubicBezTo>
                      <a:pt x="0" y="58483"/>
                      <a:pt x="16955" y="75438"/>
                      <a:pt x="37719" y="75438"/>
                    </a:cubicBezTo>
                    <a:close/>
                    <a:moveTo>
                      <a:pt x="37719" y="26289"/>
                    </a:moveTo>
                    <a:cubicBezTo>
                      <a:pt x="44006" y="26289"/>
                      <a:pt x="49149" y="31432"/>
                      <a:pt x="49149" y="37719"/>
                    </a:cubicBezTo>
                    <a:cubicBezTo>
                      <a:pt x="49149" y="44005"/>
                      <a:pt x="44006" y="49149"/>
                      <a:pt x="37719" y="49149"/>
                    </a:cubicBezTo>
                    <a:cubicBezTo>
                      <a:pt x="31432" y="49149"/>
                      <a:pt x="26289" y="44005"/>
                      <a:pt x="26289" y="37719"/>
                    </a:cubicBezTo>
                    <a:cubicBezTo>
                      <a:pt x="26289" y="31432"/>
                      <a:pt x="31432" y="26289"/>
                      <a:pt x="37719" y="2628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90">
                <a:extLst>
                  <a:ext uri="{FF2B5EF4-FFF2-40B4-BE49-F238E27FC236}">
                    <a16:creationId xmlns:a16="http://schemas.microsoft.com/office/drawing/2014/main" id="{5ADA4A3B-16EE-CD0B-E32B-8EE9F1ACFF29}"/>
                  </a:ext>
                </a:extLst>
              </p:cNvPr>
              <p:cNvSpPr/>
              <p:nvPr/>
            </p:nvSpPr>
            <p:spPr>
              <a:xfrm>
                <a:off x="6981539" y="2945034"/>
                <a:ext cx="75437" cy="75438"/>
              </a:xfrm>
              <a:custGeom>
                <a:avLst/>
                <a:gdLst>
                  <a:gd name="connsiteX0" fmla="*/ 37719 w 75437"/>
                  <a:gd name="connsiteY0" fmla="*/ 0 h 75438"/>
                  <a:gd name="connsiteX1" fmla="*/ 0 w 75437"/>
                  <a:gd name="connsiteY1" fmla="*/ 37719 h 75438"/>
                  <a:gd name="connsiteX2" fmla="*/ 37719 w 75437"/>
                  <a:gd name="connsiteY2" fmla="*/ 75438 h 75438"/>
                  <a:gd name="connsiteX3" fmla="*/ 75438 w 75437"/>
                  <a:gd name="connsiteY3" fmla="*/ 37719 h 75438"/>
                  <a:gd name="connsiteX4" fmla="*/ 37719 w 75437"/>
                  <a:gd name="connsiteY4" fmla="*/ 0 h 75438"/>
                  <a:gd name="connsiteX5" fmla="*/ 37719 w 75437"/>
                  <a:gd name="connsiteY5" fmla="*/ 49149 h 75438"/>
                  <a:gd name="connsiteX6" fmla="*/ 26289 w 75437"/>
                  <a:gd name="connsiteY6" fmla="*/ 37719 h 75438"/>
                  <a:gd name="connsiteX7" fmla="*/ 37719 w 75437"/>
                  <a:gd name="connsiteY7" fmla="*/ 26289 h 75438"/>
                  <a:gd name="connsiteX8" fmla="*/ 49149 w 75437"/>
                  <a:gd name="connsiteY8" fmla="*/ 37719 h 75438"/>
                  <a:gd name="connsiteX9" fmla="*/ 37719 w 75437"/>
                  <a:gd name="connsiteY9" fmla="*/ 49149 h 75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437" h="75438">
                    <a:moveTo>
                      <a:pt x="37719" y="0"/>
                    </a:moveTo>
                    <a:cubicBezTo>
                      <a:pt x="16954" y="0"/>
                      <a:pt x="0" y="16955"/>
                      <a:pt x="0" y="37719"/>
                    </a:cubicBezTo>
                    <a:cubicBezTo>
                      <a:pt x="0" y="58484"/>
                      <a:pt x="16954" y="75438"/>
                      <a:pt x="37719" y="75438"/>
                    </a:cubicBezTo>
                    <a:cubicBezTo>
                      <a:pt x="58483" y="75438"/>
                      <a:pt x="75438" y="58484"/>
                      <a:pt x="75438" y="37719"/>
                    </a:cubicBezTo>
                    <a:cubicBezTo>
                      <a:pt x="75438" y="16955"/>
                      <a:pt x="58483" y="0"/>
                      <a:pt x="37719" y="0"/>
                    </a:cubicBezTo>
                    <a:close/>
                    <a:moveTo>
                      <a:pt x="37719" y="49149"/>
                    </a:moveTo>
                    <a:cubicBezTo>
                      <a:pt x="31432" y="49149"/>
                      <a:pt x="26289" y="44006"/>
                      <a:pt x="26289" y="37719"/>
                    </a:cubicBezTo>
                    <a:cubicBezTo>
                      <a:pt x="26289" y="31433"/>
                      <a:pt x="31432" y="26289"/>
                      <a:pt x="37719" y="26289"/>
                    </a:cubicBezTo>
                    <a:cubicBezTo>
                      <a:pt x="44005" y="26289"/>
                      <a:pt x="49149" y="31433"/>
                      <a:pt x="49149" y="37719"/>
                    </a:cubicBezTo>
                    <a:cubicBezTo>
                      <a:pt x="49149" y="44006"/>
                      <a:pt x="44005" y="49149"/>
                      <a:pt x="37719" y="491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91">
                <a:extLst>
                  <a:ext uri="{FF2B5EF4-FFF2-40B4-BE49-F238E27FC236}">
                    <a16:creationId xmlns:a16="http://schemas.microsoft.com/office/drawing/2014/main" id="{A6A1A97E-DFE3-EBB4-EBB8-CE89E5E4BF6C}"/>
                  </a:ext>
                </a:extLst>
              </p:cNvPr>
              <p:cNvSpPr/>
              <p:nvPr/>
            </p:nvSpPr>
            <p:spPr>
              <a:xfrm>
                <a:off x="6501002" y="2813970"/>
                <a:ext cx="75437" cy="75437"/>
              </a:xfrm>
              <a:custGeom>
                <a:avLst/>
                <a:gdLst>
                  <a:gd name="connsiteX0" fmla="*/ 37719 w 75437"/>
                  <a:gd name="connsiteY0" fmla="*/ 0 h 75437"/>
                  <a:gd name="connsiteX1" fmla="*/ 0 w 75437"/>
                  <a:gd name="connsiteY1" fmla="*/ 37719 h 75437"/>
                  <a:gd name="connsiteX2" fmla="*/ 37719 w 75437"/>
                  <a:gd name="connsiteY2" fmla="*/ 75438 h 75437"/>
                  <a:gd name="connsiteX3" fmla="*/ 75438 w 75437"/>
                  <a:gd name="connsiteY3" fmla="*/ 37719 h 75437"/>
                  <a:gd name="connsiteX4" fmla="*/ 37719 w 75437"/>
                  <a:gd name="connsiteY4" fmla="*/ 0 h 75437"/>
                  <a:gd name="connsiteX5" fmla="*/ 37719 w 75437"/>
                  <a:gd name="connsiteY5" fmla="*/ 49149 h 75437"/>
                  <a:gd name="connsiteX6" fmla="*/ 26289 w 75437"/>
                  <a:gd name="connsiteY6" fmla="*/ 37719 h 75437"/>
                  <a:gd name="connsiteX7" fmla="*/ 37719 w 75437"/>
                  <a:gd name="connsiteY7" fmla="*/ 26289 h 75437"/>
                  <a:gd name="connsiteX8" fmla="*/ 49149 w 75437"/>
                  <a:gd name="connsiteY8" fmla="*/ 37719 h 75437"/>
                  <a:gd name="connsiteX9" fmla="*/ 37719 w 75437"/>
                  <a:gd name="connsiteY9" fmla="*/ 49149 h 75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437" h="75437">
                    <a:moveTo>
                      <a:pt x="37719" y="0"/>
                    </a:moveTo>
                    <a:cubicBezTo>
                      <a:pt x="16955" y="0"/>
                      <a:pt x="0" y="16954"/>
                      <a:pt x="0" y="37719"/>
                    </a:cubicBezTo>
                    <a:cubicBezTo>
                      <a:pt x="0" y="58483"/>
                      <a:pt x="16955" y="75438"/>
                      <a:pt x="37719" y="75438"/>
                    </a:cubicBezTo>
                    <a:cubicBezTo>
                      <a:pt x="58484" y="75438"/>
                      <a:pt x="75438" y="58483"/>
                      <a:pt x="75438" y="37719"/>
                    </a:cubicBezTo>
                    <a:cubicBezTo>
                      <a:pt x="75438" y="16954"/>
                      <a:pt x="58484" y="0"/>
                      <a:pt x="37719" y="0"/>
                    </a:cubicBezTo>
                    <a:close/>
                    <a:moveTo>
                      <a:pt x="37719" y="49149"/>
                    </a:moveTo>
                    <a:cubicBezTo>
                      <a:pt x="31432" y="49149"/>
                      <a:pt x="26289" y="44005"/>
                      <a:pt x="26289" y="37719"/>
                    </a:cubicBezTo>
                    <a:cubicBezTo>
                      <a:pt x="26289" y="31432"/>
                      <a:pt x="31432" y="26289"/>
                      <a:pt x="37719" y="26289"/>
                    </a:cubicBezTo>
                    <a:cubicBezTo>
                      <a:pt x="44006" y="26289"/>
                      <a:pt x="49149" y="31432"/>
                      <a:pt x="49149" y="37719"/>
                    </a:cubicBezTo>
                    <a:cubicBezTo>
                      <a:pt x="49149" y="44005"/>
                      <a:pt x="44006" y="49149"/>
                      <a:pt x="37719" y="4914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1" name="Agrupar 130">
            <a:extLst>
              <a:ext uri="{FF2B5EF4-FFF2-40B4-BE49-F238E27FC236}">
                <a16:creationId xmlns:a16="http://schemas.microsoft.com/office/drawing/2014/main" id="{ED746C66-D6E2-EBB5-B89A-71D999CFAA99}"/>
              </a:ext>
            </a:extLst>
          </p:cNvPr>
          <p:cNvGrpSpPr/>
          <p:nvPr/>
        </p:nvGrpSpPr>
        <p:grpSpPr>
          <a:xfrm>
            <a:off x="4279554" y="5533521"/>
            <a:ext cx="828098" cy="828098"/>
            <a:chOff x="4279704" y="5387358"/>
            <a:chExt cx="828098" cy="828098"/>
          </a:xfrm>
        </p:grpSpPr>
        <p:sp>
          <p:nvSpPr>
            <p:cNvPr id="39" name="Elipse 38">
              <a:extLst>
                <a:ext uri="{FF2B5EF4-FFF2-40B4-BE49-F238E27FC236}">
                  <a16:creationId xmlns:a16="http://schemas.microsoft.com/office/drawing/2014/main" id="{B84923D0-2726-2B80-D7B9-2A3CD981D880}"/>
                </a:ext>
              </a:extLst>
            </p:cNvPr>
            <p:cNvSpPr/>
            <p:nvPr/>
          </p:nvSpPr>
          <p:spPr>
            <a:xfrm>
              <a:off x="4279704" y="5387358"/>
              <a:ext cx="828098" cy="828098"/>
            </a:xfrm>
            <a:prstGeom prst="ellipse">
              <a:avLst/>
            </a:prstGeom>
            <a:solidFill>
              <a:srgbClr val="9DB1CB"/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92">
              <a:extLst>
                <a:ext uri="{FF2B5EF4-FFF2-40B4-BE49-F238E27FC236}">
                  <a16:creationId xmlns:a16="http://schemas.microsoft.com/office/drawing/2014/main" id="{547CB321-B4EE-22F2-F9B9-F48EA8867A7A}"/>
                </a:ext>
              </a:extLst>
            </p:cNvPr>
            <p:cNvSpPr/>
            <p:nvPr/>
          </p:nvSpPr>
          <p:spPr>
            <a:xfrm>
              <a:off x="4529237" y="5619750"/>
              <a:ext cx="318487" cy="393678"/>
            </a:xfrm>
            <a:custGeom>
              <a:avLst/>
              <a:gdLst>
                <a:gd name="connsiteX0" fmla="*/ 483287 w 530233"/>
                <a:gd name="connsiteY0" fmla="*/ 423386 h 655415"/>
                <a:gd name="connsiteX1" fmla="*/ 442615 w 530233"/>
                <a:gd name="connsiteY1" fmla="*/ 382715 h 655415"/>
                <a:gd name="connsiteX2" fmla="*/ 340412 w 530233"/>
                <a:gd name="connsiteY2" fmla="*/ 280416 h 655415"/>
                <a:gd name="connsiteX3" fmla="*/ 340412 w 530233"/>
                <a:gd name="connsiteY3" fmla="*/ 26289 h 655415"/>
                <a:gd name="connsiteX4" fmla="*/ 391942 w 530233"/>
                <a:gd name="connsiteY4" fmla="*/ 26289 h 655415"/>
                <a:gd name="connsiteX5" fmla="*/ 405087 w 530233"/>
                <a:gd name="connsiteY5" fmla="*/ 13145 h 655415"/>
                <a:gd name="connsiteX6" fmla="*/ 391942 w 530233"/>
                <a:gd name="connsiteY6" fmla="*/ 0 h 655415"/>
                <a:gd name="connsiteX7" fmla="*/ 140196 w 530233"/>
                <a:gd name="connsiteY7" fmla="*/ 0 h 655415"/>
                <a:gd name="connsiteX8" fmla="*/ 127052 w 530233"/>
                <a:gd name="connsiteY8" fmla="*/ 13145 h 655415"/>
                <a:gd name="connsiteX9" fmla="*/ 140196 w 530233"/>
                <a:gd name="connsiteY9" fmla="*/ 26289 h 655415"/>
                <a:gd name="connsiteX10" fmla="*/ 190012 w 530233"/>
                <a:gd name="connsiteY10" fmla="*/ 26289 h 655415"/>
                <a:gd name="connsiteX11" fmla="*/ 190012 w 530233"/>
                <a:gd name="connsiteY11" fmla="*/ 280416 h 655415"/>
                <a:gd name="connsiteX12" fmla="*/ 47042 w 530233"/>
                <a:gd name="connsiteY12" fmla="*/ 423386 h 655415"/>
                <a:gd name="connsiteX13" fmla="*/ 47328 w 530233"/>
                <a:gd name="connsiteY13" fmla="*/ 651605 h 655415"/>
                <a:gd name="connsiteX14" fmla="*/ 56567 w 530233"/>
                <a:gd name="connsiteY14" fmla="*/ 655415 h 655415"/>
                <a:gd name="connsiteX15" fmla="*/ 473667 w 530233"/>
                <a:gd name="connsiteY15" fmla="*/ 655415 h 655415"/>
                <a:gd name="connsiteX16" fmla="*/ 482906 w 530233"/>
                <a:gd name="connsiteY16" fmla="*/ 651605 h 655415"/>
                <a:gd name="connsiteX17" fmla="*/ 483192 w 530233"/>
                <a:gd name="connsiteY17" fmla="*/ 423386 h 655415"/>
                <a:gd name="connsiteX18" fmla="*/ 468142 w 530233"/>
                <a:gd name="connsiteY18" fmla="*/ 629222 h 655415"/>
                <a:gd name="connsiteX19" fmla="*/ 62282 w 530233"/>
                <a:gd name="connsiteY19" fmla="*/ 629222 h 655415"/>
                <a:gd name="connsiteX20" fmla="*/ 26658 w 530233"/>
                <a:gd name="connsiteY20" fmla="*/ 537496 h 655415"/>
                <a:gd name="connsiteX21" fmla="*/ 65616 w 530233"/>
                <a:gd name="connsiteY21" fmla="*/ 441960 h 655415"/>
                <a:gd name="connsiteX22" fmla="*/ 212396 w 530233"/>
                <a:gd name="connsiteY22" fmla="*/ 295180 h 655415"/>
                <a:gd name="connsiteX23" fmla="*/ 216206 w 530233"/>
                <a:gd name="connsiteY23" fmla="*/ 285941 h 655415"/>
                <a:gd name="connsiteX24" fmla="*/ 216206 w 530233"/>
                <a:gd name="connsiteY24" fmla="*/ 26289 h 655415"/>
                <a:gd name="connsiteX25" fmla="*/ 314123 w 530233"/>
                <a:gd name="connsiteY25" fmla="*/ 26289 h 655415"/>
                <a:gd name="connsiteX26" fmla="*/ 314123 w 530233"/>
                <a:gd name="connsiteY26" fmla="*/ 285845 h 655415"/>
                <a:gd name="connsiteX27" fmla="*/ 317933 w 530233"/>
                <a:gd name="connsiteY27" fmla="*/ 295085 h 655415"/>
                <a:gd name="connsiteX28" fmla="*/ 424041 w 530233"/>
                <a:gd name="connsiteY28" fmla="*/ 401193 h 655415"/>
                <a:gd name="connsiteX29" fmla="*/ 464713 w 530233"/>
                <a:gd name="connsiteY29" fmla="*/ 441865 h 655415"/>
                <a:gd name="connsiteX30" fmla="*/ 468047 w 530233"/>
                <a:gd name="connsiteY30" fmla="*/ 629222 h 65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30233" h="655415">
                  <a:moveTo>
                    <a:pt x="483287" y="423386"/>
                  </a:moveTo>
                  <a:lnTo>
                    <a:pt x="442615" y="382715"/>
                  </a:lnTo>
                  <a:lnTo>
                    <a:pt x="340412" y="280416"/>
                  </a:lnTo>
                  <a:lnTo>
                    <a:pt x="340412" y="26289"/>
                  </a:lnTo>
                  <a:lnTo>
                    <a:pt x="391942" y="26289"/>
                  </a:lnTo>
                  <a:cubicBezTo>
                    <a:pt x="399181" y="26289"/>
                    <a:pt x="405087" y="20384"/>
                    <a:pt x="405087" y="13145"/>
                  </a:cubicBezTo>
                  <a:cubicBezTo>
                    <a:pt x="405087" y="5906"/>
                    <a:pt x="399181" y="0"/>
                    <a:pt x="391942" y="0"/>
                  </a:cubicBezTo>
                  <a:lnTo>
                    <a:pt x="140196" y="0"/>
                  </a:lnTo>
                  <a:cubicBezTo>
                    <a:pt x="132957" y="0"/>
                    <a:pt x="127052" y="5906"/>
                    <a:pt x="127052" y="13145"/>
                  </a:cubicBezTo>
                  <a:cubicBezTo>
                    <a:pt x="127052" y="20384"/>
                    <a:pt x="132957" y="26289"/>
                    <a:pt x="140196" y="26289"/>
                  </a:cubicBezTo>
                  <a:lnTo>
                    <a:pt x="190012" y="26289"/>
                  </a:lnTo>
                  <a:lnTo>
                    <a:pt x="190012" y="280416"/>
                  </a:lnTo>
                  <a:lnTo>
                    <a:pt x="47042" y="423386"/>
                  </a:lnTo>
                  <a:cubicBezTo>
                    <a:pt x="-15823" y="486251"/>
                    <a:pt x="-15633" y="588645"/>
                    <a:pt x="47328" y="651605"/>
                  </a:cubicBezTo>
                  <a:cubicBezTo>
                    <a:pt x="49804" y="654082"/>
                    <a:pt x="53138" y="655415"/>
                    <a:pt x="56567" y="655415"/>
                  </a:cubicBezTo>
                  <a:lnTo>
                    <a:pt x="473667" y="655415"/>
                  </a:lnTo>
                  <a:cubicBezTo>
                    <a:pt x="477191" y="655415"/>
                    <a:pt x="480429" y="653987"/>
                    <a:pt x="482906" y="651605"/>
                  </a:cubicBezTo>
                  <a:cubicBezTo>
                    <a:pt x="545866" y="588645"/>
                    <a:pt x="546057" y="486251"/>
                    <a:pt x="483192" y="423386"/>
                  </a:cubicBezTo>
                  <a:close/>
                  <a:moveTo>
                    <a:pt x="468142" y="629222"/>
                  </a:moveTo>
                  <a:lnTo>
                    <a:pt x="62282" y="629222"/>
                  </a:lnTo>
                  <a:cubicBezTo>
                    <a:pt x="39327" y="604361"/>
                    <a:pt x="26754" y="572072"/>
                    <a:pt x="26658" y="537496"/>
                  </a:cubicBezTo>
                  <a:cubicBezTo>
                    <a:pt x="26658" y="501110"/>
                    <a:pt x="40470" y="467106"/>
                    <a:pt x="65616" y="441960"/>
                  </a:cubicBezTo>
                  <a:lnTo>
                    <a:pt x="212396" y="295180"/>
                  </a:lnTo>
                  <a:cubicBezTo>
                    <a:pt x="214872" y="292703"/>
                    <a:pt x="216206" y="289370"/>
                    <a:pt x="216206" y="285941"/>
                  </a:cubicBezTo>
                  <a:lnTo>
                    <a:pt x="216206" y="26289"/>
                  </a:lnTo>
                  <a:lnTo>
                    <a:pt x="314123" y="26289"/>
                  </a:lnTo>
                  <a:lnTo>
                    <a:pt x="314123" y="285845"/>
                  </a:lnTo>
                  <a:cubicBezTo>
                    <a:pt x="314123" y="289274"/>
                    <a:pt x="315552" y="292608"/>
                    <a:pt x="317933" y="295085"/>
                  </a:cubicBezTo>
                  <a:lnTo>
                    <a:pt x="424041" y="401193"/>
                  </a:lnTo>
                  <a:lnTo>
                    <a:pt x="464713" y="441865"/>
                  </a:lnTo>
                  <a:cubicBezTo>
                    <a:pt x="515196" y="492347"/>
                    <a:pt x="516243" y="576929"/>
                    <a:pt x="468047" y="62922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6" name="Freeform: Shape 92">
            <a:extLst>
              <a:ext uri="{FF2B5EF4-FFF2-40B4-BE49-F238E27FC236}">
                <a16:creationId xmlns:a16="http://schemas.microsoft.com/office/drawing/2014/main" id="{B4B3FA6A-79B6-7361-8B41-D17AE22E1EAF}"/>
              </a:ext>
            </a:extLst>
          </p:cNvPr>
          <p:cNvSpPr/>
          <p:nvPr/>
        </p:nvSpPr>
        <p:spPr>
          <a:xfrm>
            <a:off x="6563770" y="2180067"/>
            <a:ext cx="465895" cy="465895"/>
          </a:xfrm>
          <a:custGeom>
            <a:avLst/>
            <a:gdLst>
              <a:gd name="connsiteX0" fmla="*/ 569690 w 655796"/>
              <a:gd name="connsiteY0" fmla="*/ 191072 h 655796"/>
              <a:gd name="connsiteX1" fmla="*/ 420910 w 655796"/>
              <a:gd name="connsiteY1" fmla="*/ 191072 h 655796"/>
              <a:gd name="connsiteX2" fmla="*/ 420910 w 655796"/>
              <a:gd name="connsiteY2" fmla="*/ 181737 h 655796"/>
              <a:gd name="connsiteX3" fmla="*/ 407765 w 655796"/>
              <a:gd name="connsiteY3" fmla="*/ 168593 h 655796"/>
              <a:gd name="connsiteX4" fmla="*/ 340995 w 655796"/>
              <a:gd name="connsiteY4" fmla="*/ 168593 h 655796"/>
              <a:gd name="connsiteX5" fmla="*/ 340995 w 655796"/>
              <a:gd name="connsiteY5" fmla="*/ 26289 h 655796"/>
              <a:gd name="connsiteX6" fmla="*/ 395288 w 655796"/>
              <a:gd name="connsiteY6" fmla="*/ 26289 h 655796"/>
              <a:gd name="connsiteX7" fmla="*/ 408432 w 655796"/>
              <a:gd name="connsiteY7" fmla="*/ 13145 h 655796"/>
              <a:gd name="connsiteX8" fmla="*/ 395288 w 655796"/>
              <a:gd name="connsiteY8" fmla="*/ 0 h 655796"/>
              <a:gd name="connsiteX9" fmla="*/ 260414 w 655796"/>
              <a:gd name="connsiteY9" fmla="*/ 0 h 655796"/>
              <a:gd name="connsiteX10" fmla="*/ 247269 w 655796"/>
              <a:gd name="connsiteY10" fmla="*/ 13145 h 655796"/>
              <a:gd name="connsiteX11" fmla="*/ 260414 w 655796"/>
              <a:gd name="connsiteY11" fmla="*/ 26289 h 655796"/>
              <a:gd name="connsiteX12" fmla="*/ 314706 w 655796"/>
              <a:gd name="connsiteY12" fmla="*/ 26289 h 655796"/>
              <a:gd name="connsiteX13" fmla="*/ 314706 w 655796"/>
              <a:gd name="connsiteY13" fmla="*/ 168593 h 655796"/>
              <a:gd name="connsiteX14" fmla="*/ 247936 w 655796"/>
              <a:gd name="connsiteY14" fmla="*/ 168593 h 655796"/>
              <a:gd name="connsiteX15" fmla="*/ 234791 w 655796"/>
              <a:gd name="connsiteY15" fmla="*/ 181737 h 655796"/>
              <a:gd name="connsiteX16" fmla="*/ 234791 w 655796"/>
              <a:gd name="connsiteY16" fmla="*/ 191072 h 655796"/>
              <a:gd name="connsiteX17" fmla="*/ 86011 w 655796"/>
              <a:gd name="connsiteY17" fmla="*/ 191072 h 655796"/>
              <a:gd name="connsiteX18" fmla="*/ 0 w 655796"/>
              <a:gd name="connsiteY18" fmla="*/ 277082 h 655796"/>
              <a:gd name="connsiteX19" fmla="*/ 0 w 655796"/>
              <a:gd name="connsiteY19" fmla="*/ 642557 h 655796"/>
              <a:gd name="connsiteX20" fmla="*/ 13145 w 655796"/>
              <a:gd name="connsiteY20" fmla="*/ 655701 h 655796"/>
              <a:gd name="connsiteX21" fmla="*/ 26289 w 655796"/>
              <a:gd name="connsiteY21" fmla="*/ 642557 h 655796"/>
              <a:gd name="connsiteX22" fmla="*/ 26289 w 655796"/>
              <a:gd name="connsiteY22" fmla="*/ 277082 h 655796"/>
              <a:gd name="connsiteX23" fmla="*/ 86011 w 655796"/>
              <a:gd name="connsiteY23" fmla="*/ 217361 h 655796"/>
              <a:gd name="connsiteX24" fmla="*/ 234791 w 655796"/>
              <a:gd name="connsiteY24" fmla="*/ 217361 h 655796"/>
              <a:gd name="connsiteX25" fmla="*/ 234791 w 655796"/>
              <a:gd name="connsiteY25" fmla="*/ 280988 h 655796"/>
              <a:gd name="connsiteX26" fmla="*/ 103060 w 655796"/>
              <a:gd name="connsiteY26" fmla="*/ 280988 h 655796"/>
              <a:gd name="connsiteX27" fmla="*/ 89916 w 655796"/>
              <a:gd name="connsiteY27" fmla="*/ 294132 h 655796"/>
              <a:gd name="connsiteX28" fmla="*/ 89916 w 655796"/>
              <a:gd name="connsiteY28" fmla="*/ 642652 h 655796"/>
              <a:gd name="connsiteX29" fmla="*/ 103060 w 655796"/>
              <a:gd name="connsiteY29" fmla="*/ 655796 h 655796"/>
              <a:gd name="connsiteX30" fmla="*/ 116205 w 655796"/>
              <a:gd name="connsiteY30" fmla="*/ 642652 h 655796"/>
              <a:gd name="connsiteX31" fmla="*/ 116205 w 655796"/>
              <a:gd name="connsiteY31" fmla="*/ 307277 h 655796"/>
              <a:gd name="connsiteX32" fmla="*/ 234791 w 655796"/>
              <a:gd name="connsiteY32" fmla="*/ 307277 h 655796"/>
              <a:gd name="connsiteX33" fmla="*/ 234791 w 655796"/>
              <a:gd name="connsiteY33" fmla="*/ 319088 h 655796"/>
              <a:gd name="connsiteX34" fmla="*/ 247936 w 655796"/>
              <a:gd name="connsiteY34" fmla="*/ 332232 h 655796"/>
              <a:gd name="connsiteX35" fmla="*/ 406622 w 655796"/>
              <a:gd name="connsiteY35" fmla="*/ 332232 h 655796"/>
              <a:gd name="connsiteX36" fmla="*/ 407861 w 655796"/>
              <a:gd name="connsiteY36" fmla="*/ 332232 h 655796"/>
              <a:gd name="connsiteX37" fmla="*/ 421005 w 655796"/>
              <a:gd name="connsiteY37" fmla="*/ 319088 h 655796"/>
              <a:gd name="connsiteX38" fmla="*/ 421005 w 655796"/>
              <a:gd name="connsiteY38" fmla="*/ 307277 h 655796"/>
              <a:gd name="connsiteX39" fmla="*/ 539591 w 655796"/>
              <a:gd name="connsiteY39" fmla="*/ 307277 h 655796"/>
              <a:gd name="connsiteX40" fmla="*/ 539591 w 655796"/>
              <a:gd name="connsiteY40" fmla="*/ 642652 h 655796"/>
              <a:gd name="connsiteX41" fmla="*/ 552736 w 655796"/>
              <a:gd name="connsiteY41" fmla="*/ 655796 h 655796"/>
              <a:gd name="connsiteX42" fmla="*/ 565880 w 655796"/>
              <a:gd name="connsiteY42" fmla="*/ 642652 h 655796"/>
              <a:gd name="connsiteX43" fmla="*/ 565880 w 655796"/>
              <a:gd name="connsiteY43" fmla="*/ 294132 h 655796"/>
              <a:gd name="connsiteX44" fmla="*/ 552736 w 655796"/>
              <a:gd name="connsiteY44" fmla="*/ 280988 h 655796"/>
              <a:gd name="connsiteX45" fmla="*/ 421005 w 655796"/>
              <a:gd name="connsiteY45" fmla="*/ 280988 h 655796"/>
              <a:gd name="connsiteX46" fmla="*/ 421005 w 655796"/>
              <a:gd name="connsiteY46" fmla="*/ 217361 h 655796"/>
              <a:gd name="connsiteX47" fmla="*/ 569786 w 655796"/>
              <a:gd name="connsiteY47" fmla="*/ 217361 h 655796"/>
              <a:gd name="connsiteX48" fmla="*/ 629507 w 655796"/>
              <a:gd name="connsiteY48" fmla="*/ 277082 h 655796"/>
              <a:gd name="connsiteX49" fmla="*/ 629507 w 655796"/>
              <a:gd name="connsiteY49" fmla="*/ 642557 h 655796"/>
              <a:gd name="connsiteX50" fmla="*/ 642652 w 655796"/>
              <a:gd name="connsiteY50" fmla="*/ 655701 h 655796"/>
              <a:gd name="connsiteX51" fmla="*/ 655796 w 655796"/>
              <a:gd name="connsiteY51" fmla="*/ 642557 h 655796"/>
              <a:gd name="connsiteX52" fmla="*/ 655796 w 655796"/>
              <a:gd name="connsiteY52" fmla="*/ 277082 h 655796"/>
              <a:gd name="connsiteX53" fmla="*/ 569786 w 655796"/>
              <a:gd name="connsiteY53" fmla="*/ 191072 h 655796"/>
              <a:gd name="connsiteX54" fmla="*/ 394621 w 655796"/>
              <a:gd name="connsiteY54" fmla="*/ 305943 h 655796"/>
              <a:gd name="connsiteX55" fmla="*/ 261080 w 655796"/>
              <a:gd name="connsiteY55" fmla="*/ 305943 h 655796"/>
              <a:gd name="connsiteX56" fmla="*/ 261080 w 655796"/>
              <a:gd name="connsiteY56" fmla="*/ 194882 h 655796"/>
              <a:gd name="connsiteX57" fmla="*/ 394621 w 655796"/>
              <a:gd name="connsiteY57" fmla="*/ 194882 h 655796"/>
              <a:gd name="connsiteX58" fmla="*/ 394621 w 655796"/>
              <a:gd name="connsiteY58" fmla="*/ 305943 h 655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655796" h="655796">
                <a:moveTo>
                  <a:pt x="569690" y="191072"/>
                </a:moveTo>
                <a:lnTo>
                  <a:pt x="420910" y="191072"/>
                </a:lnTo>
                <a:lnTo>
                  <a:pt x="420910" y="181737"/>
                </a:lnTo>
                <a:cubicBezTo>
                  <a:pt x="420910" y="174498"/>
                  <a:pt x="415004" y="168593"/>
                  <a:pt x="407765" y="168593"/>
                </a:cubicBezTo>
                <a:lnTo>
                  <a:pt x="340995" y="168593"/>
                </a:lnTo>
                <a:lnTo>
                  <a:pt x="340995" y="26289"/>
                </a:lnTo>
                <a:lnTo>
                  <a:pt x="395288" y="26289"/>
                </a:lnTo>
                <a:cubicBezTo>
                  <a:pt x="402527" y="26289"/>
                  <a:pt x="408432" y="20384"/>
                  <a:pt x="408432" y="13145"/>
                </a:cubicBezTo>
                <a:cubicBezTo>
                  <a:pt x="408432" y="5906"/>
                  <a:pt x="402527" y="0"/>
                  <a:pt x="395288" y="0"/>
                </a:cubicBezTo>
                <a:lnTo>
                  <a:pt x="260414" y="0"/>
                </a:lnTo>
                <a:cubicBezTo>
                  <a:pt x="253175" y="0"/>
                  <a:pt x="247269" y="5906"/>
                  <a:pt x="247269" y="13145"/>
                </a:cubicBezTo>
                <a:cubicBezTo>
                  <a:pt x="247269" y="20384"/>
                  <a:pt x="253175" y="26289"/>
                  <a:pt x="260414" y="26289"/>
                </a:cubicBezTo>
                <a:lnTo>
                  <a:pt x="314706" y="26289"/>
                </a:lnTo>
                <a:lnTo>
                  <a:pt x="314706" y="168593"/>
                </a:lnTo>
                <a:lnTo>
                  <a:pt x="247936" y="168593"/>
                </a:lnTo>
                <a:cubicBezTo>
                  <a:pt x="240697" y="168593"/>
                  <a:pt x="234791" y="174498"/>
                  <a:pt x="234791" y="181737"/>
                </a:cubicBezTo>
                <a:lnTo>
                  <a:pt x="234791" y="191072"/>
                </a:lnTo>
                <a:lnTo>
                  <a:pt x="86011" y="191072"/>
                </a:lnTo>
                <a:cubicBezTo>
                  <a:pt x="38576" y="191072"/>
                  <a:pt x="0" y="229648"/>
                  <a:pt x="0" y="277082"/>
                </a:cubicBezTo>
                <a:lnTo>
                  <a:pt x="0" y="642557"/>
                </a:lnTo>
                <a:cubicBezTo>
                  <a:pt x="0" y="649796"/>
                  <a:pt x="5906" y="655701"/>
                  <a:pt x="13145" y="655701"/>
                </a:cubicBezTo>
                <a:cubicBezTo>
                  <a:pt x="20384" y="655701"/>
                  <a:pt x="26289" y="649796"/>
                  <a:pt x="26289" y="642557"/>
                </a:cubicBezTo>
                <a:lnTo>
                  <a:pt x="26289" y="277082"/>
                </a:lnTo>
                <a:cubicBezTo>
                  <a:pt x="26289" y="244126"/>
                  <a:pt x="53054" y="217361"/>
                  <a:pt x="86011" y="217361"/>
                </a:cubicBezTo>
                <a:lnTo>
                  <a:pt x="234791" y="217361"/>
                </a:lnTo>
                <a:lnTo>
                  <a:pt x="234791" y="280988"/>
                </a:lnTo>
                <a:lnTo>
                  <a:pt x="103060" y="280988"/>
                </a:lnTo>
                <a:cubicBezTo>
                  <a:pt x="95822" y="280988"/>
                  <a:pt x="89916" y="286893"/>
                  <a:pt x="89916" y="294132"/>
                </a:cubicBezTo>
                <a:lnTo>
                  <a:pt x="89916" y="642652"/>
                </a:lnTo>
                <a:cubicBezTo>
                  <a:pt x="89916" y="649891"/>
                  <a:pt x="95822" y="655796"/>
                  <a:pt x="103060" y="655796"/>
                </a:cubicBezTo>
                <a:cubicBezTo>
                  <a:pt x="110300" y="655796"/>
                  <a:pt x="116205" y="649891"/>
                  <a:pt x="116205" y="642652"/>
                </a:cubicBezTo>
                <a:lnTo>
                  <a:pt x="116205" y="307277"/>
                </a:lnTo>
                <a:lnTo>
                  <a:pt x="234791" y="307277"/>
                </a:lnTo>
                <a:lnTo>
                  <a:pt x="234791" y="319088"/>
                </a:lnTo>
                <a:cubicBezTo>
                  <a:pt x="234791" y="326327"/>
                  <a:pt x="240697" y="332232"/>
                  <a:pt x="247936" y="332232"/>
                </a:cubicBezTo>
                <a:lnTo>
                  <a:pt x="406622" y="332232"/>
                </a:lnTo>
                <a:cubicBezTo>
                  <a:pt x="406622" y="332232"/>
                  <a:pt x="407384" y="332232"/>
                  <a:pt x="407861" y="332232"/>
                </a:cubicBezTo>
                <a:cubicBezTo>
                  <a:pt x="415100" y="332232"/>
                  <a:pt x="421005" y="326327"/>
                  <a:pt x="421005" y="319088"/>
                </a:cubicBezTo>
                <a:lnTo>
                  <a:pt x="421005" y="307277"/>
                </a:lnTo>
                <a:lnTo>
                  <a:pt x="539591" y="307277"/>
                </a:lnTo>
                <a:lnTo>
                  <a:pt x="539591" y="642652"/>
                </a:lnTo>
                <a:cubicBezTo>
                  <a:pt x="539591" y="649891"/>
                  <a:pt x="545497" y="655796"/>
                  <a:pt x="552736" y="655796"/>
                </a:cubicBezTo>
                <a:cubicBezTo>
                  <a:pt x="559975" y="655796"/>
                  <a:pt x="565880" y="649891"/>
                  <a:pt x="565880" y="642652"/>
                </a:cubicBezTo>
                <a:lnTo>
                  <a:pt x="565880" y="294132"/>
                </a:lnTo>
                <a:cubicBezTo>
                  <a:pt x="565880" y="286893"/>
                  <a:pt x="559975" y="280988"/>
                  <a:pt x="552736" y="280988"/>
                </a:cubicBezTo>
                <a:lnTo>
                  <a:pt x="421005" y="280988"/>
                </a:lnTo>
                <a:lnTo>
                  <a:pt x="421005" y="217361"/>
                </a:lnTo>
                <a:lnTo>
                  <a:pt x="569786" y="217361"/>
                </a:lnTo>
                <a:cubicBezTo>
                  <a:pt x="602742" y="217361"/>
                  <a:pt x="629507" y="244126"/>
                  <a:pt x="629507" y="277082"/>
                </a:cubicBezTo>
                <a:lnTo>
                  <a:pt x="629507" y="642557"/>
                </a:lnTo>
                <a:cubicBezTo>
                  <a:pt x="629507" y="649796"/>
                  <a:pt x="635413" y="655701"/>
                  <a:pt x="642652" y="655701"/>
                </a:cubicBezTo>
                <a:cubicBezTo>
                  <a:pt x="649891" y="655701"/>
                  <a:pt x="655796" y="649796"/>
                  <a:pt x="655796" y="642557"/>
                </a:cubicBezTo>
                <a:lnTo>
                  <a:pt x="655796" y="277082"/>
                </a:lnTo>
                <a:cubicBezTo>
                  <a:pt x="655796" y="229648"/>
                  <a:pt x="617220" y="191072"/>
                  <a:pt x="569786" y="191072"/>
                </a:cubicBezTo>
                <a:close/>
                <a:moveTo>
                  <a:pt x="394621" y="305943"/>
                </a:moveTo>
                <a:lnTo>
                  <a:pt x="261080" y="305943"/>
                </a:lnTo>
                <a:lnTo>
                  <a:pt x="261080" y="194882"/>
                </a:lnTo>
                <a:lnTo>
                  <a:pt x="394621" y="194882"/>
                </a:lnTo>
                <a:lnTo>
                  <a:pt x="394621" y="305943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Freeform: Shape 92">
            <a:extLst>
              <a:ext uri="{FF2B5EF4-FFF2-40B4-BE49-F238E27FC236}">
                <a16:creationId xmlns:a16="http://schemas.microsoft.com/office/drawing/2014/main" id="{623B67FD-D22D-15A1-A3BC-BCFB1A5EFF2D}"/>
              </a:ext>
            </a:extLst>
          </p:cNvPr>
          <p:cNvSpPr/>
          <p:nvPr/>
        </p:nvSpPr>
        <p:spPr>
          <a:xfrm>
            <a:off x="10534579" y="5280202"/>
            <a:ext cx="465896" cy="465896"/>
          </a:xfrm>
          <a:custGeom>
            <a:avLst/>
            <a:gdLst>
              <a:gd name="connsiteX0" fmla="*/ 569690 w 655796"/>
              <a:gd name="connsiteY0" fmla="*/ 191072 h 655796"/>
              <a:gd name="connsiteX1" fmla="*/ 420910 w 655796"/>
              <a:gd name="connsiteY1" fmla="*/ 191072 h 655796"/>
              <a:gd name="connsiteX2" fmla="*/ 420910 w 655796"/>
              <a:gd name="connsiteY2" fmla="*/ 181737 h 655796"/>
              <a:gd name="connsiteX3" fmla="*/ 407765 w 655796"/>
              <a:gd name="connsiteY3" fmla="*/ 168593 h 655796"/>
              <a:gd name="connsiteX4" fmla="*/ 340995 w 655796"/>
              <a:gd name="connsiteY4" fmla="*/ 168593 h 655796"/>
              <a:gd name="connsiteX5" fmla="*/ 340995 w 655796"/>
              <a:gd name="connsiteY5" fmla="*/ 26289 h 655796"/>
              <a:gd name="connsiteX6" fmla="*/ 395288 w 655796"/>
              <a:gd name="connsiteY6" fmla="*/ 26289 h 655796"/>
              <a:gd name="connsiteX7" fmla="*/ 408432 w 655796"/>
              <a:gd name="connsiteY7" fmla="*/ 13145 h 655796"/>
              <a:gd name="connsiteX8" fmla="*/ 395288 w 655796"/>
              <a:gd name="connsiteY8" fmla="*/ 0 h 655796"/>
              <a:gd name="connsiteX9" fmla="*/ 260414 w 655796"/>
              <a:gd name="connsiteY9" fmla="*/ 0 h 655796"/>
              <a:gd name="connsiteX10" fmla="*/ 247269 w 655796"/>
              <a:gd name="connsiteY10" fmla="*/ 13145 h 655796"/>
              <a:gd name="connsiteX11" fmla="*/ 260414 w 655796"/>
              <a:gd name="connsiteY11" fmla="*/ 26289 h 655796"/>
              <a:gd name="connsiteX12" fmla="*/ 314706 w 655796"/>
              <a:gd name="connsiteY12" fmla="*/ 26289 h 655796"/>
              <a:gd name="connsiteX13" fmla="*/ 314706 w 655796"/>
              <a:gd name="connsiteY13" fmla="*/ 168593 h 655796"/>
              <a:gd name="connsiteX14" fmla="*/ 247936 w 655796"/>
              <a:gd name="connsiteY14" fmla="*/ 168593 h 655796"/>
              <a:gd name="connsiteX15" fmla="*/ 234791 w 655796"/>
              <a:gd name="connsiteY15" fmla="*/ 181737 h 655796"/>
              <a:gd name="connsiteX16" fmla="*/ 234791 w 655796"/>
              <a:gd name="connsiteY16" fmla="*/ 191072 h 655796"/>
              <a:gd name="connsiteX17" fmla="*/ 86011 w 655796"/>
              <a:gd name="connsiteY17" fmla="*/ 191072 h 655796"/>
              <a:gd name="connsiteX18" fmla="*/ 0 w 655796"/>
              <a:gd name="connsiteY18" fmla="*/ 277082 h 655796"/>
              <a:gd name="connsiteX19" fmla="*/ 0 w 655796"/>
              <a:gd name="connsiteY19" fmla="*/ 642557 h 655796"/>
              <a:gd name="connsiteX20" fmla="*/ 13145 w 655796"/>
              <a:gd name="connsiteY20" fmla="*/ 655701 h 655796"/>
              <a:gd name="connsiteX21" fmla="*/ 26289 w 655796"/>
              <a:gd name="connsiteY21" fmla="*/ 642557 h 655796"/>
              <a:gd name="connsiteX22" fmla="*/ 26289 w 655796"/>
              <a:gd name="connsiteY22" fmla="*/ 277082 h 655796"/>
              <a:gd name="connsiteX23" fmla="*/ 86011 w 655796"/>
              <a:gd name="connsiteY23" fmla="*/ 217361 h 655796"/>
              <a:gd name="connsiteX24" fmla="*/ 234791 w 655796"/>
              <a:gd name="connsiteY24" fmla="*/ 217361 h 655796"/>
              <a:gd name="connsiteX25" fmla="*/ 234791 w 655796"/>
              <a:gd name="connsiteY25" fmla="*/ 280988 h 655796"/>
              <a:gd name="connsiteX26" fmla="*/ 103060 w 655796"/>
              <a:gd name="connsiteY26" fmla="*/ 280988 h 655796"/>
              <a:gd name="connsiteX27" fmla="*/ 89916 w 655796"/>
              <a:gd name="connsiteY27" fmla="*/ 294132 h 655796"/>
              <a:gd name="connsiteX28" fmla="*/ 89916 w 655796"/>
              <a:gd name="connsiteY28" fmla="*/ 642652 h 655796"/>
              <a:gd name="connsiteX29" fmla="*/ 103060 w 655796"/>
              <a:gd name="connsiteY29" fmla="*/ 655796 h 655796"/>
              <a:gd name="connsiteX30" fmla="*/ 116205 w 655796"/>
              <a:gd name="connsiteY30" fmla="*/ 642652 h 655796"/>
              <a:gd name="connsiteX31" fmla="*/ 116205 w 655796"/>
              <a:gd name="connsiteY31" fmla="*/ 307277 h 655796"/>
              <a:gd name="connsiteX32" fmla="*/ 234791 w 655796"/>
              <a:gd name="connsiteY32" fmla="*/ 307277 h 655796"/>
              <a:gd name="connsiteX33" fmla="*/ 234791 w 655796"/>
              <a:gd name="connsiteY33" fmla="*/ 319088 h 655796"/>
              <a:gd name="connsiteX34" fmla="*/ 247936 w 655796"/>
              <a:gd name="connsiteY34" fmla="*/ 332232 h 655796"/>
              <a:gd name="connsiteX35" fmla="*/ 406622 w 655796"/>
              <a:gd name="connsiteY35" fmla="*/ 332232 h 655796"/>
              <a:gd name="connsiteX36" fmla="*/ 407861 w 655796"/>
              <a:gd name="connsiteY36" fmla="*/ 332232 h 655796"/>
              <a:gd name="connsiteX37" fmla="*/ 421005 w 655796"/>
              <a:gd name="connsiteY37" fmla="*/ 319088 h 655796"/>
              <a:gd name="connsiteX38" fmla="*/ 421005 w 655796"/>
              <a:gd name="connsiteY38" fmla="*/ 307277 h 655796"/>
              <a:gd name="connsiteX39" fmla="*/ 539591 w 655796"/>
              <a:gd name="connsiteY39" fmla="*/ 307277 h 655796"/>
              <a:gd name="connsiteX40" fmla="*/ 539591 w 655796"/>
              <a:gd name="connsiteY40" fmla="*/ 642652 h 655796"/>
              <a:gd name="connsiteX41" fmla="*/ 552736 w 655796"/>
              <a:gd name="connsiteY41" fmla="*/ 655796 h 655796"/>
              <a:gd name="connsiteX42" fmla="*/ 565880 w 655796"/>
              <a:gd name="connsiteY42" fmla="*/ 642652 h 655796"/>
              <a:gd name="connsiteX43" fmla="*/ 565880 w 655796"/>
              <a:gd name="connsiteY43" fmla="*/ 294132 h 655796"/>
              <a:gd name="connsiteX44" fmla="*/ 552736 w 655796"/>
              <a:gd name="connsiteY44" fmla="*/ 280988 h 655796"/>
              <a:gd name="connsiteX45" fmla="*/ 421005 w 655796"/>
              <a:gd name="connsiteY45" fmla="*/ 280988 h 655796"/>
              <a:gd name="connsiteX46" fmla="*/ 421005 w 655796"/>
              <a:gd name="connsiteY46" fmla="*/ 217361 h 655796"/>
              <a:gd name="connsiteX47" fmla="*/ 569786 w 655796"/>
              <a:gd name="connsiteY47" fmla="*/ 217361 h 655796"/>
              <a:gd name="connsiteX48" fmla="*/ 629507 w 655796"/>
              <a:gd name="connsiteY48" fmla="*/ 277082 h 655796"/>
              <a:gd name="connsiteX49" fmla="*/ 629507 w 655796"/>
              <a:gd name="connsiteY49" fmla="*/ 642557 h 655796"/>
              <a:gd name="connsiteX50" fmla="*/ 642652 w 655796"/>
              <a:gd name="connsiteY50" fmla="*/ 655701 h 655796"/>
              <a:gd name="connsiteX51" fmla="*/ 655796 w 655796"/>
              <a:gd name="connsiteY51" fmla="*/ 642557 h 655796"/>
              <a:gd name="connsiteX52" fmla="*/ 655796 w 655796"/>
              <a:gd name="connsiteY52" fmla="*/ 277082 h 655796"/>
              <a:gd name="connsiteX53" fmla="*/ 569786 w 655796"/>
              <a:gd name="connsiteY53" fmla="*/ 191072 h 655796"/>
              <a:gd name="connsiteX54" fmla="*/ 394621 w 655796"/>
              <a:gd name="connsiteY54" fmla="*/ 305943 h 655796"/>
              <a:gd name="connsiteX55" fmla="*/ 261080 w 655796"/>
              <a:gd name="connsiteY55" fmla="*/ 305943 h 655796"/>
              <a:gd name="connsiteX56" fmla="*/ 261080 w 655796"/>
              <a:gd name="connsiteY56" fmla="*/ 194882 h 655796"/>
              <a:gd name="connsiteX57" fmla="*/ 394621 w 655796"/>
              <a:gd name="connsiteY57" fmla="*/ 194882 h 655796"/>
              <a:gd name="connsiteX58" fmla="*/ 394621 w 655796"/>
              <a:gd name="connsiteY58" fmla="*/ 305943 h 655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655796" h="655796">
                <a:moveTo>
                  <a:pt x="569690" y="191072"/>
                </a:moveTo>
                <a:lnTo>
                  <a:pt x="420910" y="191072"/>
                </a:lnTo>
                <a:lnTo>
                  <a:pt x="420910" y="181737"/>
                </a:lnTo>
                <a:cubicBezTo>
                  <a:pt x="420910" y="174498"/>
                  <a:pt x="415004" y="168593"/>
                  <a:pt x="407765" y="168593"/>
                </a:cubicBezTo>
                <a:lnTo>
                  <a:pt x="340995" y="168593"/>
                </a:lnTo>
                <a:lnTo>
                  <a:pt x="340995" y="26289"/>
                </a:lnTo>
                <a:lnTo>
                  <a:pt x="395288" y="26289"/>
                </a:lnTo>
                <a:cubicBezTo>
                  <a:pt x="402527" y="26289"/>
                  <a:pt x="408432" y="20384"/>
                  <a:pt x="408432" y="13145"/>
                </a:cubicBezTo>
                <a:cubicBezTo>
                  <a:pt x="408432" y="5906"/>
                  <a:pt x="402527" y="0"/>
                  <a:pt x="395288" y="0"/>
                </a:cubicBezTo>
                <a:lnTo>
                  <a:pt x="260414" y="0"/>
                </a:lnTo>
                <a:cubicBezTo>
                  <a:pt x="253175" y="0"/>
                  <a:pt x="247269" y="5906"/>
                  <a:pt x="247269" y="13145"/>
                </a:cubicBezTo>
                <a:cubicBezTo>
                  <a:pt x="247269" y="20384"/>
                  <a:pt x="253175" y="26289"/>
                  <a:pt x="260414" y="26289"/>
                </a:cubicBezTo>
                <a:lnTo>
                  <a:pt x="314706" y="26289"/>
                </a:lnTo>
                <a:lnTo>
                  <a:pt x="314706" y="168593"/>
                </a:lnTo>
                <a:lnTo>
                  <a:pt x="247936" y="168593"/>
                </a:lnTo>
                <a:cubicBezTo>
                  <a:pt x="240697" y="168593"/>
                  <a:pt x="234791" y="174498"/>
                  <a:pt x="234791" y="181737"/>
                </a:cubicBezTo>
                <a:lnTo>
                  <a:pt x="234791" y="191072"/>
                </a:lnTo>
                <a:lnTo>
                  <a:pt x="86011" y="191072"/>
                </a:lnTo>
                <a:cubicBezTo>
                  <a:pt x="38576" y="191072"/>
                  <a:pt x="0" y="229648"/>
                  <a:pt x="0" y="277082"/>
                </a:cubicBezTo>
                <a:lnTo>
                  <a:pt x="0" y="642557"/>
                </a:lnTo>
                <a:cubicBezTo>
                  <a:pt x="0" y="649796"/>
                  <a:pt x="5906" y="655701"/>
                  <a:pt x="13145" y="655701"/>
                </a:cubicBezTo>
                <a:cubicBezTo>
                  <a:pt x="20384" y="655701"/>
                  <a:pt x="26289" y="649796"/>
                  <a:pt x="26289" y="642557"/>
                </a:cubicBezTo>
                <a:lnTo>
                  <a:pt x="26289" y="277082"/>
                </a:lnTo>
                <a:cubicBezTo>
                  <a:pt x="26289" y="244126"/>
                  <a:pt x="53054" y="217361"/>
                  <a:pt x="86011" y="217361"/>
                </a:cubicBezTo>
                <a:lnTo>
                  <a:pt x="234791" y="217361"/>
                </a:lnTo>
                <a:lnTo>
                  <a:pt x="234791" y="280988"/>
                </a:lnTo>
                <a:lnTo>
                  <a:pt x="103060" y="280988"/>
                </a:lnTo>
                <a:cubicBezTo>
                  <a:pt x="95822" y="280988"/>
                  <a:pt x="89916" y="286893"/>
                  <a:pt x="89916" y="294132"/>
                </a:cubicBezTo>
                <a:lnTo>
                  <a:pt x="89916" y="642652"/>
                </a:lnTo>
                <a:cubicBezTo>
                  <a:pt x="89916" y="649891"/>
                  <a:pt x="95822" y="655796"/>
                  <a:pt x="103060" y="655796"/>
                </a:cubicBezTo>
                <a:cubicBezTo>
                  <a:pt x="110300" y="655796"/>
                  <a:pt x="116205" y="649891"/>
                  <a:pt x="116205" y="642652"/>
                </a:cubicBezTo>
                <a:lnTo>
                  <a:pt x="116205" y="307277"/>
                </a:lnTo>
                <a:lnTo>
                  <a:pt x="234791" y="307277"/>
                </a:lnTo>
                <a:lnTo>
                  <a:pt x="234791" y="319088"/>
                </a:lnTo>
                <a:cubicBezTo>
                  <a:pt x="234791" y="326327"/>
                  <a:pt x="240697" y="332232"/>
                  <a:pt x="247936" y="332232"/>
                </a:cubicBezTo>
                <a:lnTo>
                  <a:pt x="406622" y="332232"/>
                </a:lnTo>
                <a:cubicBezTo>
                  <a:pt x="406622" y="332232"/>
                  <a:pt x="407384" y="332232"/>
                  <a:pt x="407861" y="332232"/>
                </a:cubicBezTo>
                <a:cubicBezTo>
                  <a:pt x="415100" y="332232"/>
                  <a:pt x="421005" y="326327"/>
                  <a:pt x="421005" y="319088"/>
                </a:cubicBezTo>
                <a:lnTo>
                  <a:pt x="421005" y="307277"/>
                </a:lnTo>
                <a:lnTo>
                  <a:pt x="539591" y="307277"/>
                </a:lnTo>
                <a:lnTo>
                  <a:pt x="539591" y="642652"/>
                </a:lnTo>
                <a:cubicBezTo>
                  <a:pt x="539591" y="649891"/>
                  <a:pt x="545497" y="655796"/>
                  <a:pt x="552736" y="655796"/>
                </a:cubicBezTo>
                <a:cubicBezTo>
                  <a:pt x="559975" y="655796"/>
                  <a:pt x="565880" y="649891"/>
                  <a:pt x="565880" y="642652"/>
                </a:cubicBezTo>
                <a:lnTo>
                  <a:pt x="565880" y="294132"/>
                </a:lnTo>
                <a:cubicBezTo>
                  <a:pt x="565880" y="286893"/>
                  <a:pt x="559975" y="280988"/>
                  <a:pt x="552736" y="280988"/>
                </a:cubicBezTo>
                <a:lnTo>
                  <a:pt x="421005" y="280988"/>
                </a:lnTo>
                <a:lnTo>
                  <a:pt x="421005" y="217361"/>
                </a:lnTo>
                <a:lnTo>
                  <a:pt x="569786" y="217361"/>
                </a:lnTo>
                <a:cubicBezTo>
                  <a:pt x="602742" y="217361"/>
                  <a:pt x="629507" y="244126"/>
                  <a:pt x="629507" y="277082"/>
                </a:cubicBezTo>
                <a:lnTo>
                  <a:pt x="629507" y="642557"/>
                </a:lnTo>
                <a:cubicBezTo>
                  <a:pt x="629507" y="649796"/>
                  <a:pt x="635413" y="655701"/>
                  <a:pt x="642652" y="655701"/>
                </a:cubicBezTo>
                <a:cubicBezTo>
                  <a:pt x="649891" y="655701"/>
                  <a:pt x="655796" y="649796"/>
                  <a:pt x="655796" y="642557"/>
                </a:cubicBezTo>
                <a:lnTo>
                  <a:pt x="655796" y="277082"/>
                </a:lnTo>
                <a:cubicBezTo>
                  <a:pt x="655796" y="229648"/>
                  <a:pt x="617220" y="191072"/>
                  <a:pt x="569786" y="191072"/>
                </a:cubicBezTo>
                <a:close/>
                <a:moveTo>
                  <a:pt x="394621" y="305943"/>
                </a:moveTo>
                <a:lnTo>
                  <a:pt x="261080" y="305943"/>
                </a:lnTo>
                <a:lnTo>
                  <a:pt x="261080" y="194882"/>
                </a:lnTo>
                <a:lnTo>
                  <a:pt x="394621" y="194882"/>
                </a:lnTo>
                <a:lnTo>
                  <a:pt x="394621" y="305943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0" name="Graphic 54">
            <a:extLst>
              <a:ext uri="{FF2B5EF4-FFF2-40B4-BE49-F238E27FC236}">
                <a16:creationId xmlns:a16="http://schemas.microsoft.com/office/drawing/2014/main" id="{AC6A8354-66D8-8E26-3264-B6129648D732}"/>
              </a:ext>
            </a:extLst>
          </p:cNvPr>
          <p:cNvGrpSpPr/>
          <p:nvPr/>
        </p:nvGrpSpPr>
        <p:grpSpPr>
          <a:xfrm>
            <a:off x="9048853" y="5253136"/>
            <a:ext cx="386830" cy="387167"/>
            <a:chOff x="1983659" y="3216763"/>
            <a:chExt cx="655891" cy="656462"/>
          </a:xfrm>
          <a:solidFill>
            <a:srgbClr val="333333"/>
          </a:solidFill>
        </p:grpSpPr>
        <p:sp>
          <p:nvSpPr>
            <p:cNvPr id="91" name="Freeform: Shape 77">
              <a:extLst>
                <a:ext uri="{FF2B5EF4-FFF2-40B4-BE49-F238E27FC236}">
                  <a16:creationId xmlns:a16="http://schemas.microsoft.com/office/drawing/2014/main" id="{BEA7390D-2088-E571-DB53-677F2E1EE8BA}"/>
                </a:ext>
              </a:extLst>
            </p:cNvPr>
            <p:cNvSpPr/>
            <p:nvPr/>
          </p:nvSpPr>
          <p:spPr>
            <a:xfrm>
              <a:off x="1983659" y="3216763"/>
              <a:ext cx="189833" cy="655796"/>
            </a:xfrm>
            <a:custGeom>
              <a:avLst/>
              <a:gdLst>
                <a:gd name="connsiteX0" fmla="*/ 167592 w 189833"/>
                <a:gd name="connsiteY0" fmla="*/ 551593 h 655796"/>
                <a:gd name="connsiteX1" fmla="*/ 108156 w 189833"/>
                <a:gd name="connsiteY1" fmla="*/ 611029 h 655796"/>
                <a:gd name="connsiteX2" fmla="*/ 108156 w 189833"/>
                <a:gd name="connsiteY2" fmla="*/ 13145 h 655796"/>
                <a:gd name="connsiteX3" fmla="*/ 95012 w 189833"/>
                <a:gd name="connsiteY3" fmla="*/ 0 h 655796"/>
                <a:gd name="connsiteX4" fmla="*/ 81867 w 189833"/>
                <a:gd name="connsiteY4" fmla="*/ 13145 h 655796"/>
                <a:gd name="connsiteX5" fmla="*/ 81867 w 189833"/>
                <a:gd name="connsiteY5" fmla="*/ 611029 h 655796"/>
                <a:gd name="connsiteX6" fmla="*/ 22431 w 189833"/>
                <a:gd name="connsiteY6" fmla="*/ 551593 h 655796"/>
                <a:gd name="connsiteX7" fmla="*/ 3858 w 189833"/>
                <a:gd name="connsiteY7" fmla="*/ 551593 h 655796"/>
                <a:gd name="connsiteX8" fmla="*/ 3858 w 189833"/>
                <a:gd name="connsiteY8" fmla="*/ 570167 h 655796"/>
                <a:gd name="connsiteX9" fmla="*/ 85677 w 189833"/>
                <a:gd name="connsiteY9" fmla="*/ 651986 h 655796"/>
                <a:gd name="connsiteX10" fmla="*/ 94917 w 189833"/>
                <a:gd name="connsiteY10" fmla="*/ 655796 h 655796"/>
                <a:gd name="connsiteX11" fmla="*/ 104156 w 189833"/>
                <a:gd name="connsiteY11" fmla="*/ 651986 h 655796"/>
                <a:gd name="connsiteX12" fmla="*/ 185976 w 189833"/>
                <a:gd name="connsiteY12" fmla="*/ 570167 h 655796"/>
                <a:gd name="connsiteX13" fmla="*/ 185976 w 189833"/>
                <a:gd name="connsiteY13" fmla="*/ 551593 h 655796"/>
                <a:gd name="connsiteX14" fmla="*/ 167402 w 189833"/>
                <a:gd name="connsiteY14" fmla="*/ 551593 h 65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9833" h="655796">
                  <a:moveTo>
                    <a:pt x="167592" y="551593"/>
                  </a:moveTo>
                  <a:lnTo>
                    <a:pt x="108156" y="611029"/>
                  </a:lnTo>
                  <a:lnTo>
                    <a:pt x="108156" y="13145"/>
                  </a:lnTo>
                  <a:cubicBezTo>
                    <a:pt x="108156" y="5906"/>
                    <a:pt x="102251" y="0"/>
                    <a:pt x="95012" y="0"/>
                  </a:cubicBezTo>
                  <a:cubicBezTo>
                    <a:pt x="87773" y="0"/>
                    <a:pt x="81867" y="5906"/>
                    <a:pt x="81867" y="13145"/>
                  </a:cubicBezTo>
                  <a:lnTo>
                    <a:pt x="81867" y="611029"/>
                  </a:lnTo>
                  <a:lnTo>
                    <a:pt x="22431" y="551593"/>
                  </a:lnTo>
                  <a:cubicBezTo>
                    <a:pt x="17288" y="546449"/>
                    <a:pt x="9001" y="546449"/>
                    <a:pt x="3858" y="551593"/>
                  </a:cubicBezTo>
                  <a:cubicBezTo>
                    <a:pt x="-1286" y="556736"/>
                    <a:pt x="-1286" y="565023"/>
                    <a:pt x="3858" y="570167"/>
                  </a:cubicBezTo>
                  <a:lnTo>
                    <a:pt x="85677" y="651986"/>
                  </a:lnTo>
                  <a:cubicBezTo>
                    <a:pt x="88154" y="654463"/>
                    <a:pt x="91488" y="655796"/>
                    <a:pt x="94917" y="655796"/>
                  </a:cubicBezTo>
                  <a:cubicBezTo>
                    <a:pt x="98346" y="655796"/>
                    <a:pt x="101775" y="654368"/>
                    <a:pt x="104156" y="651986"/>
                  </a:cubicBezTo>
                  <a:lnTo>
                    <a:pt x="185976" y="570167"/>
                  </a:lnTo>
                  <a:cubicBezTo>
                    <a:pt x="191119" y="565023"/>
                    <a:pt x="191119" y="556736"/>
                    <a:pt x="185976" y="551593"/>
                  </a:cubicBezTo>
                  <a:cubicBezTo>
                    <a:pt x="180832" y="546449"/>
                    <a:pt x="172545" y="546449"/>
                    <a:pt x="167402" y="551593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: Shape 78">
              <a:extLst>
                <a:ext uri="{FF2B5EF4-FFF2-40B4-BE49-F238E27FC236}">
                  <a16:creationId xmlns:a16="http://schemas.microsoft.com/office/drawing/2014/main" id="{944DCA7B-1BC4-984C-74C3-CF678BE13A34}"/>
                </a:ext>
              </a:extLst>
            </p:cNvPr>
            <p:cNvSpPr/>
            <p:nvPr/>
          </p:nvSpPr>
          <p:spPr>
            <a:xfrm>
              <a:off x="2167285" y="3293053"/>
              <a:ext cx="289497" cy="501877"/>
            </a:xfrm>
            <a:custGeom>
              <a:avLst/>
              <a:gdLst>
                <a:gd name="connsiteX0" fmla="*/ 276384 w 289497"/>
                <a:gd name="connsiteY0" fmla="*/ 190219 h 501877"/>
                <a:gd name="connsiteX1" fmla="*/ 193231 w 289497"/>
                <a:gd name="connsiteY1" fmla="*/ 190219 h 501877"/>
                <a:gd name="connsiteX2" fmla="*/ 223521 w 289497"/>
                <a:gd name="connsiteY2" fmla="*/ 15340 h 501877"/>
                <a:gd name="connsiteX3" fmla="*/ 215520 w 289497"/>
                <a:gd name="connsiteY3" fmla="*/ 958 h 501877"/>
                <a:gd name="connsiteX4" fmla="*/ 199803 w 289497"/>
                <a:gd name="connsiteY4" fmla="*/ 5625 h 501877"/>
                <a:gd name="connsiteX5" fmla="*/ 2350 w 289497"/>
                <a:gd name="connsiteY5" fmla="*/ 291089 h 501877"/>
                <a:gd name="connsiteX6" fmla="*/ 1493 w 289497"/>
                <a:gd name="connsiteY6" fmla="*/ 304615 h 501877"/>
                <a:gd name="connsiteX7" fmla="*/ 13113 w 289497"/>
                <a:gd name="connsiteY7" fmla="*/ 311663 h 501877"/>
                <a:gd name="connsiteX8" fmla="*/ 96267 w 289497"/>
                <a:gd name="connsiteY8" fmla="*/ 311663 h 501877"/>
                <a:gd name="connsiteX9" fmla="*/ 65977 w 289497"/>
                <a:gd name="connsiteY9" fmla="*/ 486542 h 501877"/>
                <a:gd name="connsiteX10" fmla="*/ 73978 w 289497"/>
                <a:gd name="connsiteY10" fmla="*/ 500925 h 501877"/>
                <a:gd name="connsiteX11" fmla="*/ 78931 w 289497"/>
                <a:gd name="connsiteY11" fmla="*/ 501877 h 501877"/>
                <a:gd name="connsiteX12" fmla="*/ 89694 w 289497"/>
                <a:gd name="connsiteY12" fmla="*/ 496258 h 501877"/>
                <a:gd name="connsiteX13" fmla="*/ 287148 w 289497"/>
                <a:gd name="connsiteY13" fmla="*/ 210793 h 501877"/>
                <a:gd name="connsiteX14" fmla="*/ 288005 w 289497"/>
                <a:gd name="connsiteY14" fmla="*/ 197268 h 501877"/>
                <a:gd name="connsiteX15" fmla="*/ 276384 w 289497"/>
                <a:gd name="connsiteY15" fmla="*/ 190219 h 501877"/>
                <a:gd name="connsiteX16" fmla="*/ 101982 w 289497"/>
                <a:gd name="connsiteY16" fmla="*/ 432345 h 501877"/>
                <a:gd name="connsiteX17" fmla="*/ 124746 w 289497"/>
                <a:gd name="connsiteY17" fmla="*/ 300709 h 501877"/>
                <a:gd name="connsiteX18" fmla="*/ 121889 w 289497"/>
                <a:gd name="connsiteY18" fmla="*/ 290041 h 501877"/>
                <a:gd name="connsiteX19" fmla="*/ 111888 w 289497"/>
                <a:gd name="connsiteY19" fmla="*/ 285374 h 501877"/>
                <a:gd name="connsiteX20" fmla="*/ 38164 w 289497"/>
                <a:gd name="connsiteY20" fmla="*/ 285374 h 501877"/>
                <a:gd name="connsiteX21" fmla="*/ 187516 w 289497"/>
                <a:gd name="connsiteY21" fmla="*/ 69538 h 501877"/>
                <a:gd name="connsiteX22" fmla="*/ 164751 w 289497"/>
                <a:gd name="connsiteY22" fmla="*/ 201173 h 501877"/>
                <a:gd name="connsiteX23" fmla="*/ 167609 w 289497"/>
                <a:gd name="connsiteY23" fmla="*/ 211841 h 501877"/>
                <a:gd name="connsiteX24" fmla="*/ 177610 w 289497"/>
                <a:gd name="connsiteY24" fmla="*/ 216508 h 501877"/>
                <a:gd name="connsiteX25" fmla="*/ 251334 w 289497"/>
                <a:gd name="connsiteY25" fmla="*/ 216508 h 501877"/>
                <a:gd name="connsiteX26" fmla="*/ 101982 w 289497"/>
                <a:gd name="connsiteY26" fmla="*/ 432345 h 50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89497" h="501877">
                  <a:moveTo>
                    <a:pt x="276384" y="190219"/>
                  </a:moveTo>
                  <a:lnTo>
                    <a:pt x="193231" y="190219"/>
                  </a:lnTo>
                  <a:lnTo>
                    <a:pt x="223521" y="15340"/>
                  </a:lnTo>
                  <a:cubicBezTo>
                    <a:pt x="224568" y="9244"/>
                    <a:pt x="221235" y="3244"/>
                    <a:pt x="215520" y="958"/>
                  </a:cubicBezTo>
                  <a:cubicBezTo>
                    <a:pt x="209805" y="-1328"/>
                    <a:pt x="203232" y="577"/>
                    <a:pt x="199803" y="5625"/>
                  </a:cubicBezTo>
                  <a:lnTo>
                    <a:pt x="2350" y="291089"/>
                  </a:lnTo>
                  <a:cubicBezTo>
                    <a:pt x="-412" y="295090"/>
                    <a:pt x="-793" y="300328"/>
                    <a:pt x="1493" y="304615"/>
                  </a:cubicBezTo>
                  <a:cubicBezTo>
                    <a:pt x="3779" y="308901"/>
                    <a:pt x="8256" y="311663"/>
                    <a:pt x="13113" y="311663"/>
                  </a:cubicBezTo>
                  <a:lnTo>
                    <a:pt x="96267" y="311663"/>
                  </a:lnTo>
                  <a:lnTo>
                    <a:pt x="65977" y="486542"/>
                  </a:lnTo>
                  <a:cubicBezTo>
                    <a:pt x="64929" y="492638"/>
                    <a:pt x="68263" y="498639"/>
                    <a:pt x="73978" y="500925"/>
                  </a:cubicBezTo>
                  <a:cubicBezTo>
                    <a:pt x="75597" y="501592"/>
                    <a:pt x="77312" y="501877"/>
                    <a:pt x="78931" y="501877"/>
                  </a:cubicBezTo>
                  <a:cubicBezTo>
                    <a:pt x="83122" y="501877"/>
                    <a:pt x="87218" y="499877"/>
                    <a:pt x="89694" y="496258"/>
                  </a:cubicBezTo>
                  <a:lnTo>
                    <a:pt x="287148" y="210793"/>
                  </a:lnTo>
                  <a:cubicBezTo>
                    <a:pt x="289910" y="206793"/>
                    <a:pt x="290291" y="201554"/>
                    <a:pt x="288005" y="197268"/>
                  </a:cubicBezTo>
                  <a:cubicBezTo>
                    <a:pt x="285719" y="192982"/>
                    <a:pt x="281242" y="190219"/>
                    <a:pt x="276384" y="190219"/>
                  </a:cubicBezTo>
                  <a:close/>
                  <a:moveTo>
                    <a:pt x="101982" y="432345"/>
                  </a:moveTo>
                  <a:lnTo>
                    <a:pt x="124746" y="300709"/>
                  </a:lnTo>
                  <a:cubicBezTo>
                    <a:pt x="125413" y="296899"/>
                    <a:pt x="124365" y="292994"/>
                    <a:pt x="121889" y="290041"/>
                  </a:cubicBezTo>
                  <a:cubicBezTo>
                    <a:pt x="119412" y="287089"/>
                    <a:pt x="115698" y="285374"/>
                    <a:pt x="111888" y="285374"/>
                  </a:cubicBezTo>
                  <a:lnTo>
                    <a:pt x="38164" y="285374"/>
                  </a:lnTo>
                  <a:lnTo>
                    <a:pt x="187516" y="69538"/>
                  </a:lnTo>
                  <a:lnTo>
                    <a:pt x="164751" y="201173"/>
                  </a:lnTo>
                  <a:cubicBezTo>
                    <a:pt x="164085" y="204983"/>
                    <a:pt x="165132" y="208888"/>
                    <a:pt x="167609" y="211841"/>
                  </a:cubicBezTo>
                  <a:cubicBezTo>
                    <a:pt x="170085" y="214794"/>
                    <a:pt x="173800" y="216508"/>
                    <a:pt x="177610" y="216508"/>
                  </a:cubicBezTo>
                  <a:lnTo>
                    <a:pt x="251334" y="216508"/>
                  </a:lnTo>
                  <a:lnTo>
                    <a:pt x="101982" y="432345"/>
                  </a:ln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: Shape 79">
              <a:extLst>
                <a:ext uri="{FF2B5EF4-FFF2-40B4-BE49-F238E27FC236}">
                  <a16:creationId xmlns:a16="http://schemas.microsoft.com/office/drawing/2014/main" id="{7ED578E8-8DA0-CC79-FB1D-B1A11755C898}"/>
                </a:ext>
              </a:extLst>
            </p:cNvPr>
            <p:cNvSpPr/>
            <p:nvPr/>
          </p:nvSpPr>
          <p:spPr>
            <a:xfrm>
              <a:off x="2449622" y="3217382"/>
              <a:ext cx="189928" cy="655843"/>
            </a:xfrm>
            <a:custGeom>
              <a:avLst/>
              <a:gdLst>
                <a:gd name="connsiteX0" fmla="*/ 186071 w 189928"/>
                <a:gd name="connsiteY0" fmla="*/ 85677 h 655843"/>
                <a:gd name="connsiteX1" fmla="*/ 104251 w 189928"/>
                <a:gd name="connsiteY1" fmla="*/ 3858 h 655843"/>
                <a:gd name="connsiteX2" fmla="*/ 85677 w 189928"/>
                <a:gd name="connsiteY2" fmla="*/ 3858 h 655843"/>
                <a:gd name="connsiteX3" fmla="*/ 3858 w 189928"/>
                <a:gd name="connsiteY3" fmla="*/ 85677 h 655843"/>
                <a:gd name="connsiteX4" fmla="*/ 3858 w 189928"/>
                <a:gd name="connsiteY4" fmla="*/ 104251 h 655843"/>
                <a:gd name="connsiteX5" fmla="*/ 22431 w 189928"/>
                <a:gd name="connsiteY5" fmla="*/ 104251 h 655843"/>
                <a:gd name="connsiteX6" fmla="*/ 81867 w 189928"/>
                <a:gd name="connsiteY6" fmla="*/ 44815 h 655843"/>
                <a:gd name="connsiteX7" fmla="*/ 81867 w 189928"/>
                <a:gd name="connsiteY7" fmla="*/ 642699 h 655843"/>
                <a:gd name="connsiteX8" fmla="*/ 95012 w 189928"/>
                <a:gd name="connsiteY8" fmla="*/ 655844 h 655843"/>
                <a:gd name="connsiteX9" fmla="*/ 108156 w 189928"/>
                <a:gd name="connsiteY9" fmla="*/ 642699 h 655843"/>
                <a:gd name="connsiteX10" fmla="*/ 108156 w 189928"/>
                <a:gd name="connsiteY10" fmla="*/ 44815 h 655843"/>
                <a:gd name="connsiteX11" fmla="*/ 167592 w 189928"/>
                <a:gd name="connsiteY11" fmla="*/ 104251 h 655843"/>
                <a:gd name="connsiteX12" fmla="*/ 176832 w 189928"/>
                <a:gd name="connsiteY12" fmla="*/ 108061 h 655843"/>
                <a:gd name="connsiteX13" fmla="*/ 186071 w 189928"/>
                <a:gd name="connsiteY13" fmla="*/ 104251 h 655843"/>
                <a:gd name="connsiteX14" fmla="*/ 186071 w 189928"/>
                <a:gd name="connsiteY14" fmla="*/ 85677 h 655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9928" h="655843">
                  <a:moveTo>
                    <a:pt x="186071" y="85677"/>
                  </a:moveTo>
                  <a:lnTo>
                    <a:pt x="104251" y="3858"/>
                  </a:lnTo>
                  <a:cubicBezTo>
                    <a:pt x="99108" y="-1286"/>
                    <a:pt x="90821" y="-1286"/>
                    <a:pt x="85677" y="3858"/>
                  </a:cubicBezTo>
                  <a:lnTo>
                    <a:pt x="3858" y="85677"/>
                  </a:lnTo>
                  <a:cubicBezTo>
                    <a:pt x="-1286" y="90821"/>
                    <a:pt x="-1286" y="99108"/>
                    <a:pt x="3858" y="104251"/>
                  </a:cubicBezTo>
                  <a:cubicBezTo>
                    <a:pt x="9001" y="109395"/>
                    <a:pt x="17288" y="109395"/>
                    <a:pt x="22431" y="104251"/>
                  </a:cubicBezTo>
                  <a:lnTo>
                    <a:pt x="81867" y="44815"/>
                  </a:lnTo>
                  <a:lnTo>
                    <a:pt x="81867" y="642699"/>
                  </a:lnTo>
                  <a:cubicBezTo>
                    <a:pt x="81867" y="649938"/>
                    <a:pt x="87773" y="655844"/>
                    <a:pt x="95012" y="655844"/>
                  </a:cubicBezTo>
                  <a:cubicBezTo>
                    <a:pt x="102251" y="655844"/>
                    <a:pt x="108156" y="649938"/>
                    <a:pt x="108156" y="642699"/>
                  </a:cubicBezTo>
                  <a:lnTo>
                    <a:pt x="108156" y="44815"/>
                  </a:lnTo>
                  <a:lnTo>
                    <a:pt x="167592" y="104251"/>
                  </a:lnTo>
                  <a:cubicBezTo>
                    <a:pt x="170164" y="106823"/>
                    <a:pt x="173498" y="108061"/>
                    <a:pt x="176832" y="108061"/>
                  </a:cubicBezTo>
                  <a:cubicBezTo>
                    <a:pt x="180165" y="108061"/>
                    <a:pt x="183594" y="106823"/>
                    <a:pt x="186071" y="104251"/>
                  </a:cubicBezTo>
                  <a:cubicBezTo>
                    <a:pt x="191214" y="99108"/>
                    <a:pt x="191214" y="90821"/>
                    <a:pt x="186071" y="85677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4" name="Graphic 12">
            <a:extLst>
              <a:ext uri="{FF2B5EF4-FFF2-40B4-BE49-F238E27FC236}">
                <a16:creationId xmlns:a16="http://schemas.microsoft.com/office/drawing/2014/main" id="{2B1255F5-26A6-A97A-8FD4-75E63A22AA12}"/>
              </a:ext>
            </a:extLst>
          </p:cNvPr>
          <p:cNvGrpSpPr/>
          <p:nvPr/>
        </p:nvGrpSpPr>
        <p:grpSpPr>
          <a:xfrm>
            <a:off x="9004648" y="4229528"/>
            <a:ext cx="493175" cy="492979"/>
            <a:chOff x="6865874" y="2105117"/>
            <a:chExt cx="657065" cy="656804"/>
          </a:xfrm>
          <a:solidFill>
            <a:srgbClr val="333333"/>
          </a:solidFill>
        </p:grpSpPr>
        <p:sp>
          <p:nvSpPr>
            <p:cNvPr id="95" name="Freeform: Shape 182">
              <a:extLst>
                <a:ext uri="{FF2B5EF4-FFF2-40B4-BE49-F238E27FC236}">
                  <a16:creationId xmlns:a16="http://schemas.microsoft.com/office/drawing/2014/main" id="{9A63BBD7-B672-33E4-7A22-6305A45A72F5}"/>
                </a:ext>
              </a:extLst>
            </p:cNvPr>
            <p:cNvSpPr/>
            <p:nvPr/>
          </p:nvSpPr>
          <p:spPr>
            <a:xfrm>
              <a:off x="6948551" y="2207415"/>
              <a:ext cx="271207" cy="87590"/>
            </a:xfrm>
            <a:custGeom>
              <a:avLst/>
              <a:gdLst>
                <a:gd name="connsiteX0" fmla="*/ 13049 w 271207"/>
                <a:gd name="connsiteY0" fmla="*/ 87591 h 87590"/>
                <a:gd name="connsiteX1" fmla="*/ 13145 w 271207"/>
                <a:gd name="connsiteY1" fmla="*/ 87591 h 87590"/>
                <a:gd name="connsiteX2" fmla="*/ 26289 w 271207"/>
                <a:gd name="connsiteY2" fmla="*/ 74541 h 87590"/>
                <a:gd name="connsiteX3" fmla="*/ 48387 w 271207"/>
                <a:gd name="connsiteY3" fmla="*/ 34917 h 87590"/>
                <a:gd name="connsiteX4" fmla="*/ 96203 w 271207"/>
                <a:gd name="connsiteY4" fmla="*/ 29298 h 87590"/>
                <a:gd name="connsiteX5" fmla="*/ 118396 w 271207"/>
                <a:gd name="connsiteY5" fmla="*/ 39299 h 87590"/>
                <a:gd name="connsiteX6" fmla="*/ 161449 w 271207"/>
                <a:gd name="connsiteY6" fmla="*/ 54920 h 87590"/>
                <a:gd name="connsiteX7" fmla="*/ 266033 w 271207"/>
                <a:gd name="connsiteY7" fmla="*/ 23678 h 87590"/>
                <a:gd name="connsiteX8" fmla="*/ 268510 w 271207"/>
                <a:gd name="connsiteY8" fmla="*/ 5295 h 87590"/>
                <a:gd name="connsiteX9" fmla="*/ 250126 w 271207"/>
                <a:gd name="connsiteY9" fmla="*/ 2818 h 87590"/>
                <a:gd name="connsiteX10" fmla="*/ 165449 w 271207"/>
                <a:gd name="connsiteY10" fmla="*/ 28917 h 87590"/>
                <a:gd name="connsiteX11" fmla="*/ 130207 w 271207"/>
                <a:gd name="connsiteY11" fmla="*/ 15772 h 87590"/>
                <a:gd name="connsiteX12" fmla="*/ 105061 w 271207"/>
                <a:gd name="connsiteY12" fmla="*/ 4533 h 87590"/>
                <a:gd name="connsiteX13" fmla="*/ 34004 w 271207"/>
                <a:gd name="connsiteY13" fmla="*/ 12915 h 87590"/>
                <a:gd name="connsiteX14" fmla="*/ 0 w 271207"/>
                <a:gd name="connsiteY14" fmla="*/ 74256 h 87590"/>
                <a:gd name="connsiteX15" fmla="*/ 13049 w 271207"/>
                <a:gd name="connsiteY15" fmla="*/ 87495 h 8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1207" h="87590">
                  <a:moveTo>
                    <a:pt x="13049" y="87591"/>
                  </a:moveTo>
                  <a:lnTo>
                    <a:pt x="13145" y="87591"/>
                  </a:lnTo>
                  <a:cubicBezTo>
                    <a:pt x="20383" y="87591"/>
                    <a:pt x="26194" y="81780"/>
                    <a:pt x="26289" y="74541"/>
                  </a:cubicBezTo>
                  <a:cubicBezTo>
                    <a:pt x="26384" y="59206"/>
                    <a:pt x="35052" y="43680"/>
                    <a:pt x="48387" y="34917"/>
                  </a:cubicBezTo>
                  <a:cubicBezTo>
                    <a:pt x="61913" y="25964"/>
                    <a:pt x="80677" y="23773"/>
                    <a:pt x="96203" y="29298"/>
                  </a:cubicBezTo>
                  <a:cubicBezTo>
                    <a:pt x="103823" y="32060"/>
                    <a:pt x="110871" y="35584"/>
                    <a:pt x="118396" y="39299"/>
                  </a:cubicBezTo>
                  <a:cubicBezTo>
                    <a:pt x="131350" y="45776"/>
                    <a:pt x="144685" y="52443"/>
                    <a:pt x="161449" y="54920"/>
                  </a:cubicBezTo>
                  <a:cubicBezTo>
                    <a:pt x="196691" y="60254"/>
                    <a:pt x="231839" y="49776"/>
                    <a:pt x="266033" y="23678"/>
                  </a:cubicBezTo>
                  <a:cubicBezTo>
                    <a:pt x="271844" y="19296"/>
                    <a:pt x="272891" y="11010"/>
                    <a:pt x="268510" y="5295"/>
                  </a:cubicBezTo>
                  <a:cubicBezTo>
                    <a:pt x="264128" y="-516"/>
                    <a:pt x="255842" y="-1563"/>
                    <a:pt x="250126" y="2818"/>
                  </a:cubicBezTo>
                  <a:cubicBezTo>
                    <a:pt x="221456" y="24630"/>
                    <a:pt x="193643" y="33203"/>
                    <a:pt x="165449" y="28917"/>
                  </a:cubicBezTo>
                  <a:cubicBezTo>
                    <a:pt x="152781" y="27012"/>
                    <a:pt x="141827" y="21487"/>
                    <a:pt x="130207" y="15772"/>
                  </a:cubicBezTo>
                  <a:cubicBezTo>
                    <a:pt x="122396" y="11867"/>
                    <a:pt x="114205" y="7771"/>
                    <a:pt x="105061" y="4533"/>
                  </a:cubicBezTo>
                  <a:cubicBezTo>
                    <a:pt x="81725" y="-3754"/>
                    <a:pt x="54578" y="-516"/>
                    <a:pt x="34004" y="12915"/>
                  </a:cubicBezTo>
                  <a:cubicBezTo>
                    <a:pt x="13240" y="26535"/>
                    <a:pt x="190" y="50062"/>
                    <a:pt x="0" y="74256"/>
                  </a:cubicBezTo>
                  <a:cubicBezTo>
                    <a:pt x="0" y="81495"/>
                    <a:pt x="5810" y="87400"/>
                    <a:pt x="13049" y="87495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: Shape 183">
              <a:extLst>
                <a:ext uri="{FF2B5EF4-FFF2-40B4-BE49-F238E27FC236}">
                  <a16:creationId xmlns:a16="http://schemas.microsoft.com/office/drawing/2014/main" id="{388F90CB-873B-EB27-C219-63871EC48986}"/>
                </a:ext>
              </a:extLst>
            </p:cNvPr>
            <p:cNvSpPr/>
            <p:nvPr/>
          </p:nvSpPr>
          <p:spPr>
            <a:xfrm>
              <a:off x="7115715" y="2105117"/>
              <a:ext cx="271207" cy="87590"/>
            </a:xfrm>
            <a:custGeom>
              <a:avLst/>
              <a:gdLst>
                <a:gd name="connsiteX0" fmla="*/ 13049 w 271207"/>
                <a:gd name="connsiteY0" fmla="*/ 87591 h 87590"/>
                <a:gd name="connsiteX1" fmla="*/ 13145 w 271207"/>
                <a:gd name="connsiteY1" fmla="*/ 87591 h 87590"/>
                <a:gd name="connsiteX2" fmla="*/ 26289 w 271207"/>
                <a:gd name="connsiteY2" fmla="*/ 74541 h 87590"/>
                <a:gd name="connsiteX3" fmla="*/ 48387 w 271207"/>
                <a:gd name="connsiteY3" fmla="*/ 34917 h 87590"/>
                <a:gd name="connsiteX4" fmla="*/ 96203 w 271207"/>
                <a:gd name="connsiteY4" fmla="*/ 29298 h 87590"/>
                <a:gd name="connsiteX5" fmla="*/ 118396 w 271207"/>
                <a:gd name="connsiteY5" fmla="*/ 39299 h 87590"/>
                <a:gd name="connsiteX6" fmla="*/ 161449 w 271207"/>
                <a:gd name="connsiteY6" fmla="*/ 54920 h 87590"/>
                <a:gd name="connsiteX7" fmla="*/ 266033 w 271207"/>
                <a:gd name="connsiteY7" fmla="*/ 23678 h 87590"/>
                <a:gd name="connsiteX8" fmla="*/ 268510 w 271207"/>
                <a:gd name="connsiteY8" fmla="*/ 5295 h 87590"/>
                <a:gd name="connsiteX9" fmla="*/ 250127 w 271207"/>
                <a:gd name="connsiteY9" fmla="*/ 2818 h 87590"/>
                <a:gd name="connsiteX10" fmla="*/ 165449 w 271207"/>
                <a:gd name="connsiteY10" fmla="*/ 28917 h 87590"/>
                <a:gd name="connsiteX11" fmla="*/ 130207 w 271207"/>
                <a:gd name="connsiteY11" fmla="*/ 15772 h 87590"/>
                <a:gd name="connsiteX12" fmla="*/ 105061 w 271207"/>
                <a:gd name="connsiteY12" fmla="*/ 4533 h 87590"/>
                <a:gd name="connsiteX13" fmla="*/ 34004 w 271207"/>
                <a:gd name="connsiteY13" fmla="*/ 12915 h 87590"/>
                <a:gd name="connsiteX14" fmla="*/ 0 w 271207"/>
                <a:gd name="connsiteY14" fmla="*/ 74256 h 87590"/>
                <a:gd name="connsiteX15" fmla="*/ 13049 w 271207"/>
                <a:gd name="connsiteY15" fmla="*/ 87495 h 87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1207" h="87590">
                  <a:moveTo>
                    <a:pt x="13049" y="87591"/>
                  </a:moveTo>
                  <a:lnTo>
                    <a:pt x="13145" y="87591"/>
                  </a:lnTo>
                  <a:cubicBezTo>
                    <a:pt x="20384" y="87591"/>
                    <a:pt x="26194" y="81780"/>
                    <a:pt x="26289" y="74541"/>
                  </a:cubicBezTo>
                  <a:cubicBezTo>
                    <a:pt x="26384" y="59206"/>
                    <a:pt x="35052" y="43680"/>
                    <a:pt x="48387" y="34917"/>
                  </a:cubicBezTo>
                  <a:cubicBezTo>
                    <a:pt x="62008" y="25964"/>
                    <a:pt x="80772" y="23773"/>
                    <a:pt x="96203" y="29298"/>
                  </a:cubicBezTo>
                  <a:cubicBezTo>
                    <a:pt x="103823" y="32060"/>
                    <a:pt x="110871" y="35489"/>
                    <a:pt x="118396" y="39299"/>
                  </a:cubicBezTo>
                  <a:cubicBezTo>
                    <a:pt x="131350" y="45776"/>
                    <a:pt x="144685" y="52443"/>
                    <a:pt x="161449" y="54920"/>
                  </a:cubicBezTo>
                  <a:cubicBezTo>
                    <a:pt x="196596" y="60254"/>
                    <a:pt x="231839" y="49776"/>
                    <a:pt x="266033" y="23678"/>
                  </a:cubicBezTo>
                  <a:cubicBezTo>
                    <a:pt x="271844" y="19296"/>
                    <a:pt x="272891" y="11010"/>
                    <a:pt x="268510" y="5295"/>
                  </a:cubicBezTo>
                  <a:cubicBezTo>
                    <a:pt x="264128" y="-516"/>
                    <a:pt x="255937" y="-1563"/>
                    <a:pt x="250127" y="2818"/>
                  </a:cubicBezTo>
                  <a:cubicBezTo>
                    <a:pt x="221456" y="24726"/>
                    <a:pt x="193739" y="33203"/>
                    <a:pt x="165449" y="28917"/>
                  </a:cubicBezTo>
                  <a:cubicBezTo>
                    <a:pt x="152781" y="27012"/>
                    <a:pt x="141827" y="21487"/>
                    <a:pt x="130207" y="15772"/>
                  </a:cubicBezTo>
                  <a:cubicBezTo>
                    <a:pt x="122396" y="11867"/>
                    <a:pt x="114300" y="7771"/>
                    <a:pt x="105061" y="4533"/>
                  </a:cubicBezTo>
                  <a:cubicBezTo>
                    <a:pt x="81725" y="-3754"/>
                    <a:pt x="54578" y="-516"/>
                    <a:pt x="34004" y="12915"/>
                  </a:cubicBezTo>
                  <a:cubicBezTo>
                    <a:pt x="13240" y="26535"/>
                    <a:pt x="191" y="50062"/>
                    <a:pt x="0" y="74256"/>
                  </a:cubicBezTo>
                  <a:cubicBezTo>
                    <a:pt x="0" y="81495"/>
                    <a:pt x="5810" y="87400"/>
                    <a:pt x="13049" y="87495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: Shape 184">
              <a:extLst>
                <a:ext uri="{FF2B5EF4-FFF2-40B4-BE49-F238E27FC236}">
                  <a16:creationId xmlns:a16="http://schemas.microsoft.com/office/drawing/2014/main" id="{53125AB1-62E9-7C8D-DA73-2843B7B8C406}"/>
                </a:ext>
              </a:extLst>
            </p:cNvPr>
            <p:cNvSpPr/>
            <p:nvPr/>
          </p:nvSpPr>
          <p:spPr>
            <a:xfrm>
              <a:off x="7251732" y="2206558"/>
              <a:ext cx="271207" cy="87495"/>
            </a:xfrm>
            <a:custGeom>
              <a:avLst/>
              <a:gdLst>
                <a:gd name="connsiteX0" fmla="*/ 104966 w 271207"/>
                <a:gd name="connsiteY0" fmla="*/ 4533 h 87495"/>
                <a:gd name="connsiteX1" fmla="*/ 33909 w 271207"/>
                <a:gd name="connsiteY1" fmla="*/ 12915 h 87495"/>
                <a:gd name="connsiteX2" fmla="*/ 0 w 271207"/>
                <a:gd name="connsiteY2" fmla="*/ 74256 h 87495"/>
                <a:gd name="connsiteX3" fmla="*/ 13049 w 271207"/>
                <a:gd name="connsiteY3" fmla="*/ 87495 h 87495"/>
                <a:gd name="connsiteX4" fmla="*/ 13145 w 271207"/>
                <a:gd name="connsiteY4" fmla="*/ 87495 h 87495"/>
                <a:gd name="connsiteX5" fmla="*/ 26289 w 271207"/>
                <a:gd name="connsiteY5" fmla="*/ 74446 h 87495"/>
                <a:gd name="connsiteX6" fmla="*/ 48387 w 271207"/>
                <a:gd name="connsiteY6" fmla="*/ 34822 h 87495"/>
                <a:gd name="connsiteX7" fmla="*/ 96203 w 271207"/>
                <a:gd name="connsiteY7" fmla="*/ 29202 h 87495"/>
                <a:gd name="connsiteX8" fmla="*/ 118396 w 271207"/>
                <a:gd name="connsiteY8" fmla="*/ 39204 h 87495"/>
                <a:gd name="connsiteX9" fmla="*/ 161449 w 271207"/>
                <a:gd name="connsiteY9" fmla="*/ 54825 h 87495"/>
                <a:gd name="connsiteX10" fmla="*/ 266033 w 271207"/>
                <a:gd name="connsiteY10" fmla="*/ 23583 h 87495"/>
                <a:gd name="connsiteX11" fmla="*/ 268510 w 271207"/>
                <a:gd name="connsiteY11" fmla="*/ 5199 h 87495"/>
                <a:gd name="connsiteX12" fmla="*/ 250126 w 271207"/>
                <a:gd name="connsiteY12" fmla="*/ 2723 h 87495"/>
                <a:gd name="connsiteX13" fmla="*/ 165449 w 271207"/>
                <a:gd name="connsiteY13" fmla="*/ 28821 h 87495"/>
                <a:gd name="connsiteX14" fmla="*/ 130207 w 271207"/>
                <a:gd name="connsiteY14" fmla="*/ 15677 h 87495"/>
                <a:gd name="connsiteX15" fmla="*/ 105061 w 271207"/>
                <a:gd name="connsiteY15" fmla="*/ 4437 h 87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1207" h="87495">
                  <a:moveTo>
                    <a:pt x="104966" y="4533"/>
                  </a:moveTo>
                  <a:cubicBezTo>
                    <a:pt x="81725" y="-3754"/>
                    <a:pt x="54483" y="-516"/>
                    <a:pt x="33909" y="12915"/>
                  </a:cubicBezTo>
                  <a:cubicBezTo>
                    <a:pt x="13145" y="26535"/>
                    <a:pt x="191" y="50062"/>
                    <a:pt x="0" y="74256"/>
                  </a:cubicBezTo>
                  <a:cubicBezTo>
                    <a:pt x="0" y="81495"/>
                    <a:pt x="5810" y="87400"/>
                    <a:pt x="13049" y="87495"/>
                  </a:cubicBezTo>
                  <a:lnTo>
                    <a:pt x="13145" y="87495"/>
                  </a:lnTo>
                  <a:cubicBezTo>
                    <a:pt x="20384" y="87495"/>
                    <a:pt x="26194" y="81685"/>
                    <a:pt x="26289" y="74446"/>
                  </a:cubicBezTo>
                  <a:cubicBezTo>
                    <a:pt x="26384" y="59111"/>
                    <a:pt x="35052" y="43585"/>
                    <a:pt x="48387" y="34822"/>
                  </a:cubicBezTo>
                  <a:cubicBezTo>
                    <a:pt x="61913" y="25869"/>
                    <a:pt x="80677" y="23678"/>
                    <a:pt x="96203" y="29202"/>
                  </a:cubicBezTo>
                  <a:cubicBezTo>
                    <a:pt x="103823" y="31965"/>
                    <a:pt x="110871" y="35489"/>
                    <a:pt x="118396" y="39204"/>
                  </a:cubicBezTo>
                  <a:cubicBezTo>
                    <a:pt x="131350" y="45681"/>
                    <a:pt x="144685" y="52348"/>
                    <a:pt x="161449" y="54825"/>
                  </a:cubicBezTo>
                  <a:cubicBezTo>
                    <a:pt x="196691" y="60159"/>
                    <a:pt x="231839" y="49681"/>
                    <a:pt x="266033" y="23583"/>
                  </a:cubicBezTo>
                  <a:cubicBezTo>
                    <a:pt x="271844" y="19201"/>
                    <a:pt x="272891" y="10914"/>
                    <a:pt x="268510" y="5199"/>
                  </a:cubicBezTo>
                  <a:cubicBezTo>
                    <a:pt x="264128" y="-611"/>
                    <a:pt x="255937" y="-1659"/>
                    <a:pt x="250126" y="2723"/>
                  </a:cubicBezTo>
                  <a:cubicBezTo>
                    <a:pt x="221456" y="24630"/>
                    <a:pt x="193643" y="33108"/>
                    <a:pt x="165449" y="28821"/>
                  </a:cubicBezTo>
                  <a:cubicBezTo>
                    <a:pt x="152781" y="26916"/>
                    <a:pt x="141827" y="21487"/>
                    <a:pt x="130207" y="15677"/>
                  </a:cubicBezTo>
                  <a:cubicBezTo>
                    <a:pt x="122396" y="11772"/>
                    <a:pt x="114205" y="7676"/>
                    <a:pt x="105061" y="4437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: Shape 185">
              <a:extLst>
                <a:ext uri="{FF2B5EF4-FFF2-40B4-BE49-F238E27FC236}">
                  <a16:creationId xmlns:a16="http://schemas.microsoft.com/office/drawing/2014/main" id="{9D631FFD-CCF7-6564-9CAA-526AEBED1966}"/>
                </a:ext>
              </a:extLst>
            </p:cNvPr>
            <p:cNvSpPr/>
            <p:nvPr/>
          </p:nvSpPr>
          <p:spPr>
            <a:xfrm>
              <a:off x="6865874" y="2292724"/>
              <a:ext cx="657034" cy="469197"/>
            </a:xfrm>
            <a:custGeom>
              <a:avLst/>
              <a:gdLst>
                <a:gd name="connsiteX0" fmla="*/ 650462 w 657034"/>
                <a:gd name="connsiteY0" fmla="*/ 141061 h 469197"/>
                <a:gd name="connsiteX1" fmla="*/ 637318 w 657034"/>
                <a:gd name="connsiteY1" fmla="*/ 141061 h 469197"/>
                <a:gd name="connsiteX2" fmla="*/ 425291 w 657034"/>
                <a:gd name="connsiteY2" fmla="*/ 263648 h 469197"/>
                <a:gd name="connsiteX3" fmla="*/ 425291 w 657034"/>
                <a:gd name="connsiteY3" fmla="*/ 152491 h 469197"/>
                <a:gd name="connsiteX4" fmla="*/ 418433 w 657034"/>
                <a:gd name="connsiteY4" fmla="*/ 140966 h 469197"/>
                <a:gd name="connsiteX5" fmla="*/ 405003 w 657034"/>
                <a:gd name="connsiteY5" fmla="*/ 141442 h 469197"/>
                <a:gd name="connsiteX6" fmla="*/ 194215 w 657034"/>
                <a:gd name="connsiteY6" fmla="*/ 275935 h 469197"/>
                <a:gd name="connsiteX7" fmla="*/ 194215 w 657034"/>
                <a:gd name="connsiteY7" fmla="*/ 95055 h 469197"/>
                <a:gd name="connsiteX8" fmla="*/ 186881 w 657034"/>
                <a:gd name="connsiteY8" fmla="*/ 83244 h 469197"/>
                <a:gd name="connsiteX9" fmla="*/ 18955 w 657034"/>
                <a:gd name="connsiteY9" fmla="*/ 1329 h 469197"/>
                <a:gd name="connsiteX10" fmla="*/ 6191 w 657034"/>
                <a:gd name="connsiteY10" fmla="*/ 1996 h 469197"/>
                <a:gd name="connsiteX11" fmla="*/ 0 w 657034"/>
                <a:gd name="connsiteY11" fmla="*/ 13140 h 469197"/>
                <a:gd name="connsiteX12" fmla="*/ 0 w 657034"/>
                <a:gd name="connsiteY12" fmla="*/ 456053 h 469197"/>
                <a:gd name="connsiteX13" fmla="*/ 13145 w 657034"/>
                <a:gd name="connsiteY13" fmla="*/ 469197 h 469197"/>
                <a:gd name="connsiteX14" fmla="*/ 412147 w 657034"/>
                <a:gd name="connsiteY14" fmla="*/ 469197 h 469197"/>
                <a:gd name="connsiteX15" fmla="*/ 413290 w 657034"/>
                <a:gd name="connsiteY15" fmla="*/ 469197 h 469197"/>
                <a:gd name="connsiteX16" fmla="*/ 643890 w 657034"/>
                <a:gd name="connsiteY16" fmla="*/ 469197 h 469197"/>
                <a:gd name="connsiteX17" fmla="*/ 657035 w 657034"/>
                <a:gd name="connsiteY17" fmla="*/ 456053 h 469197"/>
                <a:gd name="connsiteX18" fmla="*/ 657035 w 657034"/>
                <a:gd name="connsiteY18" fmla="*/ 152586 h 469197"/>
                <a:gd name="connsiteX19" fmla="*/ 650462 w 657034"/>
                <a:gd name="connsiteY19" fmla="*/ 141156 h 469197"/>
                <a:gd name="connsiteX20" fmla="*/ 167926 w 657034"/>
                <a:gd name="connsiteY20" fmla="*/ 103151 h 469197"/>
                <a:gd name="connsiteX21" fmla="*/ 167926 w 657034"/>
                <a:gd name="connsiteY21" fmla="*/ 162397 h 469197"/>
                <a:gd name="connsiteX22" fmla="*/ 26384 w 657034"/>
                <a:gd name="connsiteY22" fmla="*/ 162397 h 469197"/>
                <a:gd name="connsiteX23" fmla="*/ 26384 w 657034"/>
                <a:gd name="connsiteY23" fmla="*/ 34095 h 469197"/>
                <a:gd name="connsiteX24" fmla="*/ 167926 w 657034"/>
                <a:gd name="connsiteY24" fmla="*/ 103151 h 469197"/>
                <a:gd name="connsiteX25" fmla="*/ 26384 w 657034"/>
                <a:gd name="connsiteY25" fmla="*/ 442813 h 469197"/>
                <a:gd name="connsiteX26" fmla="*/ 26384 w 657034"/>
                <a:gd name="connsiteY26" fmla="*/ 188686 h 469197"/>
                <a:gd name="connsiteX27" fmla="*/ 167926 w 657034"/>
                <a:gd name="connsiteY27" fmla="*/ 188686 h 469197"/>
                <a:gd name="connsiteX28" fmla="*/ 167926 w 657034"/>
                <a:gd name="connsiteY28" fmla="*/ 442813 h 469197"/>
                <a:gd name="connsiteX29" fmla="*/ 26384 w 657034"/>
                <a:gd name="connsiteY29" fmla="*/ 442813 h 469197"/>
                <a:gd name="connsiteX30" fmla="*/ 630746 w 657034"/>
                <a:gd name="connsiteY30" fmla="*/ 442813 h 469197"/>
                <a:gd name="connsiteX31" fmla="*/ 412147 w 657034"/>
                <a:gd name="connsiteY31" fmla="*/ 442813 h 469197"/>
                <a:gd name="connsiteX32" fmla="*/ 411004 w 657034"/>
                <a:gd name="connsiteY32" fmla="*/ 442813 h 469197"/>
                <a:gd name="connsiteX33" fmla="*/ 194215 w 657034"/>
                <a:gd name="connsiteY33" fmla="*/ 442813 h 469197"/>
                <a:gd name="connsiteX34" fmla="*/ 194215 w 657034"/>
                <a:gd name="connsiteY34" fmla="*/ 307082 h 469197"/>
                <a:gd name="connsiteX35" fmla="*/ 398907 w 657034"/>
                <a:gd name="connsiteY35" fmla="*/ 176494 h 469197"/>
                <a:gd name="connsiteX36" fmla="*/ 398907 w 657034"/>
                <a:gd name="connsiteY36" fmla="*/ 286412 h 469197"/>
                <a:gd name="connsiteX37" fmla="*/ 405479 w 657034"/>
                <a:gd name="connsiteY37" fmla="*/ 297842 h 469197"/>
                <a:gd name="connsiteX38" fmla="*/ 418624 w 657034"/>
                <a:gd name="connsiteY38" fmla="*/ 297842 h 469197"/>
                <a:gd name="connsiteX39" fmla="*/ 630650 w 657034"/>
                <a:gd name="connsiteY39" fmla="*/ 175256 h 469197"/>
                <a:gd name="connsiteX40" fmla="*/ 630650 w 657034"/>
                <a:gd name="connsiteY40" fmla="*/ 442813 h 469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57034" h="469197">
                  <a:moveTo>
                    <a:pt x="650462" y="141061"/>
                  </a:moveTo>
                  <a:cubicBezTo>
                    <a:pt x="646367" y="138680"/>
                    <a:pt x="641413" y="138680"/>
                    <a:pt x="637318" y="141061"/>
                  </a:cubicBezTo>
                  <a:lnTo>
                    <a:pt x="425291" y="263648"/>
                  </a:lnTo>
                  <a:lnTo>
                    <a:pt x="425291" y="152491"/>
                  </a:lnTo>
                  <a:cubicBezTo>
                    <a:pt x="425291" y="147728"/>
                    <a:pt x="422720" y="143252"/>
                    <a:pt x="418433" y="140966"/>
                  </a:cubicBezTo>
                  <a:cubicBezTo>
                    <a:pt x="414242" y="138680"/>
                    <a:pt x="409099" y="138870"/>
                    <a:pt x="405003" y="141442"/>
                  </a:cubicBezTo>
                  <a:lnTo>
                    <a:pt x="194215" y="275935"/>
                  </a:lnTo>
                  <a:lnTo>
                    <a:pt x="194215" y="95055"/>
                  </a:lnTo>
                  <a:cubicBezTo>
                    <a:pt x="194215" y="90007"/>
                    <a:pt x="191357" y="85435"/>
                    <a:pt x="186881" y="83244"/>
                  </a:cubicBezTo>
                  <a:lnTo>
                    <a:pt x="18955" y="1329"/>
                  </a:lnTo>
                  <a:cubicBezTo>
                    <a:pt x="14859" y="-671"/>
                    <a:pt x="10096" y="-385"/>
                    <a:pt x="6191" y="1996"/>
                  </a:cubicBezTo>
                  <a:cubicBezTo>
                    <a:pt x="2381" y="4377"/>
                    <a:pt x="0" y="8568"/>
                    <a:pt x="0" y="13140"/>
                  </a:cubicBezTo>
                  <a:lnTo>
                    <a:pt x="0" y="456053"/>
                  </a:lnTo>
                  <a:cubicBezTo>
                    <a:pt x="0" y="463292"/>
                    <a:pt x="5905" y="469197"/>
                    <a:pt x="13145" y="469197"/>
                  </a:cubicBezTo>
                  <a:lnTo>
                    <a:pt x="412147" y="469197"/>
                  </a:lnTo>
                  <a:cubicBezTo>
                    <a:pt x="412147" y="469197"/>
                    <a:pt x="412909" y="469197"/>
                    <a:pt x="413290" y="469197"/>
                  </a:cubicBezTo>
                  <a:lnTo>
                    <a:pt x="643890" y="469197"/>
                  </a:lnTo>
                  <a:cubicBezTo>
                    <a:pt x="651129" y="469197"/>
                    <a:pt x="657035" y="463292"/>
                    <a:pt x="657035" y="456053"/>
                  </a:cubicBezTo>
                  <a:lnTo>
                    <a:pt x="657035" y="152586"/>
                  </a:lnTo>
                  <a:cubicBezTo>
                    <a:pt x="657035" y="147919"/>
                    <a:pt x="654558" y="143537"/>
                    <a:pt x="650462" y="141156"/>
                  </a:cubicBezTo>
                  <a:close/>
                  <a:moveTo>
                    <a:pt x="167926" y="103151"/>
                  </a:moveTo>
                  <a:lnTo>
                    <a:pt x="167926" y="162397"/>
                  </a:lnTo>
                  <a:lnTo>
                    <a:pt x="26384" y="162397"/>
                  </a:lnTo>
                  <a:lnTo>
                    <a:pt x="26384" y="34095"/>
                  </a:lnTo>
                  <a:lnTo>
                    <a:pt x="167926" y="103151"/>
                  </a:lnTo>
                  <a:close/>
                  <a:moveTo>
                    <a:pt x="26384" y="442813"/>
                  </a:moveTo>
                  <a:lnTo>
                    <a:pt x="26384" y="188686"/>
                  </a:lnTo>
                  <a:lnTo>
                    <a:pt x="167926" y="188686"/>
                  </a:lnTo>
                  <a:lnTo>
                    <a:pt x="167926" y="442813"/>
                  </a:lnTo>
                  <a:lnTo>
                    <a:pt x="26384" y="442813"/>
                  </a:lnTo>
                  <a:close/>
                  <a:moveTo>
                    <a:pt x="630746" y="442813"/>
                  </a:moveTo>
                  <a:lnTo>
                    <a:pt x="412147" y="442813"/>
                  </a:lnTo>
                  <a:cubicBezTo>
                    <a:pt x="412147" y="442813"/>
                    <a:pt x="411385" y="442813"/>
                    <a:pt x="411004" y="442813"/>
                  </a:cubicBezTo>
                  <a:lnTo>
                    <a:pt x="194215" y="442813"/>
                  </a:lnTo>
                  <a:lnTo>
                    <a:pt x="194215" y="307082"/>
                  </a:lnTo>
                  <a:lnTo>
                    <a:pt x="398907" y="176494"/>
                  </a:lnTo>
                  <a:lnTo>
                    <a:pt x="398907" y="286412"/>
                  </a:lnTo>
                  <a:cubicBezTo>
                    <a:pt x="398907" y="291080"/>
                    <a:pt x="401384" y="295461"/>
                    <a:pt x="405479" y="297842"/>
                  </a:cubicBezTo>
                  <a:cubicBezTo>
                    <a:pt x="409575" y="300224"/>
                    <a:pt x="414528" y="300224"/>
                    <a:pt x="418624" y="297842"/>
                  </a:cubicBezTo>
                  <a:lnTo>
                    <a:pt x="630650" y="175256"/>
                  </a:lnTo>
                  <a:lnTo>
                    <a:pt x="630650" y="442813"/>
                  </a:ln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0" name="Graphic 5">
            <a:extLst>
              <a:ext uri="{FF2B5EF4-FFF2-40B4-BE49-F238E27FC236}">
                <a16:creationId xmlns:a16="http://schemas.microsoft.com/office/drawing/2014/main" id="{2A65C2A3-3A86-1F75-DD7A-A026F8895DA9}"/>
              </a:ext>
            </a:extLst>
          </p:cNvPr>
          <p:cNvGrpSpPr/>
          <p:nvPr/>
        </p:nvGrpSpPr>
        <p:grpSpPr>
          <a:xfrm>
            <a:off x="9005719" y="3155481"/>
            <a:ext cx="467069" cy="469197"/>
            <a:chOff x="6453965" y="2434233"/>
            <a:chExt cx="655358" cy="658343"/>
          </a:xfrm>
          <a:solidFill>
            <a:schemeClr val="tx1"/>
          </a:solidFill>
        </p:grpSpPr>
        <p:sp>
          <p:nvSpPr>
            <p:cNvPr id="101" name="Freeform: Shape 85">
              <a:extLst>
                <a:ext uri="{FF2B5EF4-FFF2-40B4-BE49-F238E27FC236}">
                  <a16:creationId xmlns:a16="http://schemas.microsoft.com/office/drawing/2014/main" id="{D362F47E-6087-067B-CE62-B4FAD3B16A1A}"/>
                </a:ext>
              </a:extLst>
            </p:cNvPr>
            <p:cNvSpPr/>
            <p:nvPr/>
          </p:nvSpPr>
          <p:spPr>
            <a:xfrm>
              <a:off x="6453965" y="2528982"/>
              <a:ext cx="655358" cy="563594"/>
            </a:xfrm>
            <a:custGeom>
              <a:avLst/>
              <a:gdLst>
                <a:gd name="connsiteX0" fmla="*/ 648732 w 655358"/>
                <a:gd name="connsiteY0" fmla="*/ 31528 h 563594"/>
                <a:gd name="connsiteX1" fmla="*/ 597202 w 655358"/>
                <a:gd name="connsiteY1" fmla="*/ 95 h 563594"/>
                <a:gd name="connsiteX2" fmla="*/ 484902 w 655358"/>
                <a:gd name="connsiteY2" fmla="*/ 95 h 563594"/>
                <a:gd name="connsiteX3" fmla="*/ 471758 w 655358"/>
                <a:gd name="connsiteY3" fmla="*/ 13240 h 563594"/>
                <a:gd name="connsiteX4" fmla="*/ 484902 w 655358"/>
                <a:gd name="connsiteY4" fmla="*/ 26384 h 563594"/>
                <a:gd name="connsiteX5" fmla="*/ 597202 w 655358"/>
                <a:gd name="connsiteY5" fmla="*/ 26384 h 563594"/>
                <a:gd name="connsiteX6" fmla="*/ 625396 w 655358"/>
                <a:gd name="connsiteY6" fmla="*/ 43625 h 563594"/>
                <a:gd name="connsiteX7" fmla="*/ 623205 w 655358"/>
                <a:gd name="connsiteY7" fmla="*/ 76581 h 563594"/>
                <a:gd name="connsiteX8" fmla="*/ 429086 w 655358"/>
                <a:gd name="connsiteY8" fmla="*/ 351854 h 563594"/>
                <a:gd name="connsiteX9" fmla="*/ 426704 w 655358"/>
                <a:gd name="connsiteY9" fmla="*/ 359378 h 563594"/>
                <a:gd name="connsiteX10" fmla="*/ 426704 w 655358"/>
                <a:gd name="connsiteY10" fmla="*/ 458819 h 563594"/>
                <a:gd name="connsiteX11" fmla="*/ 228584 w 655358"/>
                <a:gd name="connsiteY11" fmla="*/ 458819 h 563594"/>
                <a:gd name="connsiteX12" fmla="*/ 228584 w 655358"/>
                <a:gd name="connsiteY12" fmla="*/ 359378 h 563594"/>
                <a:gd name="connsiteX13" fmla="*/ 226203 w 655358"/>
                <a:gd name="connsiteY13" fmla="*/ 351854 h 563594"/>
                <a:gd name="connsiteX14" fmla="*/ 32084 w 655358"/>
                <a:gd name="connsiteY14" fmla="*/ 76486 h 563594"/>
                <a:gd name="connsiteX15" fmla="*/ 29893 w 655358"/>
                <a:gd name="connsiteY15" fmla="*/ 43529 h 563594"/>
                <a:gd name="connsiteX16" fmla="*/ 58087 w 655358"/>
                <a:gd name="connsiteY16" fmla="*/ 26289 h 563594"/>
                <a:gd name="connsiteX17" fmla="*/ 166862 w 655358"/>
                <a:gd name="connsiteY17" fmla="*/ 26289 h 563594"/>
                <a:gd name="connsiteX18" fmla="*/ 180007 w 655358"/>
                <a:gd name="connsiteY18" fmla="*/ 13145 h 563594"/>
                <a:gd name="connsiteX19" fmla="*/ 166862 w 655358"/>
                <a:gd name="connsiteY19" fmla="*/ 0 h 563594"/>
                <a:gd name="connsiteX20" fmla="*/ 58087 w 655358"/>
                <a:gd name="connsiteY20" fmla="*/ 0 h 563594"/>
                <a:gd name="connsiteX21" fmla="*/ 6557 w 655358"/>
                <a:gd name="connsiteY21" fmla="*/ 31433 h 563594"/>
                <a:gd name="connsiteX22" fmla="*/ 10557 w 655358"/>
                <a:gd name="connsiteY22" fmla="*/ 91630 h 563594"/>
                <a:gd name="connsiteX23" fmla="*/ 202295 w 655358"/>
                <a:gd name="connsiteY23" fmla="*/ 363474 h 563594"/>
                <a:gd name="connsiteX24" fmla="*/ 202295 w 655358"/>
                <a:gd name="connsiteY24" fmla="*/ 550450 h 563594"/>
                <a:gd name="connsiteX25" fmla="*/ 215440 w 655358"/>
                <a:gd name="connsiteY25" fmla="*/ 563594 h 563594"/>
                <a:gd name="connsiteX26" fmla="*/ 439849 w 655358"/>
                <a:gd name="connsiteY26" fmla="*/ 563594 h 563594"/>
                <a:gd name="connsiteX27" fmla="*/ 452993 w 655358"/>
                <a:gd name="connsiteY27" fmla="*/ 550450 h 563594"/>
                <a:gd name="connsiteX28" fmla="*/ 452993 w 655358"/>
                <a:gd name="connsiteY28" fmla="*/ 363474 h 563594"/>
                <a:gd name="connsiteX29" fmla="*/ 644732 w 655358"/>
                <a:gd name="connsiteY29" fmla="*/ 91630 h 563594"/>
                <a:gd name="connsiteX30" fmla="*/ 648732 w 655358"/>
                <a:gd name="connsiteY30" fmla="*/ 31433 h 563594"/>
                <a:gd name="connsiteX31" fmla="*/ 426704 w 655358"/>
                <a:gd name="connsiteY31" fmla="*/ 537401 h 563594"/>
                <a:gd name="connsiteX32" fmla="*/ 228584 w 655358"/>
                <a:gd name="connsiteY32" fmla="*/ 537401 h 563594"/>
                <a:gd name="connsiteX33" fmla="*/ 228584 w 655358"/>
                <a:gd name="connsiteY33" fmla="*/ 485108 h 563594"/>
                <a:gd name="connsiteX34" fmla="*/ 426704 w 655358"/>
                <a:gd name="connsiteY34" fmla="*/ 485108 h 563594"/>
                <a:gd name="connsiteX35" fmla="*/ 426704 w 655358"/>
                <a:gd name="connsiteY35" fmla="*/ 537401 h 56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55358" h="563594">
                  <a:moveTo>
                    <a:pt x="648732" y="31528"/>
                  </a:moveTo>
                  <a:cubicBezTo>
                    <a:pt x="638636" y="12097"/>
                    <a:pt x="618919" y="95"/>
                    <a:pt x="597202" y="95"/>
                  </a:cubicBezTo>
                  <a:lnTo>
                    <a:pt x="484902" y="95"/>
                  </a:lnTo>
                  <a:cubicBezTo>
                    <a:pt x="477663" y="95"/>
                    <a:pt x="471758" y="6001"/>
                    <a:pt x="471758" y="13240"/>
                  </a:cubicBezTo>
                  <a:cubicBezTo>
                    <a:pt x="471758" y="20479"/>
                    <a:pt x="477663" y="26384"/>
                    <a:pt x="484902" y="26384"/>
                  </a:cubicBezTo>
                  <a:lnTo>
                    <a:pt x="597202" y="26384"/>
                  </a:lnTo>
                  <a:cubicBezTo>
                    <a:pt x="609203" y="26384"/>
                    <a:pt x="619776" y="32861"/>
                    <a:pt x="625396" y="43625"/>
                  </a:cubicBezTo>
                  <a:cubicBezTo>
                    <a:pt x="631016" y="54388"/>
                    <a:pt x="630158" y="66770"/>
                    <a:pt x="623205" y="76581"/>
                  </a:cubicBezTo>
                  <a:lnTo>
                    <a:pt x="429086" y="351854"/>
                  </a:lnTo>
                  <a:cubicBezTo>
                    <a:pt x="427562" y="354044"/>
                    <a:pt x="426704" y="356711"/>
                    <a:pt x="426704" y="359378"/>
                  </a:cubicBezTo>
                  <a:lnTo>
                    <a:pt x="426704" y="458819"/>
                  </a:lnTo>
                  <a:lnTo>
                    <a:pt x="228584" y="458819"/>
                  </a:lnTo>
                  <a:lnTo>
                    <a:pt x="228584" y="359378"/>
                  </a:lnTo>
                  <a:cubicBezTo>
                    <a:pt x="228584" y="356711"/>
                    <a:pt x="227727" y="354044"/>
                    <a:pt x="226203" y="351854"/>
                  </a:cubicBezTo>
                  <a:lnTo>
                    <a:pt x="32084" y="76486"/>
                  </a:lnTo>
                  <a:cubicBezTo>
                    <a:pt x="25130" y="66675"/>
                    <a:pt x="24368" y="54388"/>
                    <a:pt x="29893" y="43529"/>
                  </a:cubicBezTo>
                  <a:cubicBezTo>
                    <a:pt x="35513" y="32671"/>
                    <a:pt x="45990" y="26289"/>
                    <a:pt x="58087" y="26289"/>
                  </a:cubicBezTo>
                  <a:lnTo>
                    <a:pt x="166862" y="26289"/>
                  </a:lnTo>
                  <a:cubicBezTo>
                    <a:pt x="174101" y="26289"/>
                    <a:pt x="180007" y="20383"/>
                    <a:pt x="180007" y="13145"/>
                  </a:cubicBezTo>
                  <a:cubicBezTo>
                    <a:pt x="180007" y="5905"/>
                    <a:pt x="174101" y="0"/>
                    <a:pt x="166862" y="0"/>
                  </a:cubicBezTo>
                  <a:lnTo>
                    <a:pt x="58087" y="0"/>
                  </a:lnTo>
                  <a:cubicBezTo>
                    <a:pt x="36370" y="0"/>
                    <a:pt x="16653" y="12097"/>
                    <a:pt x="6557" y="31433"/>
                  </a:cubicBezTo>
                  <a:cubicBezTo>
                    <a:pt x="-3445" y="50864"/>
                    <a:pt x="-1921" y="73914"/>
                    <a:pt x="10557" y="91630"/>
                  </a:cubicBezTo>
                  <a:lnTo>
                    <a:pt x="202295" y="363474"/>
                  </a:lnTo>
                  <a:lnTo>
                    <a:pt x="202295" y="550450"/>
                  </a:lnTo>
                  <a:cubicBezTo>
                    <a:pt x="202295" y="557689"/>
                    <a:pt x="208201" y="563594"/>
                    <a:pt x="215440" y="563594"/>
                  </a:cubicBezTo>
                  <a:lnTo>
                    <a:pt x="439849" y="563594"/>
                  </a:lnTo>
                  <a:cubicBezTo>
                    <a:pt x="447088" y="563594"/>
                    <a:pt x="452993" y="557689"/>
                    <a:pt x="452993" y="550450"/>
                  </a:cubicBezTo>
                  <a:lnTo>
                    <a:pt x="452993" y="363474"/>
                  </a:lnTo>
                  <a:lnTo>
                    <a:pt x="644732" y="91630"/>
                  </a:lnTo>
                  <a:cubicBezTo>
                    <a:pt x="657305" y="73914"/>
                    <a:pt x="658829" y="50864"/>
                    <a:pt x="648732" y="31433"/>
                  </a:cubicBezTo>
                  <a:close/>
                  <a:moveTo>
                    <a:pt x="426704" y="537401"/>
                  </a:moveTo>
                  <a:lnTo>
                    <a:pt x="228584" y="537401"/>
                  </a:lnTo>
                  <a:lnTo>
                    <a:pt x="228584" y="485108"/>
                  </a:lnTo>
                  <a:lnTo>
                    <a:pt x="426704" y="485108"/>
                  </a:lnTo>
                  <a:lnTo>
                    <a:pt x="426704" y="53740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: Shape 86">
              <a:extLst>
                <a:ext uri="{FF2B5EF4-FFF2-40B4-BE49-F238E27FC236}">
                  <a16:creationId xmlns:a16="http://schemas.microsoft.com/office/drawing/2014/main" id="{1DB1EB4E-9991-A6EE-C5DB-871DF5A4EBEF}"/>
                </a:ext>
              </a:extLst>
            </p:cNvPr>
            <p:cNvSpPr/>
            <p:nvPr/>
          </p:nvSpPr>
          <p:spPr>
            <a:xfrm>
              <a:off x="6712306" y="2434238"/>
              <a:ext cx="47531" cy="179230"/>
            </a:xfrm>
            <a:custGeom>
              <a:avLst/>
              <a:gdLst>
                <a:gd name="connsiteX0" fmla="*/ 11677 w 47531"/>
                <a:gd name="connsiteY0" fmla="*/ 77599 h 179230"/>
                <a:gd name="connsiteX1" fmla="*/ 20631 w 47531"/>
                <a:gd name="connsiteY1" fmla="*/ 101317 h 179230"/>
                <a:gd name="connsiteX2" fmla="*/ 2914 w 47531"/>
                <a:gd name="connsiteY2" fmla="*/ 158181 h 179230"/>
                <a:gd name="connsiteX3" fmla="*/ 5391 w 47531"/>
                <a:gd name="connsiteY3" fmla="*/ 176564 h 179230"/>
                <a:gd name="connsiteX4" fmla="*/ 13296 w 47531"/>
                <a:gd name="connsiteY4" fmla="*/ 179231 h 179230"/>
                <a:gd name="connsiteX5" fmla="*/ 23774 w 47531"/>
                <a:gd name="connsiteY5" fmla="*/ 174088 h 179230"/>
                <a:gd name="connsiteX6" fmla="*/ 46539 w 47531"/>
                <a:gd name="connsiteY6" fmla="*/ 97411 h 179230"/>
                <a:gd name="connsiteX7" fmla="*/ 35109 w 47531"/>
                <a:gd name="connsiteY7" fmla="*/ 65884 h 179230"/>
                <a:gd name="connsiteX8" fmla="*/ 28251 w 47531"/>
                <a:gd name="connsiteY8" fmla="*/ 50644 h 179230"/>
                <a:gd name="connsiteX9" fmla="*/ 31775 w 47531"/>
                <a:gd name="connsiteY9" fmla="*/ 20354 h 179230"/>
                <a:gd name="connsiteX10" fmla="*/ 27965 w 47531"/>
                <a:gd name="connsiteY10" fmla="*/ 2161 h 179230"/>
                <a:gd name="connsiteX11" fmla="*/ 9772 w 47531"/>
                <a:gd name="connsiteY11" fmla="*/ 5971 h 179230"/>
                <a:gd name="connsiteX12" fmla="*/ 3390 w 47531"/>
                <a:gd name="connsiteY12" fmla="*/ 59502 h 179230"/>
                <a:gd name="connsiteX13" fmla="*/ 11487 w 47531"/>
                <a:gd name="connsiteY13" fmla="*/ 77599 h 179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531" h="179230">
                  <a:moveTo>
                    <a:pt x="11677" y="77599"/>
                  </a:moveTo>
                  <a:cubicBezTo>
                    <a:pt x="15773" y="85886"/>
                    <a:pt x="19392" y="92935"/>
                    <a:pt x="20631" y="101317"/>
                  </a:cubicBezTo>
                  <a:cubicBezTo>
                    <a:pt x="23488" y="120176"/>
                    <a:pt x="17678" y="138750"/>
                    <a:pt x="2914" y="158181"/>
                  </a:cubicBezTo>
                  <a:cubicBezTo>
                    <a:pt x="-1467" y="163991"/>
                    <a:pt x="-324" y="172183"/>
                    <a:pt x="5391" y="176564"/>
                  </a:cubicBezTo>
                  <a:cubicBezTo>
                    <a:pt x="7772" y="178374"/>
                    <a:pt x="10534" y="179231"/>
                    <a:pt x="13296" y="179231"/>
                  </a:cubicBezTo>
                  <a:cubicBezTo>
                    <a:pt x="17297" y="179231"/>
                    <a:pt x="21202" y="177421"/>
                    <a:pt x="23774" y="174088"/>
                  </a:cubicBezTo>
                  <a:cubicBezTo>
                    <a:pt x="42824" y="149132"/>
                    <a:pt x="50444" y="123319"/>
                    <a:pt x="46539" y="97411"/>
                  </a:cubicBezTo>
                  <a:cubicBezTo>
                    <a:pt x="44634" y="84934"/>
                    <a:pt x="39776" y="75218"/>
                    <a:pt x="35109" y="65884"/>
                  </a:cubicBezTo>
                  <a:cubicBezTo>
                    <a:pt x="32537" y="60740"/>
                    <a:pt x="30060" y="55882"/>
                    <a:pt x="28251" y="50644"/>
                  </a:cubicBezTo>
                  <a:cubicBezTo>
                    <a:pt x="24726" y="40833"/>
                    <a:pt x="26155" y="28927"/>
                    <a:pt x="31775" y="20354"/>
                  </a:cubicBezTo>
                  <a:cubicBezTo>
                    <a:pt x="35775" y="14258"/>
                    <a:pt x="34061" y="6162"/>
                    <a:pt x="27965" y="2161"/>
                  </a:cubicBezTo>
                  <a:cubicBezTo>
                    <a:pt x="21964" y="-1839"/>
                    <a:pt x="13773" y="-125"/>
                    <a:pt x="9772" y="5971"/>
                  </a:cubicBezTo>
                  <a:cubicBezTo>
                    <a:pt x="-420" y="21402"/>
                    <a:pt x="-2801" y="41976"/>
                    <a:pt x="3390" y="59502"/>
                  </a:cubicBezTo>
                  <a:cubicBezTo>
                    <a:pt x="5772" y="66169"/>
                    <a:pt x="8629" y="71980"/>
                    <a:pt x="11487" y="775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: Shape 87">
              <a:extLst>
                <a:ext uri="{FF2B5EF4-FFF2-40B4-BE49-F238E27FC236}">
                  <a16:creationId xmlns:a16="http://schemas.microsoft.com/office/drawing/2014/main" id="{494F44B6-853B-F198-1098-E90F75C0B6F8}"/>
                </a:ext>
              </a:extLst>
            </p:cNvPr>
            <p:cNvSpPr/>
            <p:nvPr/>
          </p:nvSpPr>
          <p:spPr>
            <a:xfrm>
              <a:off x="6803365" y="2434233"/>
              <a:ext cx="47436" cy="179235"/>
            </a:xfrm>
            <a:custGeom>
              <a:avLst/>
              <a:gdLst>
                <a:gd name="connsiteX0" fmla="*/ 11582 w 47436"/>
                <a:gd name="connsiteY0" fmla="*/ 77604 h 179235"/>
                <a:gd name="connsiteX1" fmla="*/ 20535 w 47436"/>
                <a:gd name="connsiteY1" fmla="*/ 101321 h 179235"/>
                <a:gd name="connsiteX2" fmla="*/ 2819 w 47436"/>
                <a:gd name="connsiteY2" fmla="*/ 158185 h 179235"/>
                <a:gd name="connsiteX3" fmla="*/ 5295 w 47436"/>
                <a:gd name="connsiteY3" fmla="*/ 176569 h 179235"/>
                <a:gd name="connsiteX4" fmla="*/ 13201 w 47436"/>
                <a:gd name="connsiteY4" fmla="*/ 179236 h 179235"/>
                <a:gd name="connsiteX5" fmla="*/ 23679 w 47436"/>
                <a:gd name="connsiteY5" fmla="*/ 174092 h 179235"/>
                <a:gd name="connsiteX6" fmla="*/ 46443 w 47436"/>
                <a:gd name="connsiteY6" fmla="*/ 97416 h 179235"/>
                <a:gd name="connsiteX7" fmla="*/ 35013 w 47436"/>
                <a:gd name="connsiteY7" fmla="*/ 65888 h 179235"/>
                <a:gd name="connsiteX8" fmla="*/ 28155 w 47436"/>
                <a:gd name="connsiteY8" fmla="*/ 50648 h 179235"/>
                <a:gd name="connsiteX9" fmla="*/ 31680 w 47436"/>
                <a:gd name="connsiteY9" fmla="*/ 20359 h 179235"/>
                <a:gd name="connsiteX10" fmla="*/ 27965 w 47436"/>
                <a:gd name="connsiteY10" fmla="*/ 2166 h 179235"/>
                <a:gd name="connsiteX11" fmla="*/ 9772 w 47436"/>
                <a:gd name="connsiteY11" fmla="*/ 5881 h 179235"/>
                <a:gd name="connsiteX12" fmla="*/ 3390 w 47436"/>
                <a:gd name="connsiteY12" fmla="*/ 59411 h 179235"/>
                <a:gd name="connsiteX13" fmla="*/ 11487 w 47436"/>
                <a:gd name="connsiteY13" fmla="*/ 77604 h 179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7436" h="179235">
                  <a:moveTo>
                    <a:pt x="11582" y="77604"/>
                  </a:moveTo>
                  <a:cubicBezTo>
                    <a:pt x="15678" y="85795"/>
                    <a:pt x="19297" y="92939"/>
                    <a:pt x="20535" y="101321"/>
                  </a:cubicBezTo>
                  <a:cubicBezTo>
                    <a:pt x="23393" y="120181"/>
                    <a:pt x="17583" y="138850"/>
                    <a:pt x="2819" y="158185"/>
                  </a:cubicBezTo>
                  <a:cubicBezTo>
                    <a:pt x="-1563" y="163996"/>
                    <a:pt x="-420" y="172187"/>
                    <a:pt x="5295" y="176569"/>
                  </a:cubicBezTo>
                  <a:cubicBezTo>
                    <a:pt x="7677" y="178378"/>
                    <a:pt x="10439" y="179236"/>
                    <a:pt x="13201" y="179236"/>
                  </a:cubicBezTo>
                  <a:cubicBezTo>
                    <a:pt x="17202" y="179236"/>
                    <a:pt x="21107" y="177426"/>
                    <a:pt x="23679" y="174092"/>
                  </a:cubicBezTo>
                  <a:cubicBezTo>
                    <a:pt x="42729" y="149137"/>
                    <a:pt x="50349" y="123324"/>
                    <a:pt x="46443" y="97416"/>
                  </a:cubicBezTo>
                  <a:cubicBezTo>
                    <a:pt x="44538" y="84938"/>
                    <a:pt x="39681" y="75318"/>
                    <a:pt x="35013" y="65888"/>
                  </a:cubicBezTo>
                  <a:cubicBezTo>
                    <a:pt x="32442" y="60745"/>
                    <a:pt x="29965" y="55887"/>
                    <a:pt x="28155" y="50648"/>
                  </a:cubicBezTo>
                  <a:cubicBezTo>
                    <a:pt x="24631" y="40837"/>
                    <a:pt x="26060" y="28931"/>
                    <a:pt x="31680" y="20359"/>
                  </a:cubicBezTo>
                  <a:cubicBezTo>
                    <a:pt x="35680" y="14263"/>
                    <a:pt x="33966" y="6166"/>
                    <a:pt x="27965" y="2166"/>
                  </a:cubicBezTo>
                  <a:cubicBezTo>
                    <a:pt x="21869" y="-1835"/>
                    <a:pt x="13773" y="-120"/>
                    <a:pt x="9772" y="5881"/>
                  </a:cubicBezTo>
                  <a:cubicBezTo>
                    <a:pt x="-420" y="21311"/>
                    <a:pt x="-2801" y="41885"/>
                    <a:pt x="3390" y="59411"/>
                  </a:cubicBezTo>
                  <a:cubicBezTo>
                    <a:pt x="5772" y="66079"/>
                    <a:pt x="8724" y="71889"/>
                    <a:pt x="11487" y="776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: Shape 88">
              <a:extLst>
                <a:ext uri="{FF2B5EF4-FFF2-40B4-BE49-F238E27FC236}">
                  <a16:creationId xmlns:a16="http://schemas.microsoft.com/office/drawing/2014/main" id="{82625621-0B4F-1E3F-C7C9-BA123E9BDA22}"/>
                </a:ext>
              </a:extLst>
            </p:cNvPr>
            <p:cNvSpPr/>
            <p:nvPr/>
          </p:nvSpPr>
          <p:spPr>
            <a:xfrm>
              <a:off x="6701980" y="2665476"/>
              <a:ext cx="75438" cy="75437"/>
            </a:xfrm>
            <a:custGeom>
              <a:avLst/>
              <a:gdLst>
                <a:gd name="connsiteX0" fmla="*/ 37719 w 75438"/>
                <a:gd name="connsiteY0" fmla="*/ 75438 h 75437"/>
                <a:gd name="connsiteX1" fmla="*/ 75438 w 75438"/>
                <a:gd name="connsiteY1" fmla="*/ 37719 h 75437"/>
                <a:gd name="connsiteX2" fmla="*/ 37719 w 75438"/>
                <a:gd name="connsiteY2" fmla="*/ 0 h 75437"/>
                <a:gd name="connsiteX3" fmla="*/ 0 w 75438"/>
                <a:gd name="connsiteY3" fmla="*/ 37719 h 75437"/>
                <a:gd name="connsiteX4" fmla="*/ 37719 w 75438"/>
                <a:gd name="connsiteY4" fmla="*/ 75438 h 75437"/>
                <a:gd name="connsiteX5" fmla="*/ 37719 w 75438"/>
                <a:gd name="connsiteY5" fmla="*/ 26289 h 75437"/>
                <a:gd name="connsiteX6" fmla="*/ 49149 w 75438"/>
                <a:gd name="connsiteY6" fmla="*/ 37719 h 75437"/>
                <a:gd name="connsiteX7" fmla="*/ 37719 w 75438"/>
                <a:gd name="connsiteY7" fmla="*/ 49149 h 75437"/>
                <a:gd name="connsiteX8" fmla="*/ 26289 w 75438"/>
                <a:gd name="connsiteY8" fmla="*/ 37719 h 75437"/>
                <a:gd name="connsiteX9" fmla="*/ 37719 w 75438"/>
                <a:gd name="connsiteY9" fmla="*/ 26289 h 7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438" h="75437">
                  <a:moveTo>
                    <a:pt x="37719" y="75438"/>
                  </a:moveTo>
                  <a:cubicBezTo>
                    <a:pt x="58483" y="75438"/>
                    <a:pt x="75438" y="58483"/>
                    <a:pt x="75438" y="37719"/>
                  </a:cubicBezTo>
                  <a:cubicBezTo>
                    <a:pt x="75438" y="16955"/>
                    <a:pt x="58483" y="0"/>
                    <a:pt x="37719" y="0"/>
                  </a:cubicBezTo>
                  <a:cubicBezTo>
                    <a:pt x="16954" y="0"/>
                    <a:pt x="0" y="16955"/>
                    <a:pt x="0" y="37719"/>
                  </a:cubicBezTo>
                  <a:cubicBezTo>
                    <a:pt x="0" y="58483"/>
                    <a:pt x="16954" y="75438"/>
                    <a:pt x="37719" y="75438"/>
                  </a:cubicBezTo>
                  <a:close/>
                  <a:moveTo>
                    <a:pt x="37719" y="26289"/>
                  </a:moveTo>
                  <a:cubicBezTo>
                    <a:pt x="44006" y="26289"/>
                    <a:pt x="49149" y="31432"/>
                    <a:pt x="49149" y="37719"/>
                  </a:cubicBezTo>
                  <a:cubicBezTo>
                    <a:pt x="49149" y="44005"/>
                    <a:pt x="44006" y="49149"/>
                    <a:pt x="37719" y="49149"/>
                  </a:cubicBezTo>
                  <a:cubicBezTo>
                    <a:pt x="31432" y="49149"/>
                    <a:pt x="26289" y="44005"/>
                    <a:pt x="26289" y="37719"/>
                  </a:cubicBezTo>
                  <a:cubicBezTo>
                    <a:pt x="26289" y="31432"/>
                    <a:pt x="31432" y="26289"/>
                    <a:pt x="37719" y="262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: Shape 89">
              <a:extLst>
                <a:ext uri="{FF2B5EF4-FFF2-40B4-BE49-F238E27FC236}">
                  <a16:creationId xmlns:a16="http://schemas.microsoft.com/office/drawing/2014/main" id="{1B3232F7-377C-107B-1729-84EA2FE039CD}"/>
                </a:ext>
              </a:extLst>
            </p:cNvPr>
            <p:cNvSpPr/>
            <p:nvPr/>
          </p:nvSpPr>
          <p:spPr>
            <a:xfrm>
              <a:off x="6780561" y="2761583"/>
              <a:ext cx="75438" cy="75437"/>
            </a:xfrm>
            <a:custGeom>
              <a:avLst/>
              <a:gdLst>
                <a:gd name="connsiteX0" fmla="*/ 37719 w 75438"/>
                <a:gd name="connsiteY0" fmla="*/ 75438 h 75437"/>
                <a:gd name="connsiteX1" fmla="*/ 75438 w 75438"/>
                <a:gd name="connsiteY1" fmla="*/ 37719 h 75437"/>
                <a:gd name="connsiteX2" fmla="*/ 37719 w 75438"/>
                <a:gd name="connsiteY2" fmla="*/ 0 h 75437"/>
                <a:gd name="connsiteX3" fmla="*/ 0 w 75438"/>
                <a:gd name="connsiteY3" fmla="*/ 37719 h 75437"/>
                <a:gd name="connsiteX4" fmla="*/ 37719 w 75438"/>
                <a:gd name="connsiteY4" fmla="*/ 75438 h 75437"/>
                <a:gd name="connsiteX5" fmla="*/ 37719 w 75438"/>
                <a:gd name="connsiteY5" fmla="*/ 26289 h 75437"/>
                <a:gd name="connsiteX6" fmla="*/ 49149 w 75438"/>
                <a:gd name="connsiteY6" fmla="*/ 37719 h 75437"/>
                <a:gd name="connsiteX7" fmla="*/ 37719 w 75438"/>
                <a:gd name="connsiteY7" fmla="*/ 49149 h 75437"/>
                <a:gd name="connsiteX8" fmla="*/ 26289 w 75438"/>
                <a:gd name="connsiteY8" fmla="*/ 37719 h 75437"/>
                <a:gd name="connsiteX9" fmla="*/ 37719 w 75438"/>
                <a:gd name="connsiteY9" fmla="*/ 26289 h 7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438" h="75437">
                  <a:moveTo>
                    <a:pt x="37719" y="75438"/>
                  </a:moveTo>
                  <a:cubicBezTo>
                    <a:pt x="58483" y="75438"/>
                    <a:pt x="75438" y="58483"/>
                    <a:pt x="75438" y="37719"/>
                  </a:cubicBezTo>
                  <a:cubicBezTo>
                    <a:pt x="75438" y="16954"/>
                    <a:pt x="58483" y="0"/>
                    <a:pt x="37719" y="0"/>
                  </a:cubicBezTo>
                  <a:cubicBezTo>
                    <a:pt x="16955" y="0"/>
                    <a:pt x="0" y="16954"/>
                    <a:pt x="0" y="37719"/>
                  </a:cubicBezTo>
                  <a:cubicBezTo>
                    <a:pt x="0" y="58483"/>
                    <a:pt x="16955" y="75438"/>
                    <a:pt x="37719" y="75438"/>
                  </a:cubicBezTo>
                  <a:close/>
                  <a:moveTo>
                    <a:pt x="37719" y="26289"/>
                  </a:moveTo>
                  <a:cubicBezTo>
                    <a:pt x="44006" y="26289"/>
                    <a:pt x="49149" y="31432"/>
                    <a:pt x="49149" y="37719"/>
                  </a:cubicBezTo>
                  <a:cubicBezTo>
                    <a:pt x="49149" y="44005"/>
                    <a:pt x="44006" y="49149"/>
                    <a:pt x="37719" y="49149"/>
                  </a:cubicBezTo>
                  <a:cubicBezTo>
                    <a:pt x="31432" y="49149"/>
                    <a:pt x="26289" y="44005"/>
                    <a:pt x="26289" y="37719"/>
                  </a:cubicBezTo>
                  <a:cubicBezTo>
                    <a:pt x="26289" y="31432"/>
                    <a:pt x="31432" y="26289"/>
                    <a:pt x="37719" y="262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: Shape 90">
              <a:extLst>
                <a:ext uri="{FF2B5EF4-FFF2-40B4-BE49-F238E27FC236}">
                  <a16:creationId xmlns:a16="http://schemas.microsoft.com/office/drawing/2014/main" id="{13CD79DA-7DE6-E73E-2FCD-F2B832435677}"/>
                </a:ext>
              </a:extLst>
            </p:cNvPr>
            <p:cNvSpPr/>
            <p:nvPr/>
          </p:nvSpPr>
          <p:spPr>
            <a:xfrm>
              <a:off x="6981539" y="2945034"/>
              <a:ext cx="75437" cy="75438"/>
            </a:xfrm>
            <a:custGeom>
              <a:avLst/>
              <a:gdLst>
                <a:gd name="connsiteX0" fmla="*/ 37719 w 75437"/>
                <a:gd name="connsiteY0" fmla="*/ 0 h 75438"/>
                <a:gd name="connsiteX1" fmla="*/ 0 w 75437"/>
                <a:gd name="connsiteY1" fmla="*/ 37719 h 75438"/>
                <a:gd name="connsiteX2" fmla="*/ 37719 w 75437"/>
                <a:gd name="connsiteY2" fmla="*/ 75438 h 75438"/>
                <a:gd name="connsiteX3" fmla="*/ 75438 w 75437"/>
                <a:gd name="connsiteY3" fmla="*/ 37719 h 75438"/>
                <a:gd name="connsiteX4" fmla="*/ 37719 w 75437"/>
                <a:gd name="connsiteY4" fmla="*/ 0 h 75438"/>
                <a:gd name="connsiteX5" fmla="*/ 37719 w 75437"/>
                <a:gd name="connsiteY5" fmla="*/ 49149 h 75438"/>
                <a:gd name="connsiteX6" fmla="*/ 26289 w 75437"/>
                <a:gd name="connsiteY6" fmla="*/ 37719 h 75438"/>
                <a:gd name="connsiteX7" fmla="*/ 37719 w 75437"/>
                <a:gd name="connsiteY7" fmla="*/ 26289 h 75438"/>
                <a:gd name="connsiteX8" fmla="*/ 49149 w 75437"/>
                <a:gd name="connsiteY8" fmla="*/ 37719 h 75438"/>
                <a:gd name="connsiteX9" fmla="*/ 37719 w 75437"/>
                <a:gd name="connsiteY9" fmla="*/ 49149 h 75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437" h="75438">
                  <a:moveTo>
                    <a:pt x="37719" y="0"/>
                  </a:moveTo>
                  <a:cubicBezTo>
                    <a:pt x="16954" y="0"/>
                    <a:pt x="0" y="16955"/>
                    <a:pt x="0" y="37719"/>
                  </a:cubicBezTo>
                  <a:cubicBezTo>
                    <a:pt x="0" y="58484"/>
                    <a:pt x="16954" y="75438"/>
                    <a:pt x="37719" y="75438"/>
                  </a:cubicBezTo>
                  <a:cubicBezTo>
                    <a:pt x="58483" y="75438"/>
                    <a:pt x="75438" y="58484"/>
                    <a:pt x="75438" y="37719"/>
                  </a:cubicBezTo>
                  <a:cubicBezTo>
                    <a:pt x="75438" y="16955"/>
                    <a:pt x="58483" y="0"/>
                    <a:pt x="37719" y="0"/>
                  </a:cubicBezTo>
                  <a:close/>
                  <a:moveTo>
                    <a:pt x="37719" y="49149"/>
                  </a:moveTo>
                  <a:cubicBezTo>
                    <a:pt x="31432" y="49149"/>
                    <a:pt x="26289" y="44006"/>
                    <a:pt x="26289" y="37719"/>
                  </a:cubicBezTo>
                  <a:cubicBezTo>
                    <a:pt x="26289" y="31433"/>
                    <a:pt x="31432" y="26289"/>
                    <a:pt x="37719" y="26289"/>
                  </a:cubicBezTo>
                  <a:cubicBezTo>
                    <a:pt x="44005" y="26289"/>
                    <a:pt x="49149" y="31433"/>
                    <a:pt x="49149" y="37719"/>
                  </a:cubicBezTo>
                  <a:cubicBezTo>
                    <a:pt x="49149" y="44006"/>
                    <a:pt x="44005" y="49149"/>
                    <a:pt x="37719" y="491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: Shape 91">
              <a:extLst>
                <a:ext uri="{FF2B5EF4-FFF2-40B4-BE49-F238E27FC236}">
                  <a16:creationId xmlns:a16="http://schemas.microsoft.com/office/drawing/2014/main" id="{58388AFF-B55F-540B-6CB3-539DFB9E3BBF}"/>
                </a:ext>
              </a:extLst>
            </p:cNvPr>
            <p:cNvSpPr/>
            <p:nvPr/>
          </p:nvSpPr>
          <p:spPr>
            <a:xfrm>
              <a:off x="6501002" y="2813970"/>
              <a:ext cx="75437" cy="75437"/>
            </a:xfrm>
            <a:custGeom>
              <a:avLst/>
              <a:gdLst>
                <a:gd name="connsiteX0" fmla="*/ 37719 w 75437"/>
                <a:gd name="connsiteY0" fmla="*/ 0 h 75437"/>
                <a:gd name="connsiteX1" fmla="*/ 0 w 75437"/>
                <a:gd name="connsiteY1" fmla="*/ 37719 h 75437"/>
                <a:gd name="connsiteX2" fmla="*/ 37719 w 75437"/>
                <a:gd name="connsiteY2" fmla="*/ 75438 h 75437"/>
                <a:gd name="connsiteX3" fmla="*/ 75438 w 75437"/>
                <a:gd name="connsiteY3" fmla="*/ 37719 h 75437"/>
                <a:gd name="connsiteX4" fmla="*/ 37719 w 75437"/>
                <a:gd name="connsiteY4" fmla="*/ 0 h 75437"/>
                <a:gd name="connsiteX5" fmla="*/ 37719 w 75437"/>
                <a:gd name="connsiteY5" fmla="*/ 49149 h 75437"/>
                <a:gd name="connsiteX6" fmla="*/ 26289 w 75437"/>
                <a:gd name="connsiteY6" fmla="*/ 37719 h 75437"/>
                <a:gd name="connsiteX7" fmla="*/ 37719 w 75437"/>
                <a:gd name="connsiteY7" fmla="*/ 26289 h 75437"/>
                <a:gd name="connsiteX8" fmla="*/ 49149 w 75437"/>
                <a:gd name="connsiteY8" fmla="*/ 37719 h 75437"/>
                <a:gd name="connsiteX9" fmla="*/ 37719 w 75437"/>
                <a:gd name="connsiteY9" fmla="*/ 49149 h 7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437" h="75437">
                  <a:moveTo>
                    <a:pt x="37719" y="0"/>
                  </a:moveTo>
                  <a:cubicBezTo>
                    <a:pt x="16955" y="0"/>
                    <a:pt x="0" y="16954"/>
                    <a:pt x="0" y="37719"/>
                  </a:cubicBezTo>
                  <a:cubicBezTo>
                    <a:pt x="0" y="58483"/>
                    <a:pt x="16955" y="75438"/>
                    <a:pt x="37719" y="75438"/>
                  </a:cubicBezTo>
                  <a:cubicBezTo>
                    <a:pt x="58484" y="75438"/>
                    <a:pt x="75438" y="58483"/>
                    <a:pt x="75438" y="37719"/>
                  </a:cubicBezTo>
                  <a:cubicBezTo>
                    <a:pt x="75438" y="16954"/>
                    <a:pt x="58484" y="0"/>
                    <a:pt x="37719" y="0"/>
                  </a:cubicBezTo>
                  <a:close/>
                  <a:moveTo>
                    <a:pt x="37719" y="49149"/>
                  </a:moveTo>
                  <a:cubicBezTo>
                    <a:pt x="31432" y="49149"/>
                    <a:pt x="26289" y="44005"/>
                    <a:pt x="26289" y="37719"/>
                  </a:cubicBezTo>
                  <a:cubicBezTo>
                    <a:pt x="26289" y="31432"/>
                    <a:pt x="31432" y="26289"/>
                    <a:pt x="37719" y="26289"/>
                  </a:cubicBezTo>
                  <a:cubicBezTo>
                    <a:pt x="44006" y="26289"/>
                    <a:pt x="49149" y="31432"/>
                    <a:pt x="49149" y="37719"/>
                  </a:cubicBezTo>
                  <a:cubicBezTo>
                    <a:pt x="49149" y="44005"/>
                    <a:pt x="44006" y="49149"/>
                    <a:pt x="37719" y="491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8" name="Graphic 16">
            <a:extLst>
              <a:ext uri="{FF2B5EF4-FFF2-40B4-BE49-F238E27FC236}">
                <a16:creationId xmlns:a16="http://schemas.microsoft.com/office/drawing/2014/main" id="{E7136492-9779-04A9-6173-3E37E109853C}"/>
              </a:ext>
            </a:extLst>
          </p:cNvPr>
          <p:cNvGrpSpPr/>
          <p:nvPr/>
        </p:nvGrpSpPr>
        <p:grpSpPr>
          <a:xfrm>
            <a:off x="9012634" y="2152753"/>
            <a:ext cx="424521" cy="425154"/>
            <a:chOff x="5849916" y="2104736"/>
            <a:chExt cx="655922" cy="656899"/>
          </a:xfrm>
          <a:solidFill>
            <a:srgbClr val="333333"/>
          </a:solidFill>
        </p:grpSpPr>
        <p:sp>
          <p:nvSpPr>
            <p:cNvPr id="109" name="Freeform: Shape 187">
              <a:extLst>
                <a:ext uri="{FF2B5EF4-FFF2-40B4-BE49-F238E27FC236}">
                  <a16:creationId xmlns:a16="http://schemas.microsoft.com/office/drawing/2014/main" id="{733AAA0F-8B23-FA79-356E-A9C505AFA48C}"/>
                </a:ext>
              </a:extLst>
            </p:cNvPr>
            <p:cNvSpPr/>
            <p:nvPr/>
          </p:nvSpPr>
          <p:spPr>
            <a:xfrm>
              <a:off x="5849916" y="2288724"/>
              <a:ext cx="193928" cy="472911"/>
            </a:xfrm>
            <a:custGeom>
              <a:avLst/>
              <a:gdLst>
                <a:gd name="connsiteX0" fmla="*/ 186500 w 193928"/>
                <a:gd name="connsiteY0" fmla="*/ 83054 h 472911"/>
                <a:gd name="connsiteX1" fmla="*/ 18955 w 193928"/>
                <a:gd name="connsiteY1" fmla="*/ 1329 h 472911"/>
                <a:gd name="connsiteX2" fmla="*/ 6191 w 193928"/>
                <a:gd name="connsiteY2" fmla="*/ 1996 h 472911"/>
                <a:gd name="connsiteX3" fmla="*/ 0 w 193928"/>
                <a:gd name="connsiteY3" fmla="*/ 13140 h 472911"/>
                <a:gd name="connsiteX4" fmla="*/ 0 w 193928"/>
                <a:gd name="connsiteY4" fmla="*/ 459767 h 472911"/>
                <a:gd name="connsiteX5" fmla="*/ 13145 w 193928"/>
                <a:gd name="connsiteY5" fmla="*/ 472912 h 472911"/>
                <a:gd name="connsiteX6" fmla="*/ 180785 w 193928"/>
                <a:gd name="connsiteY6" fmla="*/ 472912 h 472911"/>
                <a:gd name="connsiteX7" fmla="*/ 193929 w 193928"/>
                <a:gd name="connsiteY7" fmla="*/ 459767 h 472911"/>
                <a:gd name="connsiteX8" fmla="*/ 193929 w 193928"/>
                <a:gd name="connsiteY8" fmla="*/ 94865 h 472911"/>
                <a:gd name="connsiteX9" fmla="*/ 186595 w 193928"/>
                <a:gd name="connsiteY9" fmla="*/ 83054 h 472911"/>
                <a:gd name="connsiteX10" fmla="*/ 167640 w 193928"/>
                <a:gd name="connsiteY10" fmla="*/ 103056 h 472911"/>
                <a:gd name="connsiteX11" fmla="*/ 167640 w 193928"/>
                <a:gd name="connsiteY11" fmla="*/ 162206 h 472911"/>
                <a:gd name="connsiteX12" fmla="*/ 26289 w 193928"/>
                <a:gd name="connsiteY12" fmla="*/ 162206 h 472911"/>
                <a:gd name="connsiteX13" fmla="*/ 26289 w 193928"/>
                <a:gd name="connsiteY13" fmla="*/ 34095 h 472911"/>
                <a:gd name="connsiteX14" fmla="*/ 167640 w 193928"/>
                <a:gd name="connsiteY14" fmla="*/ 103056 h 472911"/>
                <a:gd name="connsiteX15" fmla="*/ 26289 w 193928"/>
                <a:gd name="connsiteY15" fmla="*/ 446623 h 472911"/>
                <a:gd name="connsiteX16" fmla="*/ 26289 w 193928"/>
                <a:gd name="connsiteY16" fmla="*/ 188495 h 472911"/>
                <a:gd name="connsiteX17" fmla="*/ 167640 w 193928"/>
                <a:gd name="connsiteY17" fmla="*/ 188495 h 472911"/>
                <a:gd name="connsiteX18" fmla="*/ 167640 w 193928"/>
                <a:gd name="connsiteY18" fmla="*/ 446623 h 472911"/>
                <a:gd name="connsiteX19" fmla="*/ 26289 w 193928"/>
                <a:gd name="connsiteY19" fmla="*/ 446623 h 47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3928" h="472911">
                  <a:moveTo>
                    <a:pt x="186500" y="83054"/>
                  </a:moveTo>
                  <a:lnTo>
                    <a:pt x="18955" y="1329"/>
                  </a:lnTo>
                  <a:cubicBezTo>
                    <a:pt x="14859" y="-671"/>
                    <a:pt x="10097" y="-385"/>
                    <a:pt x="6191" y="1996"/>
                  </a:cubicBezTo>
                  <a:cubicBezTo>
                    <a:pt x="2381" y="4377"/>
                    <a:pt x="0" y="8568"/>
                    <a:pt x="0" y="13140"/>
                  </a:cubicBezTo>
                  <a:lnTo>
                    <a:pt x="0" y="459767"/>
                  </a:lnTo>
                  <a:cubicBezTo>
                    <a:pt x="0" y="467006"/>
                    <a:pt x="5906" y="472912"/>
                    <a:pt x="13145" y="472912"/>
                  </a:cubicBezTo>
                  <a:lnTo>
                    <a:pt x="180785" y="472912"/>
                  </a:lnTo>
                  <a:cubicBezTo>
                    <a:pt x="188024" y="472912"/>
                    <a:pt x="193929" y="467006"/>
                    <a:pt x="193929" y="459767"/>
                  </a:cubicBezTo>
                  <a:lnTo>
                    <a:pt x="193929" y="94865"/>
                  </a:lnTo>
                  <a:cubicBezTo>
                    <a:pt x="193929" y="89816"/>
                    <a:pt x="191072" y="85244"/>
                    <a:pt x="186595" y="83054"/>
                  </a:cubicBezTo>
                  <a:close/>
                  <a:moveTo>
                    <a:pt x="167640" y="103056"/>
                  </a:moveTo>
                  <a:lnTo>
                    <a:pt x="167640" y="162206"/>
                  </a:lnTo>
                  <a:lnTo>
                    <a:pt x="26289" y="162206"/>
                  </a:lnTo>
                  <a:lnTo>
                    <a:pt x="26289" y="34095"/>
                  </a:lnTo>
                  <a:lnTo>
                    <a:pt x="167640" y="103056"/>
                  </a:lnTo>
                  <a:close/>
                  <a:moveTo>
                    <a:pt x="26289" y="446623"/>
                  </a:moveTo>
                  <a:lnTo>
                    <a:pt x="26289" y="188495"/>
                  </a:lnTo>
                  <a:lnTo>
                    <a:pt x="167640" y="188495"/>
                  </a:lnTo>
                  <a:lnTo>
                    <a:pt x="167640" y="446623"/>
                  </a:lnTo>
                  <a:lnTo>
                    <a:pt x="26289" y="446623"/>
                  </a:ln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: Shape 188">
              <a:extLst>
                <a:ext uri="{FF2B5EF4-FFF2-40B4-BE49-F238E27FC236}">
                  <a16:creationId xmlns:a16="http://schemas.microsoft.com/office/drawing/2014/main" id="{87706B2A-8386-62F1-696E-E81DA39434A9}"/>
                </a:ext>
              </a:extLst>
            </p:cNvPr>
            <p:cNvSpPr/>
            <p:nvPr/>
          </p:nvSpPr>
          <p:spPr>
            <a:xfrm>
              <a:off x="6080516" y="2288724"/>
              <a:ext cx="193929" cy="472911"/>
            </a:xfrm>
            <a:custGeom>
              <a:avLst/>
              <a:gdLst>
                <a:gd name="connsiteX0" fmla="*/ 186595 w 193929"/>
                <a:gd name="connsiteY0" fmla="*/ 83054 h 472911"/>
                <a:gd name="connsiteX1" fmla="*/ 18955 w 193929"/>
                <a:gd name="connsiteY1" fmla="*/ 1329 h 472911"/>
                <a:gd name="connsiteX2" fmla="*/ 6191 w 193929"/>
                <a:gd name="connsiteY2" fmla="*/ 1996 h 472911"/>
                <a:gd name="connsiteX3" fmla="*/ 0 w 193929"/>
                <a:gd name="connsiteY3" fmla="*/ 13140 h 472911"/>
                <a:gd name="connsiteX4" fmla="*/ 0 w 193929"/>
                <a:gd name="connsiteY4" fmla="*/ 459767 h 472911"/>
                <a:gd name="connsiteX5" fmla="*/ 13145 w 193929"/>
                <a:gd name="connsiteY5" fmla="*/ 472912 h 472911"/>
                <a:gd name="connsiteX6" fmla="*/ 180785 w 193929"/>
                <a:gd name="connsiteY6" fmla="*/ 472912 h 472911"/>
                <a:gd name="connsiteX7" fmla="*/ 193929 w 193929"/>
                <a:gd name="connsiteY7" fmla="*/ 459767 h 472911"/>
                <a:gd name="connsiteX8" fmla="*/ 193929 w 193929"/>
                <a:gd name="connsiteY8" fmla="*/ 94865 h 472911"/>
                <a:gd name="connsiteX9" fmla="*/ 186595 w 193929"/>
                <a:gd name="connsiteY9" fmla="*/ 83054 h 472911"/>
                <a:gd name="connsiteX10" fmla="*/ 167735 w 193929"/>
                <a:gd name="connsiteY10" fmla="*/ 103056 h 472911"/>
                <a:gd name="connsiteX11" fmla="*/ 167735 w 193929"/>
                <a:gd name="connsiteY11" fmla="*/ 162206 h 472911"/>
                <a:gd name="connsiteX12" fmla="*/ 26384 w 193929"/>
                <a:gd name="connsiteY12" fmla="*/ 162206 h 472911"/>
                <a:gd name="connsiteX13" fmla="*/ 26384 w 193929"/>
                <a:gd name="connsiteY13" fmla="*/ 34095 h 472911"/>
                <a:gd name="connsiteX14" fmla="*/ 167735 w 193929"/>
                <a:gd name="connsiteY14" fmla="*/ 103056 h 472911"/>
                <a:gd name="connsiteX15" fmla="*/ 26384 w 193929"/>
                <a:gd name="connsiteY15" fmla="*/ 446623 h 472911"/>
                <a:gd name="connsiteX16" fmla="*/ 26384 w 193929"/>
                <a:gd name="connsiteY16" fmla="*/ 188495 h 472911"/>
                <a:gd name="connsiteX17" fmla="*/ 167735 w 193929"/>
                <a:gd name="connsiteY17" fmla="*/ 188495 h 472911"/>
                <a:gd name="connsiteX18" fmla="*/ 167735 w 193929"/>
                <a:gd name="connsiteY18" fmla="*/ 446623 h 472911"/>
                <a:gd name="connsiteX19" fmla="*/ 26384 w 193929"/>
                <a:gd name="connsiteY19" fmla="*/ 446623 h 47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3929" h="472911">
                  <a:moveTo>
                    <a:pt x="186595" y="83054"/>
                  </a:moveTo>
                  <a:lnTo>
                    <a:pt x="18955" y="1329"/>
                  </a:lnTo>
                  <a:cubicBezTo>
                    <a:pt x="14859" y="-671"/>
                    <a:pt x="10096" y="-385"/>
                    <a:pt x="6191" y="1996"/>
                  </a:cubicBezTo>
                  <a:cubicBezTo>
                    <a:pt x="2381" y="4377"/>
                    <a:pt x="0" y="8568"/>
                    <a:pt x="0" y="13140"/>
                  </a:cubicBezTo>
                  <a:lnTo>
                    <a:pt x="0" y="459767"/>
                  </a:lnTo>
                  <a:cubicBezTo>
                    <a:pt x="0" y="467006"/>
                    <a:pt x="5906" y="472912"/>
                    <a:pt x="13145" y="472912"/>
                  </a:cubicBezTo>
                  <a:lnTo>
                    <a:pt x="180785" y="472912"/>
                  </a:lnTo>
                  <a:cubicBezTo>
                    <a:pt x="188024" y="472912"/>
                    <a:pt x="193929" y="467006"/>
                    <a:pt x="193929" y="459767"/>
                  </a:cubicBezTo>
                  <a:lnTo>
                    <a:pt x="193929" y="94865"/>
                  </a:lnTo>
                  <a:cubicBezTo>
                    <a:pt x="193929" y="89816"/>
                    <a:pt x="191072" y="85244"/>
                    <a:pt x="186595" y="83054"/>
                  </a:cubicBezTo>
                  <a:close/>
                  <a:moveTo>
                    <a:pt x="167735" y="103056"/>
                  </a:moveTo>
                  <a:lnTo>
                    <a:pt x="167735" y="162206"/>
                  </a:lnTo>
                  <a:lnTo>
                    <a:pt x="26384" y="162206"/>
                  </a:lnTo>
                  <a:lnTo>
                    <a:pt x="26384" y="34095"/>
                  </a:lnTo>
                  <a:lnTo>
                    <a:pt x="167735" y="103056"/>
                  </a:lnTo>
                  <a:close/>
                  <a:moveTo>
                    <a:pt x="26384" y="446623"/>
                  </a:moveTo>
                  <a:lnTo>
                    <a:pt x="26384" y="188495"/>
                  </a:lnTo>
                  <a:lnTo>
                    <a:pt x="167735" y="188495"/>
                  </a:lnTo>
                  <a:lnTo>
                    <a:pt x="167735" y="446623"/>
                  </a:lnTo>
                  <a:lnTo>
                    <a:pt x="26384" y="446623"/>
                  </a:ln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: Shape 189">
              <a:extLst>
                <a:ext uri="{FF2B5EF4-FFF2-40B4-BE49-F238E27FC236}">
                  <a16:creationId xmlns:a16="http://schemas.microsoft.com/office/drawing/2014/main" id="{A8332CBA-5F76-AA76-0899-DBFF5E1BD129}"/>
                </a:ext>
              </a:extLst>
            </p:cNvPr>
            <p:cNvSpPr/>
            <p:nvPr/>
          </p:nvSpPr>
          <p:spPr>
            <a:xfrm>
              <a:off x="6311212" y="2288724"/>
              <a:ext cx="193929" cy="472911"/>
            </a:xfrm>
            <a:custGeom>
              <a:avLst/>
              <a:gdLst>
                <a:gd name="connsiteX0" fmla="*/ 186595 w 193929"/>
                <a:gd name="connsiteY0" fmla="*/ 83054 h 472911"/>
                <a:gd name="connsiteX1" fmla="*/ 18955 w 193929"/>
                <a:gd name="connsiteY1" fmla="*/ 1329 h 472911"/>
                <a:gd name="connsiteX2" fmla="*/ 6191 w 193929"/>
                <a:gd name="connsiteY2" fmla="*/ 1996 h 472911"/>
                <a:gd name="connsiteX3" fmla="*/ 0 w 193929"/>
                <a:gd name="connsiteY3" fmla="*/ 13140 h 472911"/>
                <a:gd name="connsiteX4" fmla="*/ 0 w 193929"/>
                <a:gd name="connsiteY4" fmla="*/ 459767 h 472911"/>
                <a:gd name="connsiteX5" fmla="*/ 13144 w 193929"/>
                <a:gd name="connsiteY5" fmla="*/ 472912 h 472911"/>
                <a:gd name="connsiteX6" fmla="*/ 180784 w 193929"/>
                <a:gd name="connsiteY6" fmla="*/ 472912 h 472911"/>
                <a:gd name="connsiteX7" fmla="*/ 193929 w 193929"/>
                <a:gd name="connsiteY7" fmla="*/ 459767 h 472911"/>
                <a:gd name="connsiteX8" fmla="*/ 193929 w 193929"/>
                <a:gd name="connsiteY8" fmla="*/ 94865 h 472911"/>
                <a:gd name="connsiteX9" fmla="*/ 186595 w 193929"/>
                <a:gd name="connsiteY9" fmla="*/ 83054 h 472911"/>
                <a:gd name="connsiteX10" fmla="*/ 167735 w 193929"/>
                <a:gd name="connsiteY10" fmla="*/ 103056 h 472911"/>
                <a:gd name="connsiteX11" fmla="*/ 167735 w 193929"/>
                <a:gd name="connsiteY11" fmla="*/ 162206 h 472911"/>
                <a:gd name="connsiteX12" fmla="*/ 26384 w 193929"/>
                <a:gd name="connsiteY12" fmla="*/ 162206 h 472911"/>
                <a:gd name="connsiteX13" fmla="*/ 26384 w 193929"/>
                <a:gd name="connsiteY13" fmla="*/ 34095 h 472911"/>
                <a:gd name="connsiteX14" fmla="*/ 167735 w 193929"/>
                <a:gd name="connsiteY14" fmla="*/ 103056 h 472911"/>
                <a:gd name="connsiteX15" fmla="*/ 26384 w 193929"/>
                <a:gd name="connsiteY15" fmla="*/ 446623 h 472911"/>
                <a:gd name="connsiteX16" fmla="*/ 26384 w 193929"/>
                <a:gd name="connsiteY16" fmla="*/ 188495 h 472911"/>
                <a:gd name="connsiteX17" fmla="*/ 167735 w 193929"/>
                <a:gd name="connsiteY17" fmla="*/ 188495 h 472911"/>
                <a:gd name="connsiteX18" fmla="*/ 167735 w 193929"/>
                <a:gd name="connsiteY18" fmla="*/ 446623 h 472911"/>
                <a:gd name="connsiteX19" fmla="*/ 26384 w 193929"/>
                <a:gd name="connsiteY19" fmla="*/ 446623 h 47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3929" h="472911">
                  <a:moveTo>
                    <a:pt x="186595" y="83054"/>
                  </a:moveTo>
                  <a:lnTo>
                    <a:pt x="18955" y="1329"/>
                  </a:lnTo>
                  <a:cubicBezTo>
                    <a:pt x="14859" y="-671"/>
                    <a:pt x="10096" y="-385"/>
                    <a:pt x="6191" y="1996"/>
                  </a:cubicBezTo>
                  <a:cubicBezTo>
                    <a:pt x="2381" y="4377"/>
                    <a:pt x="0" y="8568"/>
                    <a:pt x="0" y="13140"/>
                  </a:cubicBezTo>
                  <a:lnTo>
                    <a:pt x="0" y="459767"/>
                  </a:lnTo>
                  <a:cubicBezTo>
                    <a:pt x="0" y="467006"/>
                    <a:pt x="5905" y="472912"/>
                    <a:pt x="13144" y="472912"/>
                  </a:cubicBezTo>
                  <a:lnTo>
                    <a:pt x="180784" y="472912"/>
                  </a:lnTo>
                  <a:cubicBezTo>
                    <a:pt x="188023" y="472912"/>
                    <a:pt x="193929" y="467006"/>
                    <a:pt x="193929" y="459767"/>
                  </a:cubicBezTo>
                  <a:lnTo>
                    <a:pt x="193929" y="94865"/>
                  </a:lnTo>
                  <a:cubicBezTo>
                    <a:pt x="193929" y="89816"/>
                    <a:pt x="191071" y="85244"/>
                    <a:pt x="186595" y="83054"/>
                  </a:cubicBezTo>
                  <a:close/>
                  <a:moveTo>
                    <a:pt x="167735" y="103056"/>
                  </a:moveTo>
                  <a:lnTo>
                    <a:pt x="167735" y="162206"/>
                  </a:lnTo>
                  <a:lnTo>
                    <a:pt x="26384" y="162206"/>
                  </a:lnTo>
                  <a:lnTo>
                    <a:pt x="26384" y="34095"/>
                  </a:lnTo>
                  <a:lnTo>
                    <a:pt x="167735" y="103056"/>
                  </a:lnTo>
                  <a:close/>
                  <a:moveTo>
                    <a:pt x="26384" y="446623"/>
                  </a:moveTo>
                  <a:lnTo>
                    <a:pt x="26384" y="188495"/>
                  </a:lnTo>
                  <a:lnTo>
                    <a:pt x="167735" y="188495"/>
                  </a:lnTo>
                  <a:lnTo>
                    <a:pt x="167735" y="446623"/>
                  </a:lnTo>
                  <a:lnTo>
                    <a:pt x="26384" y="446623"/>
                  </a:ln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: Shape 190">
              <a:extLst>
                <a:ext uri="{FF2B5EF4-FFF2-40B4-BE49-F238E27FC236}">
                  <a16:creationId xmlns:a16="http://schemas.microsoft.com/office/drawing/2014/main" id="{31C8F4F9-1F10-CD1A-86EA-7AC4971AF78F}"/>
                </a:ext>
              </a:extLst>
            </p:cNvPr>
            <p:cNvSpPr/>
            <p:nvPr/>
          </p:nvSpPr>
          <p:spPr>
            <a:xfrm>
              <a:off x="5932497" y="2203605"/>
              <a:ext cx="270730" cy="87400"/>
            </a:xfrm>
            <a:custGeom>
              <a:avLst/>
              <a:gdLst>
                <a:gd name="connsiteX0" fmla="*/ 265557 w 270730"/>
                <a:gd name="connsiteY0" fmla="*/ 23678 h 87400"/>
                <a:gd name="connsiteX1" fmla="*/ 268034 w 270730"/>
                <a:gd name="connsiteY1" fmla="*/ 5295 h 87400"/>
                <a:gd name="connsiteX2" fmla="*/ 249650 w 270730"/>
                <a:gd name="connsiteY2" fmla="*/ 2818 h 87400"/>
                <a:gd name="connsiteX3" fmla="*/ 165068 w 270730"/>
                <a:gd name="connsiteY3" fmla="*/ 28917 h 87400"/>
                <a:gd name="connsiteX4" fmla="*/ 129921 w 270730"/>
                <a:gd name="connsiteY4" fmla="*/ 15772 h 87400"/>
                <a:gd name="connsiteX5" fmla="*/ 104870 w 270730"/>
                <a:gd name="connsiteY5" fmla="*/ 4533 h 87400"/>
                <a:gd name="connsiteX6" fmla="*/ 33909 w 270730"/>
                <a:gd name="connsiteY6" fmla="*/ 12915 h 87400"/>
                <a:gd name="connsiteX7" fmla="*/ 0 w 270730"/>
                <a:gd name="connsiteY7" fmla="*/ 74160 h 87400"/>
                <a:gd name="connsiteX8" fmla="*/ 13049 w 270730"/>
                <a:gd name="connsiteY8" fmla="*/ 87400 h 87400"/>
                <a:gd name="connsiteX9" fmla="*/ 13145 w 270730"/>
                <a:gd name="connsiteY9" fmla="*/ 87400 h 87400"/>
                <a:gd name="connsiteX10" fmla="*/ 26289 w 270730"/>
                <a:gd name="connsiteY10" fmla="*/ 74351 h 87400"/>
                <a:gd name="connsiteX11" fmla="*/ 48387 w 270730"/>
                <a:gd name="connsiteY11" fmla="*/ 34822 h 87400"/>
                <a:gd name="connsiteX12" fmla="*/ 96107 w 270730"/>
                <a:gd name="connsiteY12" fmla="*/ 29202 h 87400"/>
                <a:gd name="connsiteX13" fmla="*/ 118301 w 270730"/>
                <a:gd name="connsiteY13" fmla="*/ 39204 h 87400"/>
                <a:gd name="connsiteX14" fmla="*/ 161258 w 270730"/>
                <a:gd name="connsiteY14" fmla="*/ 54825 h 87400"/>
                <a:gd name="connsiteX15" fmla="*/ 265652 w 270730"/>
                <a:gd name="connsiteY15" fmla="*/ 23678 h 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0730" h="87400">
                  <a:moveTo>
                    <a:pt x="265557" y="23678"/>
                  </a:moveTo>
                  <a:cubicBezTo>
                    <a:pt x="271367" y="19296"/>
                    <a:pt x="272415" y="11010"/>
                    <a:pt x="268034" y="5295"/>
                  </a:cubicBezTo>
                  <a:cubicBezTo>
                    <a:pt x="263652" y="-420"/>
                    <a:pt x="255365" y="-1563"/>
                    <a:pt x="249650" y="2818"/>
                  </a:cubicBezTo>
                  <a:cubicBezTo>
                    <a:pt x="220980" y="24630"/>
                    <a:pt x="193358" y="33203"/>
                    <a:pt x="165068" y="28917"/>
                  </a:cubicBezTo>
                  <a:cubicBezTo>
                    <a:pt x="152400" y="27012"/>
                    <a:pt x="141446" y="21582"/>
                    <a:pt x="129921" y="15772"/>
                  </a:cubicBezTo>
                  <a:cubicBezTo>
                    <a:pt x="122111" y="11867"/>
                    <a:pt x="114014" y="7771"/>
                    <a:pt x="104870" y="4533"/>
                  </a:cubicBezTo>
                  <a:cubicBezTo>
                    <a:pt x="81629" y="-3754"/>
                    <a:pt x="54388" y="-516"/>
                    <a:pt x="33909" y="12915"/>
                  </a:cubicBezTo>
                  <a:cubicBezTo>
                    <a:pt x="13145" y="26535"/>
                    <a:pt x="191" y="50062"/>
                    <a:pt x="0" y="74160"/>
                  </a:cubicBezTo>
                  <a:cubicBezTo>
                    <a:pt x="0" y="81399"/>
                    <a:pt x="5810" y="87305"/>
                    <a:pt x="13049" y="87400"/>
                  </a:cubicBezTo>
                  <a:lnTo>
                    <a:pt x="13145" y="87400"/>
                  </a:lnTo>
                  <a:cubicBezTo>
                    <a:pt x="20384" y="87400"/>
                    <a:pt x="26194" y="81590"/>
                    <a:pt x="26289" y="74351"/>
                  </a:cubicBezTo>
                  <a:cubicBezTo>
                    <a:pt x="26384" y="59111"/>
                    <a:pt x="35052" y="43585"/>
                    <a:pt x="48387" y="34822"/>
                  </a:cubicBezTo>
                  <a:cubicBezTo>
                    <a:pt x="61913" y="25964"/>
                    <a:pt x="80677" y="23773"/>
                    <a:pt x="96107" y="29202"/>
                  </a:cubicBezTo>
                  <a:cubicBezTo>
                    <a:pt x="103727" y="31869"/>
                    <a:pt x="110776" y="35394"/>
                    <a:pt x="118301" y="39204"/>
                  </a:cubicBezTo>
                  <a:cubicBezTo>
                    <a:pt x="131159" y="45681"/>
                    <a:pt x="144494" y="52348"/>
                    <a:pt x="161258" y="54825"/>
                  </a:cubicBezTo>
                  <a:cubicBezTo>
                    <a:pt x="196501" y="60159"/>
                    <a:pt x="231553" y="49681"/>
                    <a:pt x="265652" y="23678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: Shape 191">
              <a:extLst>
                <a:ext uri="{FF2B5EF4-FFF2-40B4-BE49-F238E27FC236}">
                  <a16:creationId xmlns:a16="http://schemas.microsoft.com/office/drawing/2014/main" id="{11E29567-9DCB-5449-6502-2214623875C7}"/>
                </a:ext>
              </a:extLst>
            </p:cNvPr>
            <p:cNvSpPr/>
            <p:nvPr/>
          </p:nvSpPr>
          <p:spPr>
            <a:xfrm>
              <a:off x="6099375" y="2104736"/>
              <a:ext cx="270730" cy="87400"/>
            </a:xfrm>
            <a:custGeom>
              <a:avLst/>
              <a:gdLst>
                <a:gd name="connsiteX0" fmla="*/ 13049 w 270730"/>
                <a:gd name="connsiteY0" fmla="*/ 87400 h 87400"/>
                <a:gd name="connsiteX1" fmla="*/ 13145 w 270730"/>
                <a:gd name="connsiteY1" fmla="*/ 87400 h 87400"/>
                <a:gd name="connsiteX2" fmla="*/ 26289 w 270730"/>
                <a:gd name="connsiteY2" fmla="*/ 74351 h 87400"/>
                <a:gd name="connsiteX3" fmla="*/ 48387 w 270730"/>
                <a:gd name="connsiteY3" fmla="*/ 34822 h 87400"/>
                <a:gd name="connsiteX4" fmla="*/ 96107 w 270730"/>
                <a:gd name="connsiteY4" fmla="*/ 29202 h 87400"/>
                <a:gd name="connsiteX5" fmla="*/ 118205 w 270730"/>
                <a:gd name="connsiteY5" fmla="*/ 39204 h 87400"/>
                <a:gd name="connsiteX6" fmla="*/ 161163 w 270730"/>
                <a:gd name="connsiteY6" fmla="*/ 54825 h 87400"/>
                <a:gd name="connsiteX7" fmla="*/ 265557 w 270730"/>
                <a:gd name="connsiteY7" fmla="*/ 23678 h 87400"/>
                <a:gd name="connsiteX8" fmla="*/ 268034 w 270730"/>
                <a:gd name="connsiteY8" fmla="*/ 5295 h 87400"/>
                <a:gd name="connsiteX9" fmla="*/ 249650 w 270730"/>
                <a:gd name="connsiteY9" fmla="*/ 2818 h 87400"/>
                <a:gd name="connsiteX10" fmla="*/ 165068 w 270730"/>
                <a:gd name="connsiteY10" fmla="*/ 28917 h 87400"/>
                <a:gd name="connsiteX11" fmla="*/ 129921 w 270730"/>
                <a:gd name="connsiteY11" fmla="*/ 15772 h 87400"/>
                <a:gd name="connsiteX12" fmla="*/ 104870 w 270730"/>
                <a:gd name="connsiteY12" fmla="*/ 4533 h 87400"/>
                <a:gd name="connsiteX13" fmla="*/ 33909 w 270730"/>
                <a:gd name="connsiteY13" fmla="*/ 12915 h 87400"/>
                <a:gd name="connsiteX14" fmla="*/ 0 w 270730"/>
                <a:gd name="connsiteY14" fmla="*/ 74160 h 87400"/>
                <a:gd name="connsiteX15" fmla="*/ 13049 w 270730"/>
                <a:gd name="connsiteY15" fmla="*/ 87400 h 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0730" h="87400">
                  <a:moveTo>
                    <a:pt x="13049" y="87400"/>
                  </a:moveTo>
                  <a:lnTo>
                    <a:pt x="13145" y="87400"/>
                  </a:lnTo>
                  <a:cubicBezTo>
                    <a:pt x="20384" y="87400"/>
                    <a:pt x="26194" y="81590"/>
                    <a:pt x="26289" y="74351"/>
                  </a:cubicBezTo>
                  <a:cubicBezTo>
                    <a:pt x="26384" y="59111"/>
                    <a:pt x="35052" y="43585"/>
                    <a:pt x="48387" y="34822"/>
                  </a:cubicBezTo>
                  <a:cubicBezTo>
                    <a:pt x="61913" y="25964"/>
                    <a:pt x="80677" y="23678"/>
                    <a:pt x="96107" y="29202"/>
                  </a:cubicBezTo>
                  <a:cubicBezTo>
                    <a:pt x="103727" y="31965"/>
                    <a:pt x="110776" y="35489"/>
                    <a:pt x="118205" y="39204"/>
                  </a:cubicBezTo>
                  <a:cubicBezTo>
                    <a:pt x="131064" y="45681"/>
                    <a:pt x="144399" y="52348"/>
                    <a:pt x="161163" y="54825"/>
                  </a:cubicBezTo>
                  <a:cubicBezTo>
                    <a:pt x="196310" y="60159"/>
                    <a:pt x="231458" y="49681"/>
                    <a:pt x="265557" y="23678"/>
                  </a:cubicBezTo>
                  <a:cubicBezTo>
                    <a:pt x="271367" y="19296"/>
                    <a:pt x="272415" y="11010"/>
                    <a:pt x="268034" y="5295"/>
                  </a:cubicBezTo>
                  <a:cubicBezTo>
                    <a:pt x="263652" y="-516"/>
                    <a:pt x="255365" y="-1563"/>
                    <a:pt x="249650" y="2818"/>
                  </a:cubicBezTo>
                  <a:cubicBezTo>
                    <a:pt x="220980" y="24630"/>
                    <a:pt x="193262" y="33203"/>
                    <a:pt x="165068" y="28917"/>
                  </a:cubicBezTo>
                  <a:cubicBezTo>
                    <a:pt x="152400" y="27012"/>
                    <a:pt x="141446" y="21582"/>
                    <a:pt x="129921" y="15772"/>
                  </a:cubicBezTo>
                  <a:cubicBezTo>
                    <a:pt x="122111" y="11867"/>
                    <a:pt x="114014" y="7771"/>
                    <a:pt x="104870" y="4533"/>
                  </a:cubicBezTo>
                  <a:cubicBezTo>
                    <a:pt x="81629" y="-3754"/>
                    <a:pt x="54388" y="-516"/>
                    <a:pt x="33909" y="12915"/>
                  </a:cubicBezTo>
                  <a:cubicBezTo>
                    <a:pt x="13145" y="26535"/>
                    <a:pt x="191" y="50062"/>
                    <a:pt x="0" y="74160"/>
                  </a:cubicBezTo>
                  <a:cubicBezTo>
                    <a:pt x="0" y="81399"/>
                    <a:pt x="5810" y="87305"/>
                    <a:pt x="13049" y="87400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: Shape 192">
              <a:extLst>
                <a:ext uri="{FF2B5EF4-FFF2-40B4-BE49-F238E27FC236}">
                  <a16:creationId xmlns:a16="http://schemas.microsoft.com/office/drawing/2014/main" id="{E8607D93-F19D-A750-6D1F-2A0E57A23338}"/>
                </a:ext>
              </a:extLst>
            </p:cNvPr>
            <p:cNvSpPr/>
            <p:nvPr/>
          </p:nvSpPr>
          <p:spPr>
            <a:xfrm>
              <a:off x="6235107" y="2202748"/>
              <a:ext cx="270731" cy="87400"/>
            </a:xfrm>
            <a:custGeom>
              <a:avLst/>
              <a:gdLst>
                <a:gd name="connsiteX0" fmla="*/ 96107 w 270731"/>
                <a:gd name="connsiteY0" fmla="*/ 29202 h 87400"/>
                <a:gd name="connsiteX1" fmla="*/ 118205 w 270731"/>
                <a:gd name="connsiteY1" fmla="*/ 39204 h 87400"/>
                <a:gd name="connsiteX2" fmla="*/ 161163 w 270731"/>
                <a:gd name="connsiteY2" fmla="*/ 54825 h 87400"/>
                <a:gd name="connsiteX3" fmla="*/ 265557 w 270731"/>
                <a:gd name="connsiteY3" fmla="*/ 23678 h 87400"/>
                <a:gd name="connsiteX4" fmla="*/ 268034 w 270731"/>
                <a:gd name="connsiteY4" fmla="*/ 5295 h 87400"/>
                <a:gd name="connsiteX5" fmla="*/ 249650 w 270731"/>
                <a:gd name="connsiteY5" fmla="*/ 2818 h 87400"/>
                <a:gd name="connsiteX6" fmla="*/ 165068 w 270731"/>
                <a:gd name="connsiteY6" fmla="*/ 28917 h 87400"/>
                <a:gd name="connsiteX7" fmla="*/ 129921 w 270731"/>
                <a:gd name="connsiteY7" fmla="*/ 15772 h 87400"/>
                <a:gd name="connsiteX8" fmla="*/ 104870 w 270731"/>
                <a:gd name="connsiteY8" fmla="*/ 4533 h 87400"/>
                <a:gd name="connsiteX9" fmla="*/ 33909 w 270731"/>
                <a:gd name="connsiteY9" fmla="*/ 12915 h 87400"/>
                <a:gd name="connsiteX10" fmla="*/ 0 w 270731"/>
                <a:gd name="connsiteY10" fmla="*/ 74160 h 87400"/>
                <a:gd name="connsiteX11" fmla="*/ 13049 w 270731"/>
                <a:gd name="connsiteY11" fmla="*/ 87400 h 87400"/>
                <a:gd name="connsiteX12" fmla="*/ 13145 w 270731"/>
                <a:gd name="connsiteY12" fmla="*/ 87400 h 87400"/>
                <a:gd name="connsiteX13" fmla="*/ 26289 w 270731"/>
                <a:gd name="connsiteY13" fmla="*/ 74351 h 87400"/>
                <a:gd name="connsiteX14" fmla="*/ 48387 w 270731"/>
                <a:gd name="connsiteY14" fmla="*/ 34822 h 87400"/>
                <a:gd name="connsiteX15" fmla="*/ 96107 w 270731"/>
                <a:gd name="connsiteY15" fmla="*/ 29202 h 8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0731" h="87400">
                  <a:moveTo>
                    <a:pt x="96107" y="29202"/>
                  </a:moveTo>
                  <a:cubicBezTo>
                    <a:pt x="103727" y="31965"/>
                    <a:pt x="110776" y="35489"/>
                    <a:pt x="118205" y="39204"/>
                  </a:cubicBezTo>
                  <a:cubicBezTo>
                    <a:pt x="131064" y="45681"/>
                    <a:pt x="144399" y="52348"/>
                    <a:pt x="161163" y="54825"/>
                  </a:cubicBezTo>
                  <a:cubicBezTo>
                    <a:pt x="196310" y="60159"/>
                    <a:pt x="231458" y="49681"/>
                    <a:pt x="265557" y="23678"/>
                  </a:cubicBezTo>
                  <a:cubicBezTo>
                    <a:pt x="271367" y="19296"/>
                    <a:pt x="272415" y="11010"/>
                    <a:pt x="268034" y="5295"/>
                  </a:cubicBezTo>
                  <a:cubicBezTo>
                    <a:pt x="263652" y="-420"/>
                    <a:pt x="255365" y="-1563"/>
                    <a:pt x="249650" y="2818"/>
                  </a:cubicBezTo>
                  <a:cubicBezTo>
                    <a:pt x="220980" y="24630"/>
                    <a:pt x="193358" y="33203"/>
                    <a:pt x="165068" y="28917"/>
                  </a:cubicBezTo>
                  <a:cubicBezTo>
                    <a:pt x="152400" y="27012"/>
                    <a:pt x="141446" y="21582"/>
                    <a:pt x="129921" y="15772"/>
                  </a:cubicBezTo>
                  <a:cubicBezTo>
                    <a:pt x="122111" y="11867"/>
                    <a:pt x="114014" y="7771"/>
                    <a:pt x="104870" y="4533"/>
                  </a:cubicBezTo>
                  <a:cubicBezTo>
                    <a:pt x="81534" y="-3754"/>
                    <a:pt x="54388" y="-516"/>
                    <a:pt x="33909" y="12915"/>
                  </a:cubicBezTo>
                  <a:cubicBezTo>
                    <a:pt x="13145" y="26535"/>
                    <a:pt x="191" y="50062"/>
                    <a:pt x="0" y="74160"/>
                  </a:cubicBezTo>
                  <a:cubicBezTo>
                    <a:pt x="0" y="81399"/>
                    <a:pt x="5810" y="87305"/>
                    <a:pt x="13049" y="87400"/>
                  </a:cubicBezTo>
                  <a:lnTo>
                    <a:pt x="13145" y="87400"/>
                  </a:lnTo>
                  <a:cubicBezTo>
                    <a:pt x="20383" y="87400"/>
                    <a:pt x="26194" y="81590"/>
                    <a:pt x="26289" y="74351"/>
                  </a:cubicBezTo>
                  <a:cubicBezTo>
                    <a:pt x="26384" y="59111"/>
                    <a:pt x="35052" y="43585"/>
                    <a:pt x="48387" y="34822"/>
                  </a:cubicBezTo>
                  <a:cubicBezTo>
                    <a:pt x="61913" y="25964"/>
                    <a:pt x="80677" y="23678"/>
                    <a:pt x="96107" y="29202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5" name="Graphic 29">
            <a:extLst>
              <a:ext uri="{FF2B5EF4-FFF2-40B4-BE49-F238E27FC236}">
                <a16:creationId xmlns:a16="http://schemas.microsoft.com/office/drawing/2014/main" id="{02F818CD-AEF0-9EDD-457C-360B1D528C86}"/>
              </a:ext>
            </a:extLst>
          </p:cNvPr>
          <p:cNvGrpSpPr/>
          <p:nvPr/>
        </p:nvGrpSpPr>
        <p:grpSpPr>
          <a:xfrm>
            <a:off x="10549671" y="4245725"/>
            <a:ext cx="435712" cy="462516"/>
            <a:chOff x="3559951" y="1543859"/>
            <a:chExt cx="617791" cy="655796"/>
          </a:xfrm>
          <a:solidFill>
            <a:srgbClr val="333333"/>
          </a:solidFill>
        </p:grpSpPr>
        <p:sp>
          <p:nvSpPr>
            <p:cNvPr id="116" name="Freeform: Shape 188">
              <a:extLst>
                <a:ext uri="{FF2B5EF4-FFF2-40B4-BE49-F238E27FC236}">
                  <a16:creationId xmlns:a16="http://schemas.microsoft.com/office/drawing/2014/main" id="{2F5F3F8F-AA1B-7340-4594-3830511AE85C}"/>
                </a:ext>
              </a:extLst>
            </p:cNvPr>
            <p:cNvSpPr/>
            <p:nvPr/>
          </p:nvSpPr>
          <p:spPr>
            <a:xfrm>
              <a:off x="3559951" y="1621297"/>
              <a:ext cx="270605" cy="578357"/>
            </a:xfrm>
            <a:custGeom>
              <a:avLst/>
              <a:gdLst>
                <a:gd name="connsiteX0" fmla="*/ 257461 w 270605"/>
                <a:gd name="connsiteY0" fmla="*/ 552164 h 578357"/>
                <a:gd name="connsiteX1" fmla="*/ 148495 w 270605"/>
                <a:gd name="connsiteY1" fmla="*/ 552164 h 578357"/>
                <a:gd name="connsiteX2" fmla="*/ 148495 w 270605"/>
                <a:gd name="connsiteY2" fmla="*/ 424529 h 578357"/>
                <a:gd name="connsiteX3" fmla="*/ 270415 w 270605"/>
                <a:gd name="connsiteY3" fmla="*/ 290132 h 578357"/>
                <a:gd name="connsiteX4" fmla="*/ 270415 w 270605"/>
                <a:gd name="connsiteY4" fmla="*/ 13145 h 578357"/>
                <a:gd name="connsiteX5" fmla="*/ 257270 w 270605"/>
                <a:gd name="connsiteY5" fmla="*/ 0 h 578357"/>
                <a:gd name="connsiteX6" fmla="*/ 13430 w 270605"/>
                <a:gd name="connsiteY6" fmla="*/ 0 h 578357"/>
                <a:gd name="connsiteX7" fmla="*/ 286 w 270605"/>
                <a:gd name="connsiteY7" fmla="*/ 13145 h 578357"/>
                <a:gd name="connsiteX8" fmla="*/ 286 w 270605"/>
                <a:gd name="connsiteY8" fmla="*/ 290036 h 578357"/>
                <a:gd name="connsiteX9" fmla="*/ 122206 w 270605"/>
                <a:gd name="connsiteY9" fmla="*/ 424434 h 578357"/>
                <a:gd name="connsiteX10" fmla="*/ 122206 w 270605"/>
                <a:gd name="connsiteY10" fmla="*/ 552069 h 578357"/>
                <a:gd name="connsiteX11" fmla="*/ 13144 w 270605"/>
                <a:gd name="connsiteY11" fmla="*/ 552069 h 578357"/>
                <a:gd name="connsiteX12" fmla="*/ 0 w 270605"/>
                <a:gd name="connsiteY12" fmla="*/ 565214 h 578357"/>
                <a:gd name="connsiteX13" fmla="*/ 13144 w 270605"/>
                <a:gd name="connsiteY13" fmla="*/ 578358 h 578357"/>
                <a:gd name="connsiteX14" fmla="*/ 257461 w 270605"/>
                <a:gd name="connsiteY14" fmla="*/ 578358 h 578357"/>
                <a:gd name="connsiteX15" fmla="*/ 270605 w 270605"/>
                <a:gd name="connsiteY15" fmla="*/ 565214 h 578357"/>
                <a:gd name="connsiteX16" fmla="*/ 257461 w 270605"/>
                <a:gd name="connsiteY16" fmla="*/ 552069 h 578357"/>
                <a:gd name="connsiteX17" fmla="*/ 244221 w 270605"/>
                <a:gd name="connsiteY17" fmla="*/ 26289 h 578357"/>
                <a:gd name="connsiteX18" fmla="*/ 244221 w 270605"/>
                <a:gd name="connsiteY18" fmla="*/ 174212 h 578357"/>
                <a:gd name="connsiteX19" fmla="*/ 26575 w 270605"/>
                <a:gd name="connsiteY19" fmla="*/ 174212 h 578357"/>
                <a:gd name="connsiteX20" fmla="*/ 26575 w 270605"/>
                <a:gd name="connsiteY20" fmla="*/ 26289 h 578357"/>
                <a:gd name="connsiteX21" fmla="*/ 244221 w 270605"/>
                <a:gd name="connsiteY21" fmla="*/ 26289 h 578357"/>
                <a:gd name="connsiteX22" fmla="*/ 26575 w 270605"/>
                <a:gd name="connsiteY22" fmla="*/ 290132 h 578357"/>
                <a:gd name="connsiteX23" fmla="*/ 26575 w 270605"/>
                <a:gd name="connsiteY23" fmla="*/ 200501 h 578357"/>
                <a:gd name="connsiteX24" fmla="*/ 244221 w 270605"/>
                <a:gd name="connsiteY24" fmla="*/ 200501 h 578357"/>
                <a:gd name="connsiteX25" fmla="*/ 244221 w 270605"/>
                <a:gd name="connsiteY25" fmla="*/ 290132 h 578357"/>
                <a:gd name="connsiteX26" fmla="*/ 135350 w 270605"/>
                <a:gd name="connsiteY26" fmla="*/ 399002 h 578357"/>
                <a:gd name="connsiteX27" fmla="*/ 26480 w 270605"/>
                <a:gd name="connsiteY27" fmla="*/ 290132 h 57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0605" h="578357">
                  <a:moveTo>
                    <a:pt x="257461" y="552164"/>
                  </a:moveTo>
                  <a:lnTo>
                    <a:pt x="148495" y="552164"/>
                  </a:lnTo>
                  <a:lnTo>
                    <a:pt x="148495" y="424529"/>
                  </a:lnTo>
                  <a:cubicBezTo>
                    <a:pt x="216789" y="417862"/>
                    <a:pt x="270415" y="360140"/>
                    <a:pt x="270415" y="290132"/>
                  </a:cubicBezTo>
                  <a:lnTo>
                    <a:pt x="270415" y="13145"/>
                  </a:lnTo>
                  <a:cubicBezTo>
                    <a:pt x="270415" y="5905"/>
                    <a:pt x="264509" y="0"/>
                    <a:pt x="257270" y="0"/>
                  </a:cubicBezTo>
                  <a:lnTo>
                    <a:pt x="13430" y="0"/>
                  </a:lnTo>
                  <a:cubicBezTo>
                    <a:pt x="6191" y="0"/>
                    <a:pt x="286" y="5905"/>
                    <a:pt x="286" y="13145"/>
                  </a:cubicBezTo>
                  <a:lnTo>
                    <a:pt x="286" y="290036"/>
                  </a:lnTo>
                  <a:cubicBezTo>
                    <a:pt x="286" y="360045"/>
                    <a:pt x="53911" y="417862"/>
                    <a:pt x="122206" y="424434"/>
                  </a:cubicBezTo>
                  <a:lnTo>
                    <a:pt x="122206" y="552069"/>
                  </a:lnTo>
                  <a:lnTo>
                    <a:pt x="13144" y="552069"/>
                  </a:lnTo>
                  <a:cubicBezTo>
                    <a:pt x="5906" y="552069"/>
                    <a:pt x="0" y="557975"/>
                    <a:pt x="0" y="565214"/>
                  </a:cubicBezTo>
                  <a:cubicBezTo>
                    <a:pt x="0" y="572453"/>
                    <a:pt x="5906" y="578358"/>
                    <a:pt x="13144" y="578358"/>
                  </a:cubicBezTo>
                  <a:lnTo>
                    <a:pt x="257461" y="578358"/>
                  </a:lnTo>
                  <a:cubicBezTo>
                    <a:pt x="264700" y="578358"/>
                    <a:pt x="270605" y="572453"/>
                    <a:pt x="270605" y="565214"/>
                  </a:cubicBezTo>
                  <a:cubicBezTo>
                    <a:pt x="270605" y="557975"/>
                    <a:pt x="264700" y="552069"/>
                    <a:pt x="257461" y="552069"/>
                  </a:cubicBezTo>
                  <a:close/>
                  <a:moveTo>
                    <a:pt x="244221" y="26289"/>
                  </a:moveTo>
                  <a:lnTo>
                    <a:pt x="244221" y="174212"/>
                  </a:lnTo>
                  <a:lnTo>
                    <a:pt x="26575" y="174212"/>
                  </a:lnTo>
                  <a:lnTo>
                    <a:pt x="26575" y="26289"/>
                  </a:lnTo>
                  <a:lnTo>
                    <a:pt x="244221" y="26289"/>
                  </a:lnTo>
                  <a:close/>
                  <a:moveTo>
                    <a:pt x="26575" y="290132"/>
                  </a:moveTo>
                  <a:lnTo>
                    <a:pt x="26575" y="200501"/>
                  </a:lnTo>
                  <a:lnTo>
                    <a:pt x="244221" y="200501"/>
                  </a:lnTo>
                  <a:lnTo>
                    <a:pt x="244221" y="290132"/>
                  </a:lnTo>
                  <a:cubicBezTo>
                    <a:pt x="244221" y="350139"/>
                    <a:pt x="195358" y="399002"/>
                    <a:pt x="135350" y="399002"/>
                  </a:cubicBezTo>
                  <a:cubicBezTo>
                    <a:pt x="75343" y="399002"/>
                    <a:pt x="26480" y="350139"/>
                    <a:pt x="26480" y="290132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: Shape 189">
              <a:extLst>
                <a:ext uri="{FF2B5EF4-FFF2-40B4-BE49-F238E27FC236}">
                  <a16:creationId xmlns:a16="http://schemas.microsoft.com/office/drawing/2014/main" id="{F51D4B6B-EA50-BD08-17BA-70E2B4C667FF}"/>
                </a:ext>
              </a:extLst>
            </p:cNvPr>
            <p:cNvSpPr/>
            <p:nvPr/>
          </p:nvSpPr>
          <p:spPr>
            <a:xfrm>
              <a:off x="3869418" y="1543859"/>
              <a:ext cx="308324" cy="655796"/>
            </a:xfrm>
            <a:custGeom>
              <a:avLst/>
              <a:gdLst>
                <a:gd name="connsiteX0" fmla="*/ 219170 w 308324"/>
                <a:gd name="connsiteY0" fmla="*/ 168974 h 655796"/>
                <a:gd name="connsiteX1" fmla="*/ 219170 w 308324"/>
                <a:gd name="connsiteY1" fmla="*/ 13145 h 655796"/>
                <a:gd name="connsiteX2" fmla="*/ 206026 w 308324"/>
                <a:gd name="connsiteY2" fmla="*/ 0 h 655796"/>
                <a:gd name="connsiteX3" fmla="*/ 102298 w 308324"/>
                <a:gd name="connsiteY3" fmla="*/ 0 h 655796"/>
                <a:gd name="connsiteX4" fmla="*/ 89154 w 308324"/>
                <a:gd name="connsiteY4" fmla="*/ 13145 h 655796"/>
                <a:gd name="connsiteX5" fmla="*/ 89154 w 308324"/>
                <a:gd name="connsiteY5" fmla="*/ 168974 h 655796"/>
                <a:gd name="connsiteX6" fmla="*/ 0 w 308324"/>
                <a:gd name="connsiteY6" fmla="*/ 308610 h 655796"/>
                <a:gd name="connsiteX7" fmla="*/ 0 w 308324"/>
                <a:gd name="connsiteY7" fmla="*/ 642652 h 655796"/>
                <a:gd name="connsiteX8" fmla="*/ 13144 w 308324"/>
                <a:gd name="connsiteY8" fmla="*/ 655796 h 655796"/>
                <a:gd name="connsiteX9" fmla="*/ 295180 w 308324"/>
                <a:gd name="connsiteY9" fmla="*/ 655796 h 655796"/>
                <a:gd name="connsiteX10" fmla="*/ 308324 w 308324"/>
                <a:gd name="connsiteY10" fmla="*/ 642652 h 655796"/>
                <a:gd name="connsiteX11" fmla="*/ 308324 w 308324"/>
                <a:gd name="connsiteY11" fmla="*/ 308610 h 655796"/>
                <a:gd name="connsiteX12" fmla="*/ 219170 w 308324"/>
                <a:gd name="connsiteY12" fmla="*/ 168974 h 655796"/>
                <a:gd name="connsiteX13" fmla="*/ 26289 w 308324"/>
                <a:gd name="connsiteY13" fmla="*/ 334994 h 655796"/>
                <a:gd name="connsiteX14" fmla="*/ 282035 w 308324"/>
                <a:gd name="connsiteY14" fmla="*/ 334994 h 655796"/>
                <a:gd name="connsiteX15" fmla="*/ 282035 w 308324"/>
                <a:gd name="connsiteY15" fmla="*/ 553022 h 655796"/>
                <a:gd name="connsiteX16" fmla="*/ 26289 w 308324"/>
                <a:gd name="connsiteY16" fmla="*/ 553022 h 655796"/>
                <a:gd name="connsiteX17" fmla="*/ 26289 w 308324"/>
                <a:gd name="connsiteY17" fmla="*/ 334994 h 655796"/>
                <a:gd name="connsiteX18" fmla="*/ 107156 w 308324"/>
                <a:gd name="connsiteY18" fmla="*/ 189738 h 655796"/>
                <a:gd name="connsiteX19" fmla="*/ 115443 w 308324"/>
                <a:gd name="connsiteY19" fmla="*/ 177546 h 655796"/>
                <a:gd name="connsiteX20" fmla="*/ 115443 w 308324"/>
                <a:gd name="connsiteY20" fmla="*/ 26289 h 655796"/>
                <a:gd name="connsiteX21" fmla="*/ 192976 w 308324"/>
                <a:gd name="connsiteY21" fmla="*/ 26289 h 655796"/>
                <a:gd name="connsiteX22" fmla="*/ 192976 w 308324"/>
                <a:gd name="connsiteY22" fmla="*/ 177641 h 655796"/>
                <a:gd name="connsiteX23" fmla="*/ 201263 w 308324"/>
                <a:gd name="connsiteY23" fmla="*/ 189833 h 655796"/>
                <a:gd name="connsiteX24" fmla="*/ 282131 w 308324"/>
                <a:gd name="connsiteY24" fmla="*/ 308705 h 655796"/>
                <a:gd name="connsiteX25" fmla="*/ 26384 w 308324"/>
                <a:gd name="connsiteY25" fmla="*/ 308705 h 655796"/>
                <a:gd name="connsiteX26" fmla="*/ 107251 w 308324"/>
                <a:gd name="connsiteY26" fmla="*/ 189833 h 655796"/>
                <a:gd name="connsiteX27" fmla="*/ 26289 w 308324"/>
                <a:gd name="connsiteY27" fmla="*/ 629507 h 655796"/>
                <a:gd name="connsiteX28" fmla="*/ 26289 w 308324"/>
                <a:gd name="connsiteY28" fmla="*/ 579311 h 655796"/>
                <a:gd name="connsiteX29" fmla="*/ 282035 w 308324"/>
                <a:gd name="connsiteY29" fmla="*/ 579311 h 655796"/>
                <a:gd name="connsiteX30" fmla="*/ 282035 w 308324"/>
                <a:gd name="connsiteY30" fmla="*/ 629507 h 655796"/>
                <a:gd name="connsiteX31" fmla="*/ 26289 w 308324"/>
                <a:gd name="connsiteY31" fmla="*/ 629507 h 65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08324" h="655796">
                  <a:moveTo>
                    <a:pt x="219170" y="168974"/>
                  </a:moveTo>
                  <a:lnTo>
                    <a:pt x="219170" y="13145"/>
                  </a:lnTo>
                  <a:cubicBezTo>
                    <a:pt x="219170" y="5906"/>
                    <a:pt x="213265" y="0"/>
                    <a:pt x="206026" y="0"/>
                  </a:cubicBezTo>
                  <a:lnTo>
                    <a:pt x="102298" y="0"/>
                  </a:lnTo>
                  <a:cubicBezTo>
                    <a:pt x="95059" y="0"/>
                    <a:pt x="89154" y="5906"/>
                    <a:pt x="89154" y="13145"/>
                  </a:cubicBezTo>
                  <a:lnTo>
                    <a:pt x="89154" y="168974"/>
                  </a:lnTo>
                  <a:cubicBezTo>
                    <a:pt x="34671" y="194215"/>
                    <a:pt x="0" y="248126"/>
                    <a:pt x="0" y="308610"/>
                  </a:cubicBezTo>
                  <a:lnTo>
                    <a:pt x="0" y="642652"/>
                  </a:lnTo>
                  <a:cubicBezTo>
                    <a:pt x="0" y="649891"/>
                    <a:pt x="5905" y="655796"/>
                    <a:pt x="13144" y="655796"/>
                  </a:cubicBezTo>
                  <a:lnTo>
                    <a:pt x="295180" y="655796"/>
                  </a:lnTo>
                  <a:cubicBezTo>
                    <a:pt x="302419" y="655796"/>
                    <a:pt x="308324" y="649891"/>
                    <a:pt x="308324" y="642652"/>
                  </a:cubicBezTo>
                  <a:lnTo>
                    <a:pt x="308324" y="308610"/>
                  </a:lnTo>
                  <a:cubicBezTo>
                    <a:pt x="308324" y="248031"/>
                    <a:pt x="273653" y="194215"/>
                    <a:pt x="219170" y="168974"/>
                  </a:cubicBezTo>
                  <a:close/>
                  <a:moveTo>
                    <a:pt x="26289" y="334994"/>
                  </a:moveTo>
                  <a:lnTo>
                    <a:pt x="282035" y="334994"/>
                  </a:lnTo>
                  <a:lnTo>
                    <a:pt x="282035" y="553022"/>
                  </a:lnTo>
                  <a:lnTo>
                    <a:pt x="26289" y="553022"/>
                  </a:lnTo>
                  <a:lnTo>
                    <a:pt x="26289" y="334994"/>
                  </a:lnTo>
                  <a:close/>
                  <a:moveTo>
                    <a:pt x="107156" y="189738"/>
                  </a:moveTo>
                  <a:cubicBezTo>
                    <a:pt x="112204" y="187738"/>
                    <a:pt x="115443" y="182880"/>
                    <a:pt x="115443" y="177546"/>
                  </a:cubicBezTo>
                  <a:lnTo>
                    <a:pt x="115443" y="26289"/>
                  </a:lnTo>
                  <a:lnTo>
                    <a:pt x="192976" y="26289"/>
                  </a:lnTo>
                  <a:lnTo>
                    <a:pt x="192976" y="177641"/>
                  </a:lnTo>
                  <a:cubicBezTo>
                    <a:pt x="192976" y="182975"/>
                    <a:pt x="196215" y="187833"/>
                    <a:pt x="201263" y="189833"/>
                  </a:cubicBezTo>
                  <a:cubicBezTo>
                    <a:pt x="250412" y="209264"/>
                    <a:pt x="282131" y="255937"/>
                    <a:pt x="282131" y="308705"/>
                  </a:cubicBezTo>
                  <a:lnTo>
                    <a:pt x="26384" y="308705"/>
                  </a:lnTo>
                  <a:cubicBezTo>
                    <a:pt x="26384" y="256032"/>
                    <a:pt x="58102" y="209360"/>
                    <a:pt x="107251" y="189833"/>
                  </a:cubicBezTo>
                  <a:close/>
                  <a:moveTo>
                    <a:pt x="26289" y="629507"/>
                  </a:moveTo>
                  <a:lnTo>
                    <a:pt x="26289" y="579311"/>
                  </a:lnTo>
                  <a:lnTo>
                    <a:pt x="282035" y="579311"/>
                  </a:lnTo>
                  <a:lnTo>
                    <a:pt x="282035" y="629507"/>
                  </a:lnTo>
                  <a:lnTo>
                    <a:pt x="26289" y="629507"/>
                  </a:ln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18" name="Graphic 13">
            <a:extLst>
              <a:ext uri="{FF2B5EF4-FFF2-40B4-BE49-F238E27FC236}">
                <a16:creationId xmlns:a16="http://schemas.microsoft.com/office/drawing/2014/main" id="{095C5ECD-EA24-6375-036A-9431295B7657}"/>
              </a:ext>
            </a:extLst>
          </p:cNvPr>
          <p:cNvGrpSpPr/>
          <p:nvPr/>
        </p:nvGrpSpPr>
        <p:grpSpPr>
          <a:xfrm>
            <a:off x="10472644" y="2235885"/>
            <a:ext cx="565158" cy="380810"/>
            <a:chOff x="4206044" y="1864995"/>
            <a:chExt cx="655768" cy="441864"/>
          </a:xfrm>
          <a:solidFill>
            <a:srgbClr val="333333"/>
          </a:solidFill>
        </p:grpSpPr>
        <p:sp>
          <p:nvSpPr>
            <p:cNvPr id="119" name="Freeform: Shape 43">
              <a:extLst>
                <a:ext uri="{FF2B5EF4-FFF2-40B4-BE49-F238E27FC236}">
                  <a16:creationId xmlns:a16="http://schemas.microsoft.com/office/drawing/2014/main" id="{02DAF58D-2EFA-DBEE-0CD4-205F9B061199}"/>
                </a:ext>
              </a:extLst>
            </p:cNvPr>
            <p:cNvSpPr/>
            <p:nvPr/>
          </p:nvSpPr>
          <p:spPr>
            <a:xfrm>
              <a:off x="4316634" y="1980723"/>
              <a:ext cx="209930" cy="209931"/>
            </a:xfrm>
            <a:custGeom>
              <a:avLst/>
              <a:gdLst>
                <a:gd name="connsiteX0" fmla="*/ 104965 w 209930"/>
                <a:gd name="connsiteY0" fmla="*/ 0 h 209931"/>
                <a:gd name="connsiteX1" fmla="*/ 0 w 209930"/>
                <a:gd name="connsiteY1" fmla="*/ 104966 h 209931"/>
                <a:gd name="connsiteX2" fmla="*/ 104965 w 209930"/>
                <a:gd name="connsiteY2" fmla="*/ 209931 h 209931"/>
                <a:gd name="connsiteX3" fmla="*/ 209931 w 209930"/>
                <a:gd name="connsiteY3" fmla="*/ 104966 h 209931"/>
                <a:gd name="connsiteX4" fmla="*/ 104965 w 209930"/>
                <a:gd name="connsiteY4" fmla="*/ 0 h 209931"/>
                <a:gd name="connsiteX5" fmla="*/ 104965 w 209930"/>
                <a:gd name="connsiteY5" fmla="*/ 185642 h 209931"/>
                <a:gd name="connsiteX6" fmla="*/ 24289 w 209930"/>
                <a:gd name="connsiteY6" fmla="*/ 104966 h 209931"/>
                <a:gd name="connsiteX7" fmla="*/ 104965 w 209930"/>
                <a:gd name="connsiteY7" fmla="*/ 24289 h 209931"/>
                <a:gd name="connsiteX8" fmla="*/ 185642 w 209930"/>
                <a:gd name="connsiteY8" fmla="*/ 104966 h 209931"/>
                <a:gd name="connsiteX9" fmla="*/ 104965 w 209930"/>
                <a:gd name="connsiteY9" fmla="*/ 185642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30" h="209931">
                  <a:moveTo>
                    <a:pt x="104965" y="0"/>
                  </a:moveTo>
                  <a:cubicBezTo>
                    <a:pt x="47053" y="0"/>
                    <a:pt x="0" y="47053"/>
                    <a:pt x="0" y="104966"/>
                  </a:cubicBezTo>
                  <a:cubicBezTo>
                    <a:pt x="0" y="162877"/>
                    <a:pt x="47149" y="209931"/>
                    <a:pt x="104965" y="209931"/>
                  </a:cubicBezTo>
                  <a:cubicBezTo>
                    <a:pt x="162782" y="209931"/>
                    <a:pt x="209931" y="162782"/>
                    <a:pt x="209931" y="104966"/>
                  </a:cubicBezTo>
                  <a:cubicBezTo>
                    <a:pt x="209931" y="47149"/>
                    <a:pt x="162782" y="0"/>
                    <a:pt x="104965" y="0"/>
                  </a:cubicBezTo>
                  <a:close/>
                  <a:moveTo>
                    <a:pt x="104965" y="185642"/>
                  </a:moveTo>
                  <a:cubicBezTo>
                    <a:pt x="60484" y="185642"/>
                    <a:pt x="24289" y="149447"/>
                    <a:pt x="24289" y="104966"/>
                  </a:cubicBezTo>
                  <a:cubicBezTo>
                    <a:pt x="24289" y="60484"/>
                    <a:pt x="60484" y="24289"/>
                    <a:pt x="104965" y="24289"/>
                  </a:cubicBezTo>
                  <a:cubicBezTo>
                    <a:pt x="149447" y="24289"/>
                    <a:pt x="185642" y="60484"/>
                    <a:pt x="185642" y="104966"/>
                  </a:cubicBezTo>
                  <a:cubicBezTo>
                    <a:pt x="185642" y="149447"/>
                    <a:pt x="149447" y="185642"/>
                    <a:pt x="104965" y="185642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: Shape 44">
              <a:extLst>
                <a:ext uri="{FF2B5EF4-FFF2-40B4-BE49-F238E27FC236}">
                  <a16:creationId xmlns:a16="http://schemas.microsoft.com/office/drawing/2014/main" id="{EB4E055C-23B0-CABE-1243-780070C1E4B3}"/>
                </a:ext>
              </a:extLst>
            </p:cNvPr>
            <p:cNvSpPr/>
            <p:nvPr/>
          </p:nvSpPr>
          <p:spPr>
            <a:xfrm>
              <a:off x="4206044" y="1864995"/>
              <a:ext cx="655768" cy="441864"/>
            </a:xfrm>
            <a:custGeom>
              <a:avLst/>
              <a:gdLst>
                <a:gd name="connsiteX0" fmla="*/ 651324 w 655768"/>
                <a:gd name="connsiteY0" fmla="*/ 246126 h 441864"/>
                <a:gd name="connsiteX1" fmla="*/ 653801 w 655768"/>
                <a:gd name="connsiteY1" fmla="*/ 228124 h 441864"/>
                <a:gd name="connsiteX2" fmla="*/ 627702 w 655768"/>
                <a:gd name="connsiteY2" fmla="*/ 182499 h 441864"/>
                <a:gd name="connsiteX3" fmla="*/ 610938 w 655768"/>
                <a:gd name="connsiteY3" fmla="*/ 175450 h 441864"/>
                <a:gd name="connsiteX4" fmla="*/ 569885 w 655768"/>
                <a:gd name="connsiteY4" fmla="*/ 186309 h 441864"/>
                <a:gd name="connsiteX5" fmla="*/ 555122 w 655768"/>
                <a:gd name="connsiteY5" fmla="*/ 176974 h 441864"/>
                <a:gd name="connsiteX6" fmla="*/ 544549 w 655768"/>
                <a:gd name="connsiteY6" fmla="*/ 136779 h 441864"/>
                <a:gd name="connsiteX7" fmla="*/ 530071 w 655768"/>
                <a:gd name="connsiteY7" fmla="*/ 125635 h 441864"/>
                <a:gd name="connsiteX8" fmla="*/ 473588 w 655768"/>
                <a:gd name="connsiteY8" fmla="*/ 125825 h 441864"/>
                <a:gd name="connsiteX9" fmla="*/ 459014 w 655768"/>
                <a:gd name="connsiteY9" fmla="*/ 138017 h 441864"/>
                <a:gd name="connsiteX10" fmla="*/ 453014 w 655768"/>
                <a:gd name="connsiteY10" fmla="*/ 171069 h 441864"/>
                <a:gd name="connsiteX11" fmla="*/ 429963 w 655768"/>
                <a:gd name="connsiteY11" fmla="*/ 184690 h 441864"/>
                <a:gd name="connsiteX12" fmla="*/ 412342 w 655768"/>
                <a:gd name="connsiteY12" fmla="*/ 179832 h 441864"/>
                <a:gd name="connsiteX13" fmla="*/ 425486 w 655768"/>
                <a:gd name="connsiteY13" fmla="*/ 166973 h 441864"/>
                <a:gd name="connsiteX14" fmla="*/ 428725 w 655768"/>
                <a:gd name="connsiteY14" fmla="*/ 143256 h 441864"/>
                <a:gd name="connsiteX15" fmla="*/ 391958 w 655768"/>
                <a:gd name="connsiteY15" fmla="*/ 79058 h 441864"/>
                <a:gd name="connsiteX16" fmla="*/ 369956 w 655768"/>
                <a:gd name="connsiteY16" fmla="*/ 69913 h 441864"/>
                <a:gd name="connsiteX17" fmla="*/ 311663 w 655768"/>
                <a:gd name="connsiteY17" fmla="*/ 85344 h 441864"/>
                <a:gd name="connsiteX18" fmla="*/ 289946 w 655768"/>
                <a:gd name="connsiteY18" fmla="*/ 71628 h 441864"/>
                <a:gd name="connsiteX19" fmla="*/ 274896 w 655768"/>
                <a:gd name="connsiteY19" fmla="*/ 14573 h 441864"/>
                <a:gd name="connsiteX20" fmla="*/ 255941 w 655768"/>
                <a:gd name="connsiteY20" fmla="*/ 0 h 441864"/>
                <a:gd name="connsiteX21" fmla="*/ 176503 w 655768"/>
                <a:gd name="connsiteY21" fmla="*/ 286 h 441864"/>
                <a:gd name="connsiteX22" fmla="*/ 157358 w 655768"/>
                <a:gd name="connsiteY22" fmla="*/ 16288 h 441864"/>
                <a:gd name="connsiteX23" fmla="*/ 148785 w 655768"/>
                <a:gd name="connsiteY23" fmla="*/ 63436 h 441864"/>
                <a:gd name="connsiteX24" fmla="*/ 115352 w 655768"/>
                <a:gd name="connsiteY24" fmla="*/ 83249 h 441864"/>
                <a:gd name="connsiteX25" fmla="*/ 62012 w 655768"/>
                <a:gd name="connsiteY25" fmla="*/ 68485 h 441864"/>
                <a:gd name="connsiteX26" fmla="*/ 39914 w 655768"/>
                <a:gd name="connsiteY26" fmla="*/ 77534 h 441864"/>
                <a:gd name="connsiteX27" fmla="*/ 2672 w 655768"/>
                <a:gd name="connsiteY27" fmla="*/ 141446 h 441864"/>
                <a:gd name="connsiteX28" fmla="*/ 5720 w 655768"/>
                <a:gd name="connsiteY28" fmla="*/ 165068 h 441864"/>
                <a:gd name="connsiteX29" fmla="*/ 44963 w 655768"/>
                <a:gd name="connsiteY29" fmla="*/ 204502 h 441864"/>
                <a:gd name="connsiteX30" fmla="*/ 44963 w 655768"/>
                <a:gd name="connsiteY30" fmla="*/ 241268 h 441864"/>
                <a:gd name="connsiteX31" fmla="*/ 11530 w 655768"/>
                <a:gd name="connsiteY31" fmla="*/ 274796 h 441864"/>
                <a:gd name="connsiteX32" fmla="*/ 8387 w 655768"/>
                <a:gd name="connsiteY32" fmla="*/ 298323 h 441864"/>
                <a:gd name="connsiteX33" fmla="*/ 45153 w 655768"/>
                <a:gd name="connsiteY33" fmla="*/ 362522 h 441864"/>
                <a:gd name="connsiteX34" fmla="*/ 67156 w 655768"/>
                <a:gd name="connsiteY34" fmla="*/ 371666 h 441864"/>
                <a:gd name="connsiteX35" fmla="*/ 113828 w 655768"/>
                <a:gd name="connsiteY35" fmla="*/ 359283 h 441864"/>
                <a:gd name="connsiteX36" fmla="*/ 148880 w 655768"/>
                <a:gd name="connsiteY36" fmla="*/ 376523 h 441864"/>
                <a:gd name="connsiteX37" fmla="*/ 162215 w 655768"/>
                <a:gd name="connsiteY37" fmla="*/ 426911 h 441864"/>
                <a:gd name="connsiteX38" fmla="*/ 181075 w 655768"/>
                <a:gd name="connsiteY38" fmla="*/ 441484 h 441864"/>
                <a:gd name="connsiteX39" fmla="*/ 255084 w 655768"/>
                <a:gd name="connsiteY39" fmla="*/ 441770 h 441864"/>
                <a:gd name="connsiteX40" fmla="*/ 273944 w 655768"/>
                <a:gd name="connsiteY40" fmla="*/ 427196 h 441864"/>
                <a:gd name="connsiteX41" fmla="*/ 289088 w 655768"/>
                <a:gd name="connsiteY41" fmla="*/ 370332 h 441864"/>
                <a:gd name="connsiteX42" fmla="*/ 308900 w 655768"/>
                <a:gd name="connsiteY42" fmla="*/ 358235 h 441864"/>
                <a:gd name="connsiteX43" fmla="*/ 362145 w 655768"/>
                <a:gd name="connsiteY43" fmla="*/ 372999 h 441864"/>
                <a:gd name="connsiteX44" fmla="*/ 372337 w 655768"/>
                <a:gd name="connsiteY44" fmla="*/ 372713 h 441864"/>
                <a:gd name="connsiteX45" fmla="*/ 379290 w 655768"/>
                <a:gd name="connsiteY45" fmla="*/ 384810 h 441864"/>
                <a:gd name="connsiteX46" fmla="*/ 396054 w 655768"/>
                <a:gd name="connsiteY46" fmla="*/ 391859 h 441864"/>
                <a:gd name="connsiteX47" fmla="*/ 428915 w 655768"/>
                <a:gd name="connsiteY47" fmla="*/ 383191 h 441864"/>
                <a:gd name="connsiteX48" fmla="*/ 453109 w 655768"/>
                <a:gd name="connsiteY48" fmla="*/ 395097 h 441864"/>
                <a:gd name="connsiteX49" fmla="*/ 462443 w 655768"/>
                <a:gd name="connsiteY49" fmla="*/ 430530 h 441864"/>
                <a:gd name="connsiteX50" fmla="*/ 476826 w 655768"/>
                <a:gd name="connsiteY50" fmla="*/ 441674 h 441864"/>
                <a:gd name="connsiteX51" fmla="*/ 529499 w 655768"/>
                <a:gd name="connsiteY51" fmla="*/ 441865 h 441864"/>
                <a:gd name="connsiteX52" fmla="*/ 543882 w 655768"/>
                <a:gd name="connsiteY52" fmla="*/ 430816 h 441864"/>
                <a:gd name="connsiteX53" fmla="*/ 554550 w 655768"/>
                <a:gd name="connsiteY53" fmla="*/ 390811 h 441864"/>
                <a:gd name="connsiteX54" fmla="*/ 567980 w 655768"/>
                <a:gd name="connsiteY54" fmla="*/ 382619 h 441864"/>
                <a:gd name="connsiteX55" fmla="*/ 605414 w 655768"/>
                <a:gd name="connsiteY55" fmla="*/ 393002 h 441864"/>
                <a:gd name="connsiteX56" fmla="*/ 622273 w 655768"/>
                <a:gd name="connsiteY56" fmla="*/ 386144 h 441864"/>
                <a:gd name="connsiteX57" fmla="*/ 648752 w 655768"/>
                <a:gd name="connsiteY57" fmla="*/ 340709 h 441864"/>
                <a:gd name="connsiteX58" fmla="*/ 646466 w 655768"/>
                <a:gd name="connsiteY58" fmla="*/ 322707 h 441864"/>
                <a:gd name="connsiteX59" fmla="*/ 619034 w 655768"/>
                <a:gd name="connsiteY59" fmla="*/ 295085 h 441864"/>
                <a:gd name="connsiteX60" fmla="*/ 619415 w 655768"/>
                <a:gd name="connsiteY60" fmla="*/ 277749 h 441864"/>
                <a:gd name="connsiteX61" fmla="*/ 651515 w 655768"/>
                <a:gd name="connsiteY61" fmla="*/ 246221 h 441864"/>
                <a:gd name="connsiteX62" fmla="*/ 305471 w 655768"/>
                <a:gd name="connsiteY62" fmla="*/ 333470 h 441864"/>
                <a:gd name="connsiteX63" fmla="*/ 269181 w 655768"/>
                <a:gd name="connsiteY63" fmla="*/ 355568 h 441864"/>
                <a:gd name="connsiteX64" fmla="*/ 252322 w 655768"/>
                <a:gd name="connsiteY64" fmla="*/ 418814 h 441864"/>
                <a:gd name="connsiteX65" fmla="*/ 183647 w 655768"/>
                <a:gd name="connsiteY65" fmla="*/ 418529 h 441864"/>
                <a:gd name="connsiteX66" fmla="*/ 168311 w 655768"/>
                <a:gd name="connsiteY66" fmla="*/ 360521 h 441864"/>
                <a:gd name="connsiteX67" fmla="*/ 116114 w 655768"/>
                <a:gd name="connsiteY67" fmla="*/ 334804 h 441864"/>
                <a:gd name="connsiteX68" fmla="*/ 63632 w 655768"/>
                <a:gd name="connsiteY68" fmla="*/ 348710 h 441864"/>
                <a:gd name="connsiteX69" fmla="*/ 29532 w 655768"/>
                <a:gd name="connsiteY69" fmla="*/ 289084 h 441864"/>
                <a:gd name="connsiteX70" fmla="*/ 67823 w 655768"/>
                <a:gd name="connsiteY70" fmla="*/ 250698 h 441864"/>
                <a:gd name="connsiteX71" fmla="*/ 67823 w 655768"/>
                <a:gd name="connsiteY71" fmla="*/ 194977 h 441864"/>
                <a:gd name="connsiteX72" fmla="*/ 23817 w 655768"/>
                <a:gd name="connsiteY72" fmla="*/ 150686 h 441864"/>
                <a:gd name="connsiteX73" fmla="*/ 58393 w 655768"/>
                <a:gd name="connsiteY73" fmla="*/ 91345 h 441864"/>
                <a:gd name="connsiteX74" fmla="*/ 118591 w 655768"/>
                <a:gd name="connsiteY74" fmla="*/ 108013 h 441864"/>
                <a:gd name="connsiteX75" fmla="*/ 169550 w 655768"/>
                <a:gd name="connsiteY75" fmla="*/ 77914 h 441864"/>
                <a:gd name="connsiteX76" fmla="*/ 179551 w 655768"/>
                <a:gd name="connsiteY76" fmla="*/ 23241 h 441864"/>
                <a:gd name="connsiteX77" fmla="*/ 253370 w 655768"/>
                <a:gd name="connsiteY77" fmla="*/ 22955 h 441864"/>
                <a:gd name="connsiteX78" fmla="*/ 270038 w 655768"/>
                <a:gd name="connsiteY78" fmla="*/ 86201 h 441864"/>
                <a:gd name="connsiteX79" fmla="*/ 307853 w 655768"/>
                <a:gd name="connsiteY79" fmla="*/ 110109 h 441864"/>
                <a:gd name="connsiteX80" fmla="*/ 373289 w 655768"/>
                <a:gd name="connsiteY80" fmla="*/ 92774 h 441864"/>
                <a:gd name="connsiteX81" fmla="*/ 407389 w 655768"/>
                <a:gd name="connsiteY81" fmla="*/ 152305 h 441864"/>
                <a:gd name="connsiteX82" fmla="*/ 357192 w 655768"/>
                <a:gd name="connsiteY82" fmla="*/ 201740 h 441864"/>
                <a:gd name="connsiteX83" fmla="*/ 356240 w 655768"/>
                <a:gd name="connsiteY83" fmla="*/ 246412 h 441864"/>
                <a:gd name="connsiteX84" fmla="*/ 400340 w 655768"/>
                <a:gd name="connsiteY84" fmla="*/ 290703 h 441864"/>
                <a:gd name="connsiteX85" fmla="*/ 365765 w 655768"/>
                <a:gd name="connsiteY85" fmla="*/ 350044 h 441864"/>
                <a:gd name="connsiteX86" fmla="*/ 305471 w 655768"/>
                <a:gd name="connsiteY86" fmla="*/ 333375 h 441864"/>
                <a:gd name="connsiteX87" fmla="*/ 631512 w 655768"/>
                <a:gd name="connsiteY87" fmla="*/ 333661 h 441864"/>
                <a:gd name="connsiteX88" fmla="*/ 607700 w 655768"/>
                <a:gd name="connsiteY88" fmla="*/ 374523 h 441864"/>
                <a:gd name="connsiteX89" fmla="*/ 565218 w 655768"/>
                <a:gd name="connsiteY89" fmla="*/ 362712 h 441864"/>
                <a:gd name="connsiteX90" fmla="*/ 538739 w 655768"/>
                <a:gd name="connsiteY90" fmla="*/ 378905 h 441864"/>
                <a:gd name="connsiteX91" fmla="*/ 526832 w 655768"/>
                <a:gd name="connsiteY91" fmla="*/ 423481 h 441864"/>
                <a:gd name="connsiteX92" fmla="*/ 479588 w 655768"/>
                <a:gd name="connsiteY92" fmla="*/ 423291 h 441864"/>
                <a:gd name="connsiteX93" fmla="*/ 468825 w 655768"/>
                <a:gd name="connsiteY93" fmla="*/ 382334 h 441864"/>
                <a:gd name="connsiteX94" fmla="*/ 430916 w 655768"/>
                <a:gd name="connsiteY94" fmla="*/ 363665 h 441864"/>
                <a:gd name="connsiteX95" fmla="*/ 393959 w 655768"/>
                <a:gd name="connsiteY95" fmla="*/ 373475 h 441864"/>
                <a:gd name="connsiteX96" fmla="*/ 386434 w 655768"/>
                <a:gd name="connsiteY96" fmla="*/ 360331 h 441864"/>
                <a:gd name="connsiteX97" fmla="*/ 421486 w 655768"/>
                <a:gd name="connsiteY97" fmla="*/ 300038 h 441864"/>
                <a:gd name="connsiteX98" fmla="*/ 418438 w 655768"/>
                <a:gd name="connsiteY98" fmla="*/ 276416 h 441864"/>
                <a:gd name="connsiteX99" fmla="*/ 379385 w 655768"/>
                <a:gd name="connsiteY99" fmla="*/ 237173 h 441864"/>
                <a:gd name="connsiteX100" fmla="*/ 379957 w 655768"/>
                <a:gd name="connsiteY100" fmla="*/ 211646 h 441864"/>
                <a:gd name="connsiteX101" fmla="*/ 397197 w 655768"/>
                <a:gd name="connsiteY101" fmla="*/ 194691 h 441864"/>
                <a:gd name="connsiteX102" fmla="*/ 432630 w 655768"/>
                <a:gd name="connsiteY102" fmla="*/ 204502 h 441864"/>
                <a:gd name="connsiteX103" fmla="*/ 469587 w 655768"/>
                <a:gd name="connsiteY103" fmla="*/ 182594 h 441864"/>
                <a:gd name="connsiteX104" fmla="*/ 476636 w 655768"/>
                <a:gd name="connsiteY104" fmla="*/ 144113 h 441864"/>
                <a:gd name="connsiteX105" fmla="*/ 527499 w 655768"/>
                <a:gd name="connsiteY105" fmla="*/ 143923 h 441864"/>
                <a:gd name="connsiteX106" fmla="*/ 539215 w 655768"/>
                <a:gd name="connsiteY106" fmla="*/ 188595 h 441864"/>
                <a:gd name="connsiteX107" fmla="*/ 566837 w 655768"/>
                <a:gd name="connsiteY107" fmla="*/ 206026 h 441864"/>
                <a:gd name="connsiteX108" fmla="*/ 613034 w 655768"/>
                <a:gd name="connsiteY108" fmla="*/ 193834 h 441864"/>
                <a:gd name="connsiteX109" fmla="*/ 636560 w 655768"/>
                <a:gd name="connsiteY109" fmla="*/ 234886 h 441864"/>
                <a:gd name="connsiteX110" fmla="*/ 601127 w 655768"/>
                <a:gd name="connsiteY110" fmla="*/ 269748 h 441864"/>
                <a:gd name="connsiteX111" fmla="*/ 600461 w 655768"/>
                <a:gd name="connsiteY111" fmla="*/ 302324 h 441864"/>
                <a:gd name="connsiteX112" fmla="*/ 631607 w 655768"/>
                <a:gd name="connsiteY112" fmla="*/ 333566 h 44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655768" h="441864">
                  <a:moveTo>
                    <a:pt x="651324" y="246126"/>
                  </a:moveTo>
                  <a:cubicBezTo>
                    <a:pt x="656182" y="241364"/>
                    <a:pt x="657134" y="233934"/>
                    <a:pt x="653801" y="228124"/>
                  </a:cubicBezTo>
                  <a:lnTo>
                    <a:pt x="627702" y="182499"/>
                  </a:lnTo>
                  <a:cubicBezTo>
                    <a:pt x="624368" y="176784"/>
                    <a:pt x="617225" y="173831"/>
                    <a:pt x="610938" y="175450"/>
                  </a:cubicBezTo>
                  <a:lnTo>
                    <a:pt x="569885" y="186309"/>
                  </a:lnTo>
                  <a:lnTo>
                    <a:pt x="555122" y="176974"/>
                  </a:lnTo>
                  <a:lnTo>
                    <a:pt x="544549" y="136779"/>
                  </a:lnTo>
                  <a:cubicBezTo>
                    <a:pt x="542834" y="130207"/>
                    <a:pt x="536929" y="125635"/>
                    <a:pt x="530071" y="125635"/>
                  </a:cubicBezTo>
                  <a:lnTo>
                    <a:pt x="473588" y="125825"/>
                  </a:lnTo>
                  <a:cubicBezTo>
                    <a:pt x="466349" y="125825"/>
                    <a:pt x="460253" y="130969"/>
                    <a:pt x="459014" y="138017"/>
                  </a:cubicBezTo>
                  <a:lnTo>
                    <a:pt x="453014" y="171069"/>
                  </a:lnTo>
                  <a:lnTo>
                    <a:pt x="429963" y="184690"/>
                  </a:lnTo>
                  <a:lnTo>
                    <a:pt x="412342" y="179832"/>
                  </a:lnTo>
                  <a:lnTo>
                    <a:pt x="425486" y="166973"/>
                  </a:lnTo>
                  <a:cubicBezTo>
                    <a:pt x="431868" y="160687"/>
                    <a:pt x="433202" y="150971"/>
                    <a:pt x="428725" y="143256"/>
                  </a:cubicBezTo>
                  <a:lnTo>
                    <a:pt x="391958" y="79058"/>
                  </a:lnTo>
                  <a:cubicBezTo>
                    <a:pt x="387577" y="71533"/>
                    <a:pt x="378242" y="67723"/>
                    <a:pt x="369956" y="69913"/>
                  </a:cubicBezTo>
                  <a:lnTo>
                    <a:pt x="311663" y="85344"/>
                  </a:lnTo>
                  <a:lnTo>
                    <a:pt x="289946" y="71628"/>
                  </a:lnTo>
                  <a:lnTo>
                    <a:pt x="274896" y="14573"/>
                  </a:lnTo>
                  <a:cubicBezTo>
                    <a:pt x="272610" y="6001"/>
                    <a:pt x="264895" y="0"/>
                    <a:pt x="255941" y="0"/>
                  </a:cubicBezTo>
                  <a:lnTo>
                    <a:pt x="176503" y="286"/>
                  </a:lnTo>
                  <a:cubicBezTo>
                    <a:pt x="167073" y="286"/>
                    <a:pt x="158977" y="7048"/>
                    <a:pt x="157358" y="16288"/>
                  </a:cubicBezTo>
                  <a:lnTo>
                    <a:pt x="148785" y="63436"/>
                  </a:lnTo>
                  <a:lnTo>
                    <a:pt x="115352" y="83249"/>
                  </a:lnTo>
                  <a:lnTo>
                    <a:pt x="62012" y="68485"/>
                  </a:lnTo>
                  <a:cubicBezTo>
                    <a:pt x="53726" y="66199"/>
                    <a:pt x="44296" y="70009"/>
                    <a:pt x="39914" y="77534"/>
                  </a:cubicBezTo>
                  <a:lnTo>
                    <a:pt x="2672" y="141446"/>
                  </a:lnTo>
                  <a:cubicBezTo>
                    <a:pt x="-1805" y="149066"/>
                    <a:pt x="-567" y="158782"/>
                    <a:pt x="5720" y="165068"/>
                  </a:cubicBezTo>
                  <a:lnTo>
                    <a:pt x="44963" y="204502"/>
                  </a:lnTo>
                  <a:lnTo>
                    <a:pt x="44963" y="241268"/>
                  </a:lnTo>
                  <a:lnTo>
                    <a:pt x="11530" y="274796"/>
                  </a:lnTo>
                  <a:cubicBezTo>
                    <a:pt x="5339" y="280988"/>
                    <a:pt x="4005" y="290703"/>
                    <a:pt x="8387" y="298323"/>
                  </a:cubicBezTo>
                  <a:lnTo>
                    <a:pt x="45153" y="362522"/>
                  </a:lnTo>
                  <a:cubicBezTo>
                    <a:pt x="49439" y="370046"/>
                    <a:pt x="58774" y="373952"/>
                    <a:pt x="67156" y="371666"/>
                  </a:cubicBezTo>
                  <a:lnTo>
                    <a:pt x="113828" y="359283"/>
                  </a:lnTo>
                  <a:lnTo>
                    <a:pt x="148880" y="376523"/>
                  </a:lnTo>
                  <a:lnTo>
                    <a:pt x="162215" y="426911"/>
                  </a:lnTo>
                  <a:cubicBezTo>
                    <a:pt x="164501" y="435483"/>
                    <a:pt x="172217" y="441484"/>
                    <a:pt x="181075" y="441484"/>
                  </a:cubicBezTo>
                  <a:lnTo>
                    <a:pt x="255084" y="441770"/>
                  </a:lnTo>
                  <a:cubicBezTo>
                    <a:pt x="263942" y="441770"/>
                    <a:pt x="271658" y="435769"/>
                    <a:pt x="273944" y="427196"/>
                  </a:cubicBezTo>
                  <a:lnTo>
                    <a:pt x="289088" y="370332"/>
                  </a:lnTo>
                  <a:lnTo>
                    <a:pt x="308900" y="358235"/>
                  </a:lnTo>
                  <a:lnTo>
                    <a:pt x="362145" y="372999"/>
                  </a:lnTo>
                  <a:cubicBezTo>
                    <a:pt x="365479" y="373952"/>
                    <a:pt x="369003" y="373666"/>
                    <a:pt x="372337" y="372713"/>
                  </a:cubicBezTo>
                  <a:lnTo>
                    <a:pt x="379290" y="384810"/>
                  </a:lnTo>
                  <a:cubicBezTo>
                    <a:pt x="382624" y="390525"/>
                    <a:pt x="389768" y="393478"/>
                    <a:pt x="396054" y="391859"/>
                  </a:cubicBezTo>
                  <a:lnTo>
                    <a:pt x="428915" y="383191"/>
                  </a:lnTo>
                  <a:lnTo>
                    <a:pt x="453109" y="395097"/>
                  </a:lnTo>
                  <a:lnTo>
                    <a:pt x="462443" y="430530"/>
                  </a:lnTo>
                  <a:cubicBezTo>
                    <a:pt x="464158" y="437007"/>
                    <a:pt x="470063" y="441579"/>
                    <a:pt x="476826" y="441674"/>
                  </a:cubicBezTo>
                  <a:lnTo>
                    <a:pt x="529499" y="441865"/>
                  </a:lnTo>
                  <a:cubicBezTo>
                    <a:pt x="536262" y="441865"/>
                    <a:pt x="542168" y="437293"/>
                    <a:pt x="543882" y="430816"/>
                  </a:cubicBezTo>
                  <a:lnTo>
                    <a:pt x="554550" y="390811"/>
                  </a:lnTo>
                  <a:lnTo>
                    <a:pt x="567980" y="382619"/>
                  </a:lnTo>
                  <a:lnTo>
                    <a:pt x="605414" y="393002"/>
                  </a:lnTo>
                  <a:cubicBezTo>
                    <a:pt x="611700" y="394716"/>
                    <a:pt x="618939" y="391859"/>
                    <a:pt x="622273" y="386144"/>
                  </a:cubicBezTo>
                  <a:lnTo>
                    <a:pt x="648752" y="340709"/>
                  </a:lnTo>
                  <a:cubicBezTo>
                    <a:pt x="652181" y="334899"/>
                    <a:pt x="651229" y="327470"/>
                    <a:pt x="646466" y="322707"/>
                  </a:cubicBezTo>
                  <a:lnTo>
                    <a:pt x="619034" y="295085"/>
                  </a:lnTo>
                  <a:lnTo>
                    <a:pt x="619415" y="277749"/>
                  </a:lnTo>
                  <a:lnTo>
                    <a:pt x="651515" y="246221"/>
                  </a:lnTo>
                  <a:close/>
                  <a:moveTo>
                    <a:pt x="305471" y="333470"/>
                  </a:moveTo>
                  <a:lnTo>
                    <a:pt x="269181" y="355568"/>
                  </a:lnTo>
                  <a:lnTo>
                    <a:pt x="252322" y="418814"/>
                  </a:lnTo>
                  <a:lnTo>
                    <a:pt x="183647" y="418529"/>
                  </a:lnTo>
                  <a:lnTo>
                    <a:pt x="168311" y="360521"/>
                  </a:lnTo>
                  <a:lnTo>
                    <a:pt x="116114" y="334804"/>
                  </a:lnTo>
                  <a:lnTo>
                    <a:pt x="63632" y="348710"/>
                  </a:lnTo>
                  <a:lnTo>
                    <a:pt x="29532" y="289084"/>
                  </a:lnTo>
                  <a:lnTo>
                    <a:pt x="67823" y="250698"/>
                  </a:lnTo>
                  <a:lnTo>
                    <a:pt x="67823" y="194977"/>
                  </a:lnTo>
                  <a:lnTo>
                    <a:pt x="23817" y="150686"/>
                  </a:lnTo>
                  <a:lnTo>
                    <a:pt x="58393" y="91345"/>
                  </a:lnTo>
                  <a:lnTo>
                    <a:pt x="118591" y="108013"/>
                  </a:lnTo>
                  <a:lnTo>
                    <a:pt x="169550" y="77914"/>
                  </a:lnTo>
                  <a:lnTo>
                    <a:pt x="179551" y="23241"/>
                  </a:lnTo>
                  <a:lnTo>
                    <a:pt x="253370" y="22955"/>
                  </a:lnTo>
                  <a:lnTo>
                    <a:pt x="270038" y="86201"/>
                  </a:lnTo>
                  <a:lnTo>
                    <a:pt x="307853" y="110109"/>
                  </a:lnTo>
                  <a:lnTo>
                    <a:pt x="373289" y="92774"/>
                  </a:lnTo>
                  <a:lnTo>
                    <a:pt x="407389" y="152305"/>
                  </a:lnTo>
                  <a:lnTo>
                    <a:pt x="357192" y="201740"/>
                  </a:lnTo>
                  <a:lnTo>
                    <a:pt x="356240" y="246412"/>
                  </a:lnTo>
                  <a:lnTo>
                    <a:pt x="400340" y="290703"/>
                  </a:lnTo>
                  <a:lnTo>
                    <a:pt x="365765" y="350044"/>
                  </a:lnTo>
                  <a:lnTo>
                    <a:pt x="305471" y="333375"/>
                  </a:lnTo>
                  <a:close/>
                  <a:moveTo>
                    <a:pt x="631512" y="333661"/>
                  </a:moveTo>
                  <a:lnTo>
                    <a:pt x="607700" y="374523"/>
                  </a:lnTo>
                  <a:lnTo>
                    <a:pt x="565218" y="362712"/>
                  </a:lnTo>
                  <a:lnTo>
                    <a:pt x="538739" y="378905"/>
                  </a:lnTo>
                  <a:lnTo>
                    <a:pt x="526832" y="423481"/>
                  </a:lnTo>
                  <a:lnTo>
                    <a:pt x="479588" y="423291"/>
                  </a:lnTo>
                  <a:lnTo>
                    <a:pt x="468825" y="382334"/>
                  </a:lnTo>
                  <a:lnTo>
                    <a:pt x="430916" y="363665"/>
                  </a:lnTo>
                  <a:lnTo>
                    <a:pt x="393959" y="373475"/>
                  </a:lnTo>
                  <a:lnTo>
                    <a:pt x="386434" y="360331"/>
                  </a:lnTo>
                  <a:lnTo>
                    <a:pt x="421486" y="300038"/>
                  </a:lnTo>
                  <a:cubicBezTo>
                    <a:pt x="425963" y="292418"/>
                    <a:pt x="424724" y="282702"/>
                    <a:pt x="418438" y="276416"/>
                  </a:cubicBezTo>
                  <a:lnTo>
                    <a:pt x="379385" y="237173"/>
                  </a:lnTo>
                  <a:lnTo>
                    <a:pt x="379957" y="211646"/>
                  </a:lnTo>
                  <a:lnTo>
                    <a:pt x="397197" y="194691"/>
                  </a:lnTo>
                  <a:lnTo>
                    <a:pt x="432630" y="204502"/>
                  </a:lnTo>
                  <a:lnTo>
                    <a:pt x="469587" y="182594"/>
                  </a:lnTo>
                  <a:lnTo>
                    <a:pt x="476636" y="144113"/>
                  </a:lnTo>
                  <a:lnTo>
                    <a:pt x="527499" y="143923"/>
                  </a:lnTo>
                  <a:lnTo>
                    <a:pt x="539215" y="188595"/>
                  </a:lnTo>
                  <a:lnTo>
                    <a:pt x="566837" y="206026"/>
                  </a:lnTo>
                  <a:lnTo>
                    <a:pt x="613034" y="193834"/>
                  </a:lnTo>
                  <a:lnTo>
                    <a:pt x="636560" y="234886"/>
                  </a:lnTo>
                  <a:lnTo>
                    <a:pt x="601127" y="269748"/>
                  </a:lnTo>
                  <a:lnTo>
                    <a:pt x="600461" y="302324"/>
                  </a:lnTo>
                  <a:lnTo>
                    <a:pt x="631607" y="333566"/>
                  </a:ln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: Shape 45">
              <a:extLst>
                <a:ext uri="{FF2B5EF4-FFF2-40B4-BE49-F238E27FC236}">
                  <a16:creationId xmlns:a16="http://schemas.microsoft.com/office/drawing/2014/main" id="{FD3AE220-90FC-1D67-B002-B79FA0DBBF9A}"/>
                </a:ext>
              </a:extLst>
            </p:cNvPr>
            <p:cNvSpPr/>
            <p:nvPr/>
          </p:nvSpPr>
          <p:spPr>
            <a:xfrm>
              <a:off x="4631816" y="2072925"/>
              <a:ext cx="151257" cy="151256"/>
            </a:xfrm>
            <a:custGeom>
              <a:avLst/>
              <a:gdLst>
                <a:gd name="connsiteX0" fmla="*/ 75629 w 151257"/>
                <a:gd name="connsiteY0" fmla="*/ 0 h 151256"/>
                <a:gd name="connsiteX1" fmla="*/ 0 w 151257"/>
                <a:gd name="connsiteY1" fmla="*/ 75628 h 151256"/>
                <a:gd name="connsiteX2" fmla="*/ 75629 w 151257"/>
                <a:gd name="connsiteY2" fmla="*/ 151257 h 151256"/>
                <a:gd name="connsiteX3" fmla="*/ 151257 w 151257"/>
                <a:gd name="connsiteY3" fmla="*/ 75628 h 151256"/>
                <a:gd name="connsiteX4" fmla="*/ 75629 w 151257"/>
                <a:gd name="connsiteY4" fmla="*/ 0 h 151256"/>
                <a:gd name="connsiteX5" fmla="*/ 75629 w 151257"/>
                <a:gd name="connsiteY5" fmla="*/ 132017 h 151256"/>
                <a:gd name="connsiteX6" fmla="*/ 19241 w 151257"/>
                <a:gd name="connsiteY6" fmla="*/ 75628 h 151256"/>
                <a:gd name="connsiteX7" fmla="*/ 75629 w 151257"/>
                <a:gd name="connsiteY7" fmla="*/ 19241 h 151256"/>
                <a:gd name="connsiteX8" fmla="*/ 132017 w 151257"/>
                <a:gd name="connsiteY8" fmla="*/ 75628 h 151256"/>
                <a:gd name="connsiteX9" fmla="*/ 75629 w 151257"/>
                <a:gd name="connsiteY9" fmla="*/ 132017 h 1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257" h="151256">
                  <a:moveTo>
                    <a:pt x="75629" y="0"/>
                  </a:moveTo>
                  <a:cubicBezTo>
                    <a:pt x="33909" y="0"/>
                    <a:pt x="0" y="33909"/>
                    <a:pt x="0" y="75628"/>
                  </a:cubicBezTo>
                  <a:cubicBezTo>
                    <a:pt x="0" y="117348"/>
                    <a:pt x="33909" y="151257"/>
                    <a:pt x="75629" y="151257"/>
                  </a:cubicBezTo>
                  <a:cubicBezTo>
                    <a:pt x="117348" y="151257"/>
                    <a:pt x="151257" y="117348"/>
                    <a:pt x="151257" y="75628"/>
                  </a:cubicBezTo>
                  <a:cubicBezTo>
                    <a:pt x="151257" y="33909"/>
                    <a:pt x="117348" y="0"/>
                    <a:pt x="75629" y="0"/>
                  </a:cubicBezTo>
                  <a:close/>
                  <a:moveTo>
                    <a:pt x="75629" y="132017"/>
                  </a:moveTo>
                  <a:cubicBezTo>
                    <a:pt x="44577" y="132017"/>
                    <a:pt x="19241" y="106775"/>
                    <a:pt x="19241" y="75628"/>
                  </a:cubicBezTo>
                  <a:cubicBezTo>
                    <a:pt x="19241" y="44482"/>
                    <a:pt x="44482" y="19241"/>
                    <a:pt x="75629" y="19241"/>
                  </a:cubicBezTo>
                  <a:cubicBezTo>
                    <a:pt x="106775" y="19241"/>
                    <a:pt x="132017" y="44482"/>
                    <a:pt x="132017" y="75628"/>
                  </a:cubicBezTo>
                  <a:cubicBezTo>
                    <a:pt x="132017" y="106775"/>
                    <a:pt x="106775" y="132017"/>
                    <a:pt x="75629" y="132017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2" name="Graphic 17">
            <a:extLst>
              <a:ext uri="{FF2B5EF4-FFF2-40B4-BE49-F238E27FC236}">
                <a16:creationId xmlns:a16="http://schemas.microsoft.com/office/drawing/2014/main" id="{47A0F8E6-2360-B37F-9857-3A597765E599}"/>
              </a:ext>
            </a:extLst>
          </p:cNvPr>
          <p:cNvGrpSpPr/>
          <p:nvPr/>
        </p:nvGrpSpPr>
        <p:grpSpPr>
          <a:xfrm>
            <a:off x="10442486" y="3235589"/>
            <a:ext cx="500806" cy="348732"/>
            <a:chOff x="5901404" y="2319527"/>
            <a:chExt cx="655891" cy="456723"/>
          </a:xfrm>
          <a:solidFill>
            <a:srgbClr val="333333"/>
          </a:solidFill>
        </p:grpSpPr>
        <p:sp>
          <p:nvSpPr>
            <p:cNvPr id="123" name="Freeform: Shape 89">
              <a:extLst>
                <a:ext uri="{FF2B5EF4-FFF2-40B4-BE49-F238E27FC236}">
                  <a16:creationId xmlns:a16="http://schemas.microsoft.com/office/drawing/2014/main" id="{81402CA9-5E37-C528-CDD5-04CDB6759574}"/>
                </a:ext>
              </a:extLst>
            </p:cNvPr>
            <p:cNvSpPr/>
            <p:nvPr/>
          </p:nvSpPr>
          <p:spPr>
            <a:xfrm>
              <a:off x="5901404" y="2749962"/>
              <a:ext cx="655891" cy="26289"/>
            </a:xfrm>
            <a:custGeom>
              <a:avLst/>
              <a:gdLst>
                <a:gd name="connsiteX0" fmla="*/ 642747 w 655891"/>
                <a:gd name="connsiteY0" fmla="*/ 0 h 26289"/>
                <a:gd name="connsiteX1" fmla="*/ 13145 w 655891"/>
                <a:gd name="connsiteY1" fmla="*/ 0 h 26289"/>
                <a:gd name="connsiteX2" fmla="*/ 0 w 655891"/>
                <a:gd name="connsiteY2" fmla="*/ 13145 h 26289"/>
                <a:gd name="connsiteX3" fmla="*/ 13145 w 655891"/>
                <a:gd name="connsiteY3" fmla="*/ 26289 h 26289"/>
                <a:gd name="connsiteX4" fmla="*/ 642747 w 655891"/>
                <a:gd name="connsiteY4" fmla="*/ 26289 h 26289"/>
                <a:gd name="connsiteX5" fmla="*/ 655892 w 655891"/>
                <a:gd name="connsiteY5" fmla="*/ 13145 h 26289"/>
                <a:gd name="connsiteX6" fmla="*/ 642747 w 655891"/>
                <a:gd name="connsiteY6" fmla="*/ 0 h 2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5891" h="26289">
                  <a:moveTo>
                    <a:pt x="642747" y="0"/>
                  </a:moveTo>
                  <a:lnTo>
                    <a:pt x="13145" y="0"/>
                  </a:lnTo>
                  <a:cubicBezTo>
                    <a:pt x="5906" y="0"/>
                    <a:pt x="0" y="5906"/>
                    <a:pt x="0" y="13145"/>
                  </a:cubicBezTo>
                  <a:cubicBezTo>
                    <a:pt x="0" y="20383"/>
                    <a:pt x="5906" y="26289"/>
                    <a:pt x="13145" y="26289"/>
                  </a:cubicBezTo>
                  <a:lnTo>
                    <a:pt x="642747" y="26289"/>
                  </a:lnTo>
                  <a:cubicBezTo>
                    <a:pt x="649986" y="26289"/>
                    <a:pt x="655892" y="20383"/>
                    <a:pt x="655892" y="13145"/>
                  </a:cubicBezTo>
                  <a:cubicBezTo>
                    <a:pt x="655892" y="5906"/>
                    <a:pt x="649986" y="0"/>
                    <a:pt x="642747" y="0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: Shape 90">
              <a:extLst>
                <a:ext uri="{FF2B5EF4-FFF2-40B4-BE49-F238E27FC236}">
                  <a16:creationId xmlns:a16="http://schemas.microsoft.com/office/drawing/2014/main" id="{1D9B861C-23F6-4818-D481-18A49135408E}"/>
                </a:ext>
              </a:extLst>
            </p:cNvPr>
            <p:cNvSpPr/>
            <p:nvPr/>
          </p:nvSpPr>
          <p:spPr>
            <a:xfrm>
              <a:off x="5901404" y="2319527"/>
              <a:ext cx="655796" cy="380809"/>
            </a:xfrm>
            <a:custGeom>
              <a:avLst/>
              <a:gdLst>
                <a:gd name="connsiteX0" fmla="*/ 625507 w 655796"/>
                <a:gd name="connsiteY0" fmla="*/ 95 h 380809"/>
                <a:gd name="connsiteX1" fmla="*/ 244031 w 655796"/>
                <a:gd name="connsiteY1" fmla="*/ 95 h 380809"/>
                <a:gd name="connsiteX2" fmla="*/ 0 w 655796"/>
                <a:gd name="connsiteY2" fmla="*/ 291751 h 380809"/>
                <a:gd name="connsiteX3" fmla="*/ 76105 w 655796"/>
                <a:gd name="connsiteY3" fmla="*/ 380810 h 380809"/>
                <a:gd name="connsiteX4" fmla="*/ 624078 w 655796"/>
                <a:gd name="connsiteY4" fmla="*/ 380810 h 380809"/>
                <a:gd name="connsiteX5" fmla="*/ 655796 w 655796"/>
                <a:gd name="connsiteY5" fmla="*/ 348996 h 380809"/>
                <a:gd name="connsiteX6" fmla="*/ 655796 w 655796"/>
                <a:gd name="connsiteY6" fmla="*/ 30480 h 380809"/>
                <a:gd name="connsiteX7" fmla="*/ 625412 w 655796"/>
                <a:gd name="connsiteY7" fmla="*/ 0 h 380809"/>
                <a:gd name="connsiteX8" fmla="*/ 629603 w 655796"/>
                <a:gd name="connsiteY8" fmla="*/ 191357 h 380809"/>
                <a:gd name="connsiteX9" fmla="*/ 293751 w 655796"/>
                <a:gd name="connsiteY9" fmla="*/ 191357 h 380809"/>
                <a:gd name="connsiteX10" fmla="*/ 318707 w 655796"/>
                <a:gd name="connsiteY10" fmla="*/ 112681 h 380809"/>
                <a:gd name="connsiteX11" fmla="*/ 629507 w 655796"/>
                <a:gd name="connsiteY11" fmla="*/ 112681 h 380809"/>
                <a:gd name="connsiteX12" fmla="*/ 629507 w 655796"/>
                <a:gd name="connsiteY12" fmla="*/ 191357 h 380809"/>
                <a:gd name="connsiteX13" fmla="*/ 83915 w 655796"/>
                <a:gd name="connsiteY13" fmla="*/ 112586 h 380809"/>
                <a:gd name="connsiteX14" fmla="*/ 195929 w 655796"/>
                <a:gd name="connsiteY14" fmla="*/ 112586 h 380809"/>
                <a:gd name="connsiteX15" fmla="*/ 170974 w 655796"/>
                <a:gd name="connsiteY15" fmla="*/ 191262 h 380809"/>
                <a:gd name="connsiteX16" fmla="*/ 42577 w 655796"/>
                <a:gd name="connsiteY16" fmla="*/ 191262 h 380809"/>
                <a:gd name="connsiteX17" fmla="*/ 83820 w 655796"/>
                <a:gd name="connsiteY17" fmla="*/ 112586 h 380809"/>
                <a:gd name="connsiteX18" fmla="*/ 624173 w 655796"/>
                <a:gd name="connsiteY18" fmla="*/ 354521 h 380809"/>
                <a:gd name="connsiteX19" fmla="*/ 76105 w 655796"/>
                <a:gd name="connsiteY19" fmla="*/ 354521 h 380809"/>
                <a:gd name="connsiteX20" fmla="*/ 26289 w 655796"/>
                <a:gd name="connsiteY20" fmla="*/ 291751 h 380809"/>
                <a:gd name="connsiteX21" fmla="*/ 35147 w 655796"/>
                <a:gd name="connsiteY21" fmla="*/ 217646 h 380809"/>
                <a:gd name="connsiteX22" fmla="*/ 180594 w 655796"/>
                <a:gd name="connsiteY22" fmla="*/ 217646 h 380809"/>
                <a:gd name="connsiteX23" fmla="*/ 193167 w 655796"/>
                <a:gd name="connsiteY23" fmla="*/ 208502 h 380809"/>
                <a:gd name="connsiteX24" fmla="*/ 226409 w 655796"/>
                <a:gd name="connsiteY24" fmla="*/ 103537 h 380809"/>
                <a:gd name="connsiteX25" fmla="*/ 224504 w 655796"/>
                <a:gd name="connsiteY25" fmla="*/ 91821 h 380809"/>
                <a:gd name="connsiteX26" fmla="*/ 213932 w 655796"/>
                <a:gd name="connsiteY26" fmla="*/ 86487 h 380809"/>
                <a:gd name="connsiteX27" fmla="*/ 106394 w 655796"/>
                <a:gd name="connsiteY27" fmla="*/ 86487 h 380809"/>
                <a:gd name="connsiteX28" fmla="*/ 244031 w 655796"/>
                <a:gd name="connsiteY28" fmla="*/ 26575 h 380809"/>
                <a:gd name="connsiteX29" fmla="*/ 625507 w 655796"/>
                <a:gd name="connsiteY29" fmla="*/ 26575 h 380809"/>
                <a:gd name="connsiteX30" fmla="*/ 629603 w 655796"/>
                <a:gd name="connsiteY30" fmla="*/ 30766 h 380809"/>
                <a:gd name="connsiteX31" fmla="*/ 629603 w 655796"/>
                <a:gd name="connsiteY31" fmla="*/ 86582 h 380809"/>
                <a:gd name="connsiteX32" fmla="*/ 309086 w 655796"/>
                <a:gd name="connsiteY32" fmla="*/ 86582 h 380809"/>
                <a:gd name="connsiteX33" fmla="*/ 296609 w 655796"/>
                <a:gd name="connsiteY33" fmla="*/ 95726 h 380809"/>
                <a:gd name="connsiteX34" fmla="*/ 263271 w 655796"/>
                <a:gd name="connsiteY34" fmla="*/ 200692 h 380809"/>
                <a:gd name="connsiteX35" fmla="*/ 265176 w 655796"/>
                <a:gd name="connsiteY35" fmla="*/ 212408 h 380809"/>
                <a:gd name="connsiteX36" fmla="*/ 275749 w 655796"/>
                <a:gd name="connsiteY36" fmla="*/ 217742 h 380809"/>
                <a:gd name="connsiteX37" fmla="*/ 629507 w 655796"/>
                <a:gd name="connsiteY37" fmla="*/ 217742 h 380809"/>
                <a:gd name="connsiteX38" fmla="*/ 629507 w 655796"/>
                <a:gd name="connsiteY38" fmla="*/ 349187 h 380809"/>
                <a:gd name="connsiteX39" fmla="*/ 624078 w 655796"/>
                <a:gd name="connsiteY39" fmla="*/ 354711 h 380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55796" h="380809">
                  <a:moveTo>
                    <a:pt x="625507" y="95"/>
                  </a:moveTo>
                  <a:lnTo>
                    <a:pt x="244031" y="95"/>
                  </a:lnTo>
                  <a:cubicBezTo>
                    <a:pt x="109538" y="95"/>
                    <a:pt x="0" y="130874"/>
                    <a:pt x="0" y="291751"/>
                  </a:cubicBezTo>
                  <a:cubicBezTo>
                    <a:pt x="0" y="340900"/>
                    <a:pt x="34100" y="380810"/>
                    <a:pt x="76105" y="380810"/>
                  </a:cubicBezTo>
                  <a:lnTo>
                    <a:pt x="624078" y="380810"/>
                  </a:lnTo>
                  <a:cubicBezTo>
                    <a:pt x="641604" y="380810"/>
                    <a:pt x="655796" y="366522"/>
                    <a:pt x="655796" y="348996"/>
                  </a:cubicBezTo>
                  <a:lnTo>
                    <a:pt x="655796" y="30480"/>
                  </a:lnTo>
                  <a:cubicBezTo>
                    <a:pt x="655796" y="13716"/>
                    <a:pt x="642176" y="0"/>
                    <a:pt x="625412" y="0"/>
                  </a:cubicBezTo>
                  <a:close/>
                  <a:moveTo>
                    <a:pt x="629603" y="191357"/>
                  </a:moveTo>
                  <a:lnTo>
                    <a:pt x="293751" y="191357"/>
                  </a:lnTo>
                  <a:lnTo>
                    <a:pt x="318707" y="112681"/>
                  </a:lnTo>
                  <a:lnTo>
                    <a:pt x="629507" y="112681"/>
                  </a:lnTo>
                  <a:lnTo>
                    <a:pt x="629507" y="191357"/>
                  </a:lnTo>
                  <a:close/>
                  <a:moveTo>
                    <a:pt x="83915" y="112586"/>
                  </a:moveTo>
                  <a:lnTo>
                    <a:pt x="195929" y="112586"/>
                  </a:lnTo>
                  <a:lnTo>
                    <a:pt x="170974" y="191262"/>
                  </a:lnTo>
                  <a:lnTo>
                    <a:pt x="42577" y="191262"/>
                  </a:lnTo>
                  <a:cubicBezTo>
                    <a:pt x="52388" y="162020"/>
                    <a:pt x="66580" y="135541"/>
                    <a:pt x="83820" y="112586"/>
                  </a:cubicBezTo>
                  <a:close/>
                  <a:moveTo>
                    <a:pt x="624173" y="354521"/>
                  </a:moveTo>
                  <a:lnTo>
                    <a:pt x="76105" y="354521"/>
                  </a:lnTo>
                  <a:cubicBezTo>
                    <a:pt x="48673" y="354521"/>
                    <a:pt x="26289" y="326326"/>
                    <a:pt x="26289" y="291751"/>
                  </a:cubicBezTo>
                  <a:cubicBezTo>
                    <a:pt x="26289" y="266033"/>
                    <a:pt x="29432" y="241173"/>
                    <a:pt x="35147" y="217646"/>
                  </a:cubicBezTo>
                  <a:lnTo>
                    <a:pt x="180594" y="217646"/>
                  </a:lnTo>
                  <a:cubicBezTo>
                    <a:pt x="186309" y="217646"/>
                    <a:pt x="191357" y="213931"/>
                    <a:pt x="193167" y="208502"/>
                  </a:cubicBezTo>
                  <a:lnTo>
                    <a:pt x="226409" y="103537"/>
                  </a:lnTo>
                  <a:cubicBezTo>
                    <a:pt x="227648" y="99536"/>
                    <a:pt x="226981" y="95155"/>
                    <a:pt x="224504" y="91821"/>
                  </a:cubicBezTo>
                  <a:cubicBezTo>
                    <a:pt x="222028" y="88487"/>
                    <a:pt x="218123" y="86487"/>
                    <a:pt x="213932" y="86487"/>
                  </a:cubicBezTo>
                  <a:lnTo>
                    <a:pt x="106394" y="86487"/>
                  </a:lnTo>
                  <a:cubicBezTo>
                    <a:pt x="143923" y="49054"/>
                    <a:pt x="191833" y="26575"/>
                    <a:pt x="244031" y="26575"/>
                  </a:cubicBezTo>
                  <a:lnTo>
                    <a:pt x="625507" y="26575"/>
                  </a:lnTo>
                  <a:cubicBezTo>
                    <a:pt x="627793" y="26575"/>
                    <a:pt x="629603" y="28480"/>
                    <a:pt x="629603" y="30766"/>
                  </a:cubicBezTo>
                  <a:lnTo>
                    <a:pt x="629603" y="86582"/>
                  </a:lnTo>
                  <a:lnTo>
                    <a:pt x="309086" y="86582"/>
                  </a:lnTo>
                  <a:cubicBezTo>
                    <a:pt x="303371" y="86582"/>
                    <a:pt x="298323" y="90297"/>
                    <a:pt x="296609" y="95726"/>
                  </a:cubicBezTo>
                  <a:lnTo>
                    <a:pt x="263271" y="200692"/>
                  </a:lnTo>
                  <a:cubicBezTo>
                    <a:pt x="262033" y="204692"/>
                    <a:pt x="262700" y="209074"/>
                    <a:pt x="265176" y="212408"/>
                  </a:cubicBezTo>
                  <a:cubicBezTo>
                    <a:pt x="267653" y="215741"/>
                    <a:pt x="271558" y="217742"/>
                    <a:pt x="275749" y="217742"/>
                  </a:cubicBezTo>
                  <a:lnTo>
                    <a:pt x="629507" y="217742"/>
                  </a:lnTo>
                  <a:lnTo>
                    <a:pt x="629507" y="349187"/>
                  </a:lnTo>
                  <a:cubicBezTo>
                    <a:pt x="629507" y="352235"/>
                    <a:pt x="627031" y="354711"/>
                    <a:pt x="624078" y="354711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TextBox 1051">
            <a:extLst>
              <a:ext uri="{FF2B5EF4-FFF2-40B4-BE49-F238E27FC236}">
                <a16:creationId xmlns:a16="http://schemas.microsoft.com/office/drawing/2014/main" id="{BD28C6B3-335A-DC2A-7E2A-CFE307D9ECB7}"/>
              </a:ext>
            </a:extLst>
          </p:cNvPr>
          <p:cNvSpPr txBox="1">
            <a:spLocks/>
          </p:cNvSpPr>
          <p:nvPr/>
        </p:nvSpPr>
        <p:spPr>
          <a:xfrm>
            <a:off x="10050393" y="1855002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Siderurgia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9" name="TextBox 1051">
            <a:extLst>
              <a:ext uri="{FF2B5EF4-FFF2-40B4-BE49-F238E27FC236}">
                <a16:creationId xmlns:a16="http://schemas.microsoft.com/office/drawing/2014/main" id="{F736B30E-F315-885D-2239-B32EE5373E8A}"/>
              </a:ext>
            </a:extLst>
          </p:cNvPr>
          <p:cNvSpPr txBox="1">
            <a:spLocks/>
          </p:cNvSpPr>
          <p:nvPr/>
        </p:nvSpPr>
        <p:spPr>
          <a:xfrm>
            <a:off x="8582141" y="1855002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Refinari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25" name="TextBox 1051">
            <a:extLst>
              <a:ext uri="{FF2B5EF4-FFF2-40B4-BE49-F238E27FC236}">
                <a16:creationId xmlns:a16="http://schemas.microsoft.com/office/drawing/2014/main" id="{C5A009D7-780B-1511-831B-995EA324ADEA}"/>
              </a:ext>
            </a:extLst>
          </p:cNvPr>
          <p:cNvSpPr txBox="1">
            <a:spLocks/>
          </p:cNvSpPr>
          <p:nvPr/>
        </p:nvSpPr>
        <p:spPr>
          <a:xfrm>
            <a:off x="8582141" y="2828794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Refinaria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65" name="TextBox 1051">
            <a:extLst>
              <a:ext uri="{FF2B5EF4-FFF2-40B4-BE49-F238E27FC236}">
                <a16:creationId xmlns:a16="http://schemas.microsoft.com/office/drawing/2014/main" id="{204D7178-2E08-0A93-BCF9-B4D07AB507B4}"/>
              </a:ext>
            </a:extLst>
          </p:cNvPr>
          <p:cNvSpPr txBox="1">
            <a:spLocks/>
          </p:cNvSpPr>
          <p:nvPr/>
        </p:nvSpPr>
        <p:spPr>
          <a:xfrm>
            <a:off x="10113412" y="2859929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Mobilidade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87" name="TextBox 1051">
            <a:extLst>
              <a:ext uri="{FF2B5EF4-FFF2-40B4-BE49-F238E27FC236}">
                <a16:creationId xmlns:a16="http://schemas.microsoft.com/office/drawing/2014/main" id="{24194FBE-CDFF-43E5-5EC6-CCB6DB921CA2}"/>
              </a:ext>
            </a:extLst>
          </p:cNvPr>
          <p:cNvSpPr txBox="1">
            <a:spLocks/>
          </p:cNvSpPr>
          <p:nvPr/>
        </p:nvSpPr>
        <p:spPr>
          <a:xfrm>
            <a:off x="8582141" y="3917138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Cimenteir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125" name="TextBox 1051">
            <a:extLst>
              <a:ext uri="{FF2B5EF4-FFF2-40B4-BE49-F238E27FC236}">
                <a16:creationId xmlns:a16="http://schemas.microsoft.com/office/drawing/2014/main" id="{468A70B8-904A-6043-EBD4-F0FAAA39FF38}"/>
              </a:ext>
            </a:extLst>
          </p:cNvPr>
          <p:cNvSpPr txBox="1">
            <a:spLocks/>
          </p:cNvSpPr>
          <p:nvPr/>
        </p:nvSpPr>
        <p:spPr>
          <a:xfrm>
            <a:off x="10096943" y="3920692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Vidro e cerâmica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126" name="TextBox 1051">
            <a:extLst>
              <a:ext uri="{FF2B5EF4-FFF2-40B4-BE49-F238E27FC236}">
                <a16:creationId xmlns:a16="http://schemas.microsoft.com/office/drawing/2014/main" id="{FAAAA1BE-E057-22D9-DEB1-34B39F66A4B0}"/>
              </a:ext>
            </a:extLst>
          </p:cNvPr>
          <p:cNvSpPr txBox="1">
            <a:spLocks/>
          </p:cNvSpPr>
          <p:nvPr/>
        </p:nvSpPr>
        <p:spPr>
          <a:xfrm>
            <a:off x="8582141" y="4969736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Setor de Energi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127" name="TextBox 1051">
            <a:extLst>
              <a:ext uri="{FF2B5EF4-FFF2-40B4-BE49-F238E27FC236}">
                <a16:creationId xmlns:a16="http://schemas.microsoft.com/office/drawing/2014/main" id="{1CEE9C77-A26B-91F2-F053-73633B8364D2}"/>
              </a:ext>
            </a:extLst>
          </p:cNvPr>
          <p:cNvSpPr txBox="1">
            <a:spLocks/>
          </p:cNvSpPr>
          <p:nvPr/>
        </p:nvSpPr>
        <p:spPr>
          <a:xfrm>
            <a:off x="10086117" y="4996802"/>
            <a:ext cx="1284992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Mistura com G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grpSp>
        <p:nvGrpSpPr>
          <p:cNvPr id="145" name="Agrupar 144">
            <a:extLst>
              <a:ext uri="{FF2B5EF4-FFF2-40B4-BE49-F238E27FC236}">
                <a16:creationId xmlns:a16="http://schemas.microsoft.com/office/drawing/2014/main" id="{14884BB6-5A05-350E-4E6B-CE962265C322}"/>
              </a:ext>
            </a:extLst>
          </p:cNvPr>
          <p:cNvGrpSpPr/>
          <p:nvPr/>
        </p:nvGrpSpPr>
        <p:grpSpPr>
          <a:xfrm>
            <a:off x="2241749" y="4325875"/>
            <a:ext cx="828098" cy="828098"/>
            <a:chOff x="2241749" y="4325875"/>
            <a:chExt cx="828098" cy="828098"/>
          </a:xfrm>
        </p:grpSpPr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C70CA921-BAB9-73F9-690F-7430D05DFB07}"/>
                </a:ext>
              </a:extLst>
            </p:cNvPr>
            <p:cNvSpPr/>
            <p:nvPr/>
          </p:nvSpPr>
          <p:spPr>
            <a:xfrm>
              <a:off x="2241749" y="4325875"/>
              <a:ext cx="828098" cy="828098"/>
            </a:xfrm>
            <a:prstGeom prst="ellipse">
              <a:avLst/>
            </a:prstGeom>
            <a:solidFill>
              <a:srgbClr val="9DB1CB"/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8" name="Graphic 13">
              <a:extLst>
                <a:ext uri="{FF2B5EF4-FFF2-40B4-BE49-F238E27FC236}">
                  <a16:creationId xmlns:a16="http://schemas.microsoft.com/office/drawing/2014/main" id="{C495600C-69B6-B24A-DACE-8D2E343C1E10}"/>
                </a:ext>
              </a:extLst>
            </p:cNvPr>
            <p:cNvGrpSpPr/>
            <p:nvPr/>
          </p:nvGrpSpPr>
          <p:grpSpPr>
            <a:xfrm>
              <a:off x="2402287" y="4466018"/>
              <a:ext cx="505070" cy="505355"/>
              <a:chOff x="6068519" y="5056339"/>
              <a:chExt cx="655510" cy="655881"/>
            </a:xfrm>
            <a:solidFill>
              <a:schemeClr val="bg1"/>
            </a:solidFill>
          </p:grpSpPr>
          <p:sp>
            <p:nvSpPr>
              <p:cNvPr id="139" name="Freeform: Shape 174">
                <a:extLst>
                  <a:ext uri="{FF2B5EF4-FFF2-40B4-BE49-F238E27FC236}">
                    <a16:creationId xmlns:a16="http://schemas.microsoft.com/office/drawing/2014/main" id="{E1ACC0D7-B4C6-158E-1B76-FE86E0CE1BB9}"/>
                  </a:ext>
                </a:extLst>
              </p:cNvPr>
              <p:cNvSpPr/>
              <p:nvPr/>
            </p:nvSpPr>
            <p:spPr>
              <a:xfrm>
                <a:off x="6068519" y="5194116"/>
                <a:ext cx="655510" cy="518104"/>
              </a:xfrm>
              <a:custGeom>
                <a:avLst/>
                <a:gdLst>
                  <a:gd name="connsiteX0" fmla="*/ 642366 w 655510"/>
                  <a:gd name="connsiteY0" fmla="*/ 417902 h 518104"/>
                  <a:gd name="connsiteX1" fmla="*/ 631317 w 655510"/>
                  <a:gd name="connsiteY1" fmla="*/ 417902 h 518104"/>
                  <a:gd name="connsiteX2" fmla="*/ 631317 w 655510"/>
                  <a:gd name="connsiteY2" fmla="*/ 318651 h 518104"/>
                  <a:gd name="connsiteX3" fmla="*/ 599884 w 655510"/>
                  <a:gd name="connsiteY3" fmla="*/ 287219 h 518104"/>
                  <a:gd name="connsiteX4" fmla="*/ 421481 w 655510"/>
                  <a:gd name="connsiteY4" fmla="*/ 287219 h 518104"/>
                  <a:gd name="connsiteX5" fmla="*/ 408337 w 655510"/>
                  <a:gd name="connsiteY5" fmla="*/ 300363 h 518104"/>
                  <a:gd name="connsiteX6" fmla="*/ 421481 w 655510"/>
                  <a:gd name="connsiteY6" fmla="*/ 313508 h 518104"/>
                  <a:gd name="connsiteX7" fmla="*/ 446818 w 655510"/>
                  <a:gd name="connsiteY7" fmla="*/ 313508 h 518104"/>
                  <a:gd name="connsiteX8" fmla="*/ 333756 w 655510"/>
                  <a:gd name="connsiteY8" fmla="*/ 419045 h 518104"/>
                  <a:gd name="connsiteX9" fmla="*/ 139637 w 655510"/>
                  <a:gd name="connsiteY9" fmla="*/ 419045 h 518104"/>
                  <a:gd name="connsiteX10" fmla="*/ 26289 w 655510"/>
                  <a:gd name="connsiteY10" fmla="*/ 307221 h 518104"/>
                  <a:gd name="connsiteX11" fmla="*/ 139637 w 655510"/>
                  <a:gd name="connsiteY11" fmla="*/ 195398 h 518104"/>
                  <a:gd name="connsiteX12" fmla="*/ 394526 w 655510"/>
                  <a:gd name="connsiteY12" fmla="*/ 195398 h 518104"/>
                  <a:gd name="connsiteX13" fmla="*/ 394526 w 655510"/>
                  <a:gd name="connsiteY13" fmla="*/ 203303 h 518104"/>
                  <a:gd name="connsiteX14" fmla="*/ 407670 w 655510"/>
                  <a:gd name="connsiteY14" fmla="*/ 216448 h 518104"/>
                  <a:gd name="connsiteX15" fmla="*/ 420815 w 655510"/>
                  <a:gd name="connsiteY15" fmla="*/ 203303 h 518104"/>
                  <a:gd name="connsiteX16" fmla="*/ 420815 w 655510"/>
                  <a:gd name="connsiteY16" fmla="*/ 195398 h 518104"/>
                  <a:gd name="connsiteX17" fmla="*/ 483013 w 655510"/>
                  <a:gd name="connsiteY17" fmla="*/ 195398 h 518104"/>
                  <a:gd name="connsiteX18" fmla="*/ 496157 w 655510"/>
                  <a:gd name="connsiteY18" fmla="*/ 182253 h 518104"/>
                  <a:gd name="connsiteX19" fmla="*/ 496157 w 655510"/>
                  <a:gd name="connsiteY19" fmla="*/ 38711 h 518104"/>
                  <a:gd name="connsiteX20" fmla="*/ 545783 w 655510"/>
                  <a:gd name="connsiteY20" fmla="*/ 25853 h 518104"/>
                  <a:gd name="connsiteX21" fmla="*/ 555212 w 655510"/>
                  <a:gd name="connsiteY21" fmla="*/ 9851 h 518104"/>
                  <a:gd name="connsiteX22" fmla="*/ 539210 w 655510"/>
                  <a:gd name="connsiteY22" fmla="*/ 421 h 518104"/>
                  <a:gd name="connsiteX23" fmla="*/ 423101 w 655510"/>
                  <a:gd name="connsiteY23" fmla="*/ 30520 h 518104"/>
                  <a:gd name="connsiteX24" fmla="*/ 413671 w 655510"/>
                  <a:gd name="connsiteY24" fmla="*/ 46522 h 518104"/>
                  <a:gd name="connsiteX25" fmla="*/ 426339 w 655510"/>
                  <a:gd name="connsiteY25" fmla="*/ 56333 h 518104"/>
                  <a:gd name="connsiteX26" fmla="*/ 429673 w 655510"/>
                  <a:gd name="connsiteY26" fmla="*/ 55952 h 518104"/>
                  <a:gd name="connsiteX27" fmla="*/ 469868 w 655510"/>
                  <a:gd name="connsiteY27" fmla="*/ 45474 h 518104"/>
                  <a:gd name="connsiteX28" fmla="*/ 469868 w 655510"/>
                  <a:gd name="connsiteY28" fmla="*/ 169109 h 518104"/>
                  <a:gd name="connsiteX29" fmla="*/ 420815 w 655510"/>
                  <a:gd name="connsiteY29" fmla="*/ 169109 h 518104"/>
                  <a:gd name="connsiteX30" fmla="*/ 420815 w 655510"/>
                  <a:gd name="connsiteY30" fmla="*/ 158822 h 518104"/>
                  <a:gd name="connsiteX31" fmla="*/ 407670 w 655510"/>
                  <a:gd name="connsiteY31" fmla="*/ 145677 h 518104"/>
                  <a:gd name="connsiteX32" fmla="*/ 394526 w 655510"/>
                  <a:gd name="connsiteY32" fmla="*/ 158822 h 518104"/>
                  <a:gd name="connsiteX33" fmla="*/ 394526 w 655510"/>
                  <a:gd name="connsiteY33" fmla="*/ 169109 h 518104"/>
                  <a:gd name="connsiteX34" fmla="*/ 139637 w 655510"/>
                  <a:gd name="connsiteY34" fmla="*/ 169109 h 518104"/>
                  <a:gd name="connsiteX35" fmla="*/ 0 w 655510"/>
                  <a:gd name="connsiteY35" fmla="*/ 307126 h 518104"/>
                  <a:gd name="connsiteX36" fmla="*/ 125254 w 655510"/>
                  <a:gd name="connsiteY36" fmla="*/ 444476 h 518104"/>
                  <a:gd name="connsiteX37" fmla="*/ 125254 w 655510"/>
                  <a:gd name="connsiteY37" fmla="*/ 491816 h 518104"/>
                  <a:gd name="connsiteX38" fmla="*/ 95345 w 655510"/>
                  <a:gd name="connsiteY38" fmla="*/ 491816 h 518104"/>
                  <a:gd name="connsiteX39" fmla="*/ 82201 w 655510"/>
                  <a:gd name="connsiteY39" fmla="*/ 504960 h 518104"/>
                  <a:gd name="connsiteX40" fmla="*/ 95345 w 655510"/>
                  <a:gd name="connsiteY40" fmla="*/ 518105 h 518104"/>
                  <a:gd name="connsiteX41" fmla="*/ 138398 w 655510"/>
                  <a:gd name="connsiteY41" fmla="*/ 518105 h 518104"/>
                  <a:gd name="connsiteX42" fmla="*/ 151543 w 655510"/>
                  <a:gd name="connsiteY42" fmla="*/ 504960 h 518104"/>
                  <a:gd name="connsiteX43" fmla="*/ 151543 w 655510"/>
                  <a:gd name="connsiteY43" fmla="*/ 445238 h 518104"/>
                  <a:gd name="connsiteX44" fmla="*/ 320707 w 655510"/>
                  <a:gd name="connsiteY44" fmla="*/ 445238 h 518104"/>
                  <a:gd name="connsiteX45" fmla="*/ 320707 w 655510"/>
                  <a:gd name="connsiteY45" fmla="*/ 504960 h 518104"/>
                  <a:gd name="connsiteX46" fmla="*/ 333851 w 655510"/>
                  <a:gd name="connsiteY46" fmla="*/ 518105 h 518104"/>
                  <a:gd name="connsiteX47" fmla="*/ 376904 w 655510"/>
                  <a:gd name="connsiteY47" fmla="*/ 518105 h 518104"/>
                  <a:gd name="connsiteX48" fmla="*/ 390049 w 655510"/>
                  <a:gd name="connsiteY48" fmla="*/ 504960 h 518104"/>
                  <a:gd name="connsiteX49" fmla="*/ 376904 w 655510"/>
                  <a:gd name="connsiteY49" fmla="*/ 491816 h 518104"/>
                  <a:gd name="connsiteX50" fmla="*/ 346901 w 655510"/>
                  <a:gd name="connsiteY50" fmla="*/ 491816 h 518104"/>
                  <a:gd name="connsiteX51" fmla="*/ 346901 w 655510"/>
                  <a:gd name="connsiteY51" fmla="*/ 444572 h 518104"/>
                  <a:gd name="connsiteX52" fmla="*/ 473107 w 655510"/>
                  <a:gd name="connsiteY52" fmla="*/ 313412 h 518104"/>
                  <a:gd name="connsiteX53" fmla="*/ 599884 w 655510"/>
                  <a:gd name="connsiteY53" fmla="*/ 313412 h 518104"/>
                  <a:gd name="connsiteX54" fmla="*/ 605123 w 655510"/>
                  <a:gd name="connsiteY54" fmla="*/ 318651 h 518104"/>
                  <a:gd name="connsiteX55" fmla="*/ 605123 w 655510"/>
                  <a:gd name="connsiteY55" fmla="*/ 417902 h 518104"/>
                  <a:gd name="connsiteX56" fmla="*/ 589312 w 655510"/>
                  <a:gd name="connsiteY56" fmla="*/ 417902 h 518104"/>
                  <a:gd name="connsiteX57" fmla="*/ 576167 w 655510"/>
                  <a:gd name="connsiteY57" fmla="*/ 431046 h 518104"/>
                  <a:gd name="connsiteX58" fmla="*/ 589312 w 655510"/>
                  <a:gd name="connsiteY58" fmla="*/ 444191 h 518104"/>
                  <a:gd name="connsiteX59" fmla="*/ 642366 w 655510"/>
                  <a:gd name="connsiteY59" fmla="*/ 444191 h 518104"/>
                  <a:gd name="connsiteX60" fmla="*/ 655511 w 655510"/>
                  <a:gd name="connsiteY60" fmla="*/ 431046 h 518104"/>
                  <a:gd name="connsiteX61" fmla="*/ 642366 w 655510"/>
                  <a:gd name="connsiteY61" fmla="*/ 417902 h 518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655510" h="518104">
                    <a:moveTo>
                      <a:pt x="642366" y="417902"/>
                    </a:moveTo>
                    <a:lnTo>
                      <a:pt x="631317" y="417902"/>
                    </a:lnTo>
                    <a:lnTo>
                      <a:pt x="631317" y="318651"/>
                    </a:lnTo>
                    <a:cubicBezTo>
                      <a:pt x="631317" y="301316"/>
                      <a:pt x="617220" y="287219"/>
                      <a:pt x="599884" y="287219"/>
                    </a:cubicBezTo>
                    <a:lnTo>
                      <a:pt x="421481" y="287219"/>
                    </a:lnTo>
                    <a:cubicBezTo>
                      <a:pt x="414242" y="287219"/>
                      <a:pt x="408337" y="293124"/>
                      <a:pt x="408337" y="300363"/>
                    </a:cubicBezTo>
                    <a:cubicBezTo>
                      <a:pt x="408337" y="307602"/>
                      <a:pt x="414242" y="313508"/>
                      <a:pt x="421481" y="313508"/>
                    </a:cubicBezTo>
                    <a:lnTo>
                      <a:pt x="446818" y="313508"/>
                    </a:lnTo>
                    <a:cubicBezTo>
                      <a:pt x="443675" y="374087"/>
                      <a:pt x="396240" y="419045"/>
                      <a:pt x="333756" y="419045"/>
                    </a:cubicBezTo>
                    <a:lnTo>
                      <a:pt x="139637" y="419045"/>
                    </a:lnTo>
                    <a:cubicBezTo>
                      <a:pt x="74962" y="419045"/>
                      <a:pt x="26289" y="370943"/>
                      <a:pt x="26289" y="307221"/>
                    </a:cubicBezTo>
                    <a:cubicBezTo>
                      <a:pt x="26289" y="243499"/>
                      <a:pt x="75057" y="195398"/>
                      <a:pt x="139637" y="195398"/>
                    </a:cubicBezTo>
                    <a:lnTo>
                      <a:pt x="394526" y="195398"/>
                    </a:lnTo>
                    <a:lnTo>
                      <a:pt x="394526" y="203303"/>
                    </a:lnTo>
                    <a:cubicBezTo>
                      <a:pt x="394526" y="210542"/>
                      <a:pt x="400431" y="216448"/>
                      <a:pt x="407670" y="216448"/>
                    </a:cubicBezTo>
                    <a:cubicBezTo>
                      <a:pt x="414909" y="216448"/>
                      <a:pt x="420815" y="210542"/>
                      <a:pt x="420815" y="203303"/>
                    </a:cubicBezTo>
                    <a:lnTo>
                      <a:pt x="420815" y="195398"/>
                    </a:lnTo>
                    <a:lnTo>
                      <a:pt x="483013" y="195398"/>
                    </a:lnTo>
                    <a:cubicBezTo>
                      <a:pt x="490252" y="195398"/>
                      <a:pt x="496157" y="189492"/>
                      <a:pt x="496157" y="182253"/>
                    </a:cubicBezTo>
                    <a:lnTo>
                      <a:pt x="496157" y="38711"/>
                    </a:lnTo>
                    <a:lnTo>
                      <a:pt x="545783" y="25853"/>
                    </a:lnTo>
                    <a:cubicBezTo>
                      <a:pt x="552831" y="24043"/>
                      <a:pt x="557022" y="16899"/>
                      <a:pt x="555212" y="9851"/>
                    </a:cubicBezTo>
                    <a:cubicBezTo>
                      <a:pt x="553403" y="2802"/>
                      <a:pt x="546259" y="-1389"/>
                      <a:pt x="539210" y="421"/>
                    </a:cubicBezTo>
                    <a:lnTo>
                      <a:pt x="423101" y="30520"/>
                    </a:lnTo>
                    <a:cubicBezTo>
                      <a:pt x="416052" y="32330"/>
                      <a:pt x="411861" y="39473"/>
                      <a:pt x="413671" y="46522"/>
                    </a:cubicBezTo>
                    <a:cubicBezTo>
                      <a:pt x="415195" y="52427"/>
                      <a:pt x="420529" y="56333"/>
                      <a:pt x="426339" y="56333"/>
                    </a:cubicBezTo>
                    <a:cubicBezTo>
                      <a:pt x="427387" y="56333"/>
                      <a:pt x="428530" y="56237"/>
                      <a:pt x="429673" y="55952"/>
                    </a:cubicBezTo>
                    <a:lnTo>
                      <a:pt x="469868" y="45474"/>
                    </a:lnTo>
                    <a:lnTo>
                      <a:pt x="469868" y="169109"/>
                    </a:lnTo>
                    <a:lnTo>
                      <a:pt x="420815" y="169109"/>
                    </a:lnTo>
                    <a:lnTo>
                      <a:pt x="420815" y="158822"/>
                    </a:lnTo>
                    <a:cubicBezTo>
                      <a:pt x="420815" y="151583"/>
                      <a:pt x="414909" y="145677"/>
                      <a:pt x="407670" y="145677"/>
                    </a:cubicBezTo>
                    <a:cubicBezTo>
                      <a:pt x="400431" y="145677"/>
                      <a:pt x="394526" y="151583"/>
                      <a:pt x="394526" y="158822"/>
                    </a:cubicBezTo>
                    <a:lnTo>
                      <a:pt x="394526" y="169109"/>
                    </a:lnTo>
                    <a:lnTo>
                      <a:pt x="139637" y="169109"/>
                    </a:lnTo>
                    <a:cubicBezTo>
                      <a:pt x="60008" y="169109"/>
                      <a:pt x="0" y="228449"/>
                      <a:pt x="0" y="307126"/>
                    </a:cubicBezTo>
                    <a:cubicBezTo>
                      <a:pt x="0" y="381040"/>
                      <a:pt x="52864" y="437809"/>
                      <a:pt x="125254" y="444476"/>
                    </a:cubicBezTo>
                    <a:lnTo>
                      <a:pt x="125254" y="491816"/>
                    </a:lnTo>
                    <a:lnTo>
                      <a:pt x="95345" y="491816"/>
                    </a:lnTo>
                    <a:cubicBezTo>
                      <a:pt x="88106" y="491816"/>
                      <a:pt x="82201" y="497721"/>
                      <a:pt x="82201" y="504960"/>
                    </a:cubicBezTo>
                    <a:cubicBezTo>
                      <a:pt x="82201" y="512199"/>
                      <a:pt x="88106" y="518105"/>
                      <a:pt x="95345" y="518105"/>
                    </a:cubicBezTo>
                    <a:lnTo>
                      <a:pt x="138398" y="518105"/>
                    </a:lnTo>
                    <a:cubicBezTo>
                      <a:pt x="145637" y="518105"/>
                      <a:pt x="151543" y="512199"/>
                      <a:pt x="151543" y="504960"/>
                    </a:cubicBezTo>
                    <a:lnTo>
                      <a:pt x="151543" y="445238"/>
                    </a:lnTo>
                    <a:lnTo>
                      <a:pt x="320707" y="445238"/>
                    </a:lnTo>
                    <a:lnTo>
                      <a:pt x="320707" y="504960"/>
                    </a:lnTo>
                    <a:cubicBezTo>
                      <a:pt x="320707" y="512199"/>
                      <a:pt x="326612" y="518105"/>
                      <a:pt x="333851" y="518105"/>
                    </a:cubicBezTo>
                    <a:lnTo>
                      <a:pt x="376904" y="518105"/>
                    </a:lnTo>
                    <a:cubicBezTo>
                      <a:pt x="384143" y="518105"/>
                      <a:pt x="390049" y="512199"/>
                      <a:pt x="390049" y="504960"/>
                    </a:cubicBezTo>
                    <a:cubicBezTo>
                      <a:pt x="390049" y="497721"/>
                      <a:pt x="384143" y="491816"/>
                      <a:pt x="376904" y="491816"/>
                    </a:cubicBezTo>
                    <a:lnTo>
                      <a:pt x="346901" y="491816"/>
                    </a:lnTo>
                    <a:lnTo>
                      <a:pt x="346901" y="444572"/>
                    </a:lnTo>
                    <a:cubicBezTo>
                      <a:pt x="417767" y="438571"/>
                      <a:pt x="470154" y="384659"/>
                      <a:pt x="473107" y="313412"/>
                    </a:cubicBezTo>
                    <a:lnTo>
                      <a:pt x="599884" y="313412"/>
                    </a:lnTo>
                    <a:cubicBezTo>
                      <a:pt x="602742" y="313412"/>
                      <a:pt x="605123" y="315698"/>
                      <a:pt x="605123" y="318651"/>
                    </a:cubicBezTo>
                    <a:lnTo>
                      <a:pt x="605123" y="417902"/>
                    </a:lnTo>
                    <a:lnTo>
                      <a:pt x="589312" y="417902"/>
                    </a:lnTo>
                    <a:cubicBezTo>
                      <a:pt x="582073" y="417902"/>
                      <a:pt x="576167" y="423807"/>
                      <a:pt x="576167" y="431046"/>
                    </a:cubicBezTo>
                    <a:cubicBezTo>
                      <a:pt x="576167" y="438285"/>
                      <a:pt x="582073" y="444191"/>
                      <a:pt x="589312" y="444191"/>
                    </a:cubicBezTo>
                    <a:lnTo>
                      <a:pt x="642366" y="444191"/>
                    </a:lnTo>
                    <a:cubicBezTo>
                      <a:pt x="649605" y="444191"/>
                      <a:pt x="655511" y="438285"/>
                      <a:pt x="655511" y="431046"/>
                    </a:cubicBezTo>
                    <a:cubicBezTo>
                      <a:pt x="655511" y="423807"/>
                      <a:pt x="649605" y="417902"/>
                      <a:pt x="642366" y="4179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175">
                <a:extLst>
                  <a:ext uri="{FF2B5EF4-FFF2-40B4-BE49-F238E27FC236}">
                    <a16:creationId xmlns:a16="http://schemas.microsoft.com/office/drawing/2014/main" id="{6D5F0868-AC08-D29E-7081-82D1D592BAB3}"/>
                  </a:ext>
                </a:extLst>
              </p:cNvPr>
              <p:cNvSpPr/>
              <p:nvPr/>
            </p:nvSpPr>
            <p:spPr>
              <a:xfrm>
                <a:off x="6481102" y="5138871"/>
                <a:ext cx="142383" cy="56332"/>
              </a:xfrm>
              <a:custGeom>
                <a:avLst/>
                <a:gdLst>
                  <a:gd name="connsiteX0" fmla="*/ 125960 w 142383"/>
                  <a:gd name="connsiteY0" fmla="*/ 421 h 56332"/>
                  <a:gd name="connsiteX1" fmla="*/ 9851 w 142383"/>
                  <a:gd name="connsiteY1" fmla="*/ 30520 h 56332"/>
                  <a:gd name="connsiteX2" fmla="*/ 421 w 142383"/>
                  <a:gd name="connsiteY2" fmla="*/ 46522 h 56332"/>
                  <a:gd name="connsiteX3" fmla="*/ 13089 w 142383"/>
                  <a:gd name="connsiteY3" fmla="*/ 56333 h 56332"/>
                  <a:gd name="connsiteX4" fmla="*/ 16423 w 142383"/>
                  <a:gd name="connsiteY4" fmla="*/ 55952 h 56332"/>
                  <a:gd name="connsiteX5" fmla="*/ 132533 w 142383"/>
                  <a:gd name="connsiteY5" fmla="*/ 25853 h 56332"/>
                  <a:gd name="connsiteX6" fmla="*/ 141962 w 142383"/>
                  <a:gd name="connsiteY6" fmla="*/ 9851 h 56332"/>
                  <a:gd name="connsiteX7" fmla="*/ 125960 w 142383"/>
                  <a:gd name="connsiteY7" fmla="*/ 421 h 56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2383" h="56332">
                    <a:moveTo>
                      <a:pt x="125960" y="421"/>
                    </a:moveTo>
                    <a:lnTo>
                      <a:pt x="9851" y="30520"/>
                    </a:lnTo>
                    <a:cubicBezTo>
                      <a:pt x="2802" y="32330"/>
                      <a:pt x="-1389" y="39473"/>
                      <a:pt x="421" y="46522"/>
                    </a:cubicBezTo>
                    <a:cubicBezTo>
                      <a:pt x="1945" y="52427"/>
                      <a:pt x="7279" y="56333"/>
                      <a:pt x="13089" y="56333"/>
                    </a:cubicBezTo>
                    <a:cubicBezTo>
                      <a:pt x="14137" y="56333"/>
                      <a:pt x="15280" y="56237"/>
                      <a:pt x="16423" y="55952"/>
                    </a:cubicBezTo>
                    <a:lnTo>
                      <a:pt x="132533" y="25853"/>
                    </a:lnTo>
                    <a:cubicBezTo>
                      <a:pt x="139581" y="24043"/>
                      <a:pt x="143772" y="16899"/>
                      <a:pt x="141962" y="9851"/>
                    </a:cubicBezTo>
                    <a:cubicBezTo>
                      <a:pt x="140153" y="2802"/>
                      <a:pt x="133009" y="-1389"/>
                      <a:pt x="125960" y="42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76">
                <a:extLst>
                  <a:ext uri="{FF2B5EF4-FFF2-40B4-BE49-F238E27FC236}">
                    <a16:creationId xmlns:a16="http://schemas.microsoft.com/office/drawing/2014/main" id="{7D5AE301-927E-92EE-4976-C776BF3F3329}"/>
                  </a:ext>
                </a:extLst>
              </p:cNvPr>
              <p:cNvSpPr/>
              <p:nvPr/>
            </p:nvSpPr>
            <p:spPr>
              <a:xfrm>
                <a:off x="6480530" y="5090294"/>
                <a:ext cx="142383" cy="56332"/>
              </a:xfrm>
              <a:custGeom>
                <a:avLst/>
                <a:gdLst>
                  <a:gd name="connsiteX0" fmla="*/ 421 w 142383"/>
                  <a:gd name="connsiteY0" fmla="*/ 46522 h 56332"/>
                  <a:gd name="connsiteX1" fmla="*/ 13089 w 142383"/>
                  <a:gd name="connsiteY1" fmla="*/ 56333 h 56332"/>
                  <a:gd name="connsiteX2" fmla="*/ 16423 w 142383"/>
                  <a:gd name="connsiteY2" fmla="*/ 55952 h 56332"/>
                  <a:gd name="connsiteX3" fmla="*/ 132533 w 142383"/>
                  <a:gd name="connsiteY3" fmla="*/ 25853 h 56332"/>
                  <a:gd name="connsiteX4" fmla="*/ 141962 w 142383"/>
                  <a:gd name="connsiteY4" fmla="*/ 9851 h 56332"/>
                  <a:gd name="connsiteX5" fmla="*/ 125960 w 142383"/>
                  <a:gd name="connsiteY5" fmla="*/ 421 h 56332"/>
                  <a:gd name="connsiteX6" fmla="*/ 9851 w 142383"/>
                  <a:gd name="connsiteY6" fmla="*/ 30520 h 56332"/>
                  <a:gd name="connsiteX7" fmla="*/ 421 w 142383"/>
                  <a:gd name="connsiteY7" fmla="*/ 46522 h 56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2383" h="56332">
                    <a:moveTo>
                      <a:pt x="421" y="46522"/>
                    </a:moveTo>
                    <a:cubicBezTo>
                      <a:pt x="1945" y="52427"/>
                      <a:pt x="7279" y="56333"/>
                      <a:pt x="13089" y="56333"/>
                    </a:cubicBezTo>
                    <a:cubicBezTo>
                      <a:pt x="14137" y="56333"/>
                      <a:pt x="15280" y="56237"/>
                      <a:pt x="16423" y="55952"/>
                    </a:cubicBezTo>
                    <a:lnTo>
                      <a:pt x="132533" y="25853"/>
                    </a:lnTo>
                    <a:cubicBezTo>
                      <a:pt x="139581" y="24043"/>
                      <a:pt x="143772" y="16899"/>
                      <a:pt x="141962" y="9851"/>
                    </a:cubicBezTo>
                    <a:cubicBezTo>
                      <a:pt x="140153" y="2802"/>
                      <a:pt x="133009" y="-1389"/>
                      <a:pt x="125960" y="421"/>
                    </a:cubicBezTo>
                    <a:lnTo>
                      <a:pt x="9851" y="30520"/>
                    </a:lnTo>
                    <a:cubicBezTo>
                      <a:pt x="2802" y="32330"/>
                      <a:pt x="-1389" y="39473"/>
                      <a:pt x="421" y="4652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77">
                <a:extLst>
                  <a:ext uri="{FF2B5EF4-FFF2-40B4-BE49-F238E27FC236}">
                    <a16:creationId xmlns:a16="http://schemas.microsoft.com/office/drawing/2014/main" id="{CF2FCE6F-EBFF-9AB7-1F1C-3547D0C86FAD}"/>
                  </a:ext>
                </a:extLst>
              </p:cNvPr>
              <p:cNvSpPr/>
              <p:nvPr/>
            </p:nvSpPr>
            <p:spPr>
              <a:xfrm>
                <a:off x="6479348" y="5056339"/>
                <a:ext cx="77120" cy="39995"/>
              </a:xfrm>
              <a:custGeom>
                <a:avLst/>
                <a:gdLst>
                  <a:gd name="connsiteX0" fmla="*/ 13128 w 77120"/>
                  <a:gd name="connsiteY0" fmla="*/ 39995 h 39995"/>
                  <a:gd name="connsiteX1" fmla="*/ 16557 w 77120"/>
                  <a:gd name="connsiteY1" fmla="*/ 39519 h 39995"/>
                  <a:gd name="connsiteX2" fmla="*/ 67421 w 77120"/>
                  <a:gd name="connsiteY2" fmla="*/ 25803 h 39995"/>
                  <a:gd name="connsiteX3" fmla="*/ 76660 w 77120"/>
                  <a:gd name="connsiteY3" fmla="*/ 9706 h 39995"/>
                  <a:gd name="connsiteX4" fmla="*/ 60563 w 77120"/>
                  <a:gd name="connsiteY4" fmla="*/ 467 h 39995"/>
                  <a:gd name="connsiteX5" fmla="*/ 9699 w 77120"/>
                  <a:gd name="connsiteY5" fmla="*/ 14183 h 39995"/>
                  <a:gd name="connsiteX6" fmla="*/ 460 w 77120"/>
                  <a:gd name="connsiteY6" fmla="*/ 30280 h 39995"/>
                  <a:gd name="connsiteX7" fmla="*/ 13128 w 77120"/>
                  <a:gd name="connsiteY7" fmla="*/ 39995 h 39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7120" h="39995">
                    <a:moveTo>
                      <a:pt x="13128" y="39995"/>
                    </a:moveTo>
                    <a:cubicBezTo>
                      <a:pt x="14271" y="39995"/>
                      <a:pt x="15414" y="39805"/>
                      <a:pt x="16557" y="39519"/>
                    </a:cubicBezTo>
                    <a:lnTo>
                      <a:pt x="67421" y="25803"/>
                    </a:lnTo>
                    <a:cubicBezTo>
                      <a:pt x="74374" y="23898"/>
                      <a:pt x="78565" y="16754"/>
                      <a:pt x="76660" y="9706"/>
                    </a:cubicBezTo>
                    <a:cubicBezTo>
                      <a:pt x="74755" y="2657"/>
                      <a:pt x="67516" y="-1438"/>
                      <a:pt x="60563" y="467"/>
                    </a:cubicBezTo>
                    <a:lnTo>
                      <a:pt x="9699" y="14183"/>
                    </a:lnTo>
                    <a:cubicBezTo>
                      <a:pt x="2746" y="16088"/>
                      <a:pt x="-1445" y="23231"/>
                      <a:pt x="460" y="30280"/>
                    </a:cubicBezTo>
                    <a:cubicBezTo>
                      <a:pt x="2079" y="36090"/>
                      <a:pt x="7318" y="39995"/>
                      <a:pt x="13128" y="3999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78">
                <a:extLst>
                  <a:ext uri="{FF2B5EF4-FFF2-40B4-BE49-F238E27FC236}">
                    <a16:creationId xmlns:a16="http://schemas.microsoft.com/office/drawing/2014/main" id="{D6EAE0C0-5E5C-FE0C-CDFD-B29A06C6755B}"/>
                  </a:ext>
                </a:extLst>
              </p:cNvPr>
              <p:cNvSpPr/>
              <p:nvPr/>
            </p:nvSpPr>
            <p:spPr>
              <a:xfrm>
                <a:off x="6256117" y="5455764"/>
                <a:ext cx="127626" cy="41001"/>
              </a:xfrm>
              <a:custGeom>
                <a:avLst/>
                <a:gdLst>
                  <a:gd name="connsiteX0" fmla="*/ 122059 w 127626"/>
                  <a:gd name="connsiteY0" fmla="*/ 9760 h 41001"/>
                  <a:gd name="connsiteX1" fmla="*/ 82721 w 127626"/>
                  <a:gd name="connsiteY1" fmla="*/ 4140 h 41001"/>
                  <a:gd name="connsiteX2" fmla="*/ 70053 w 127626"/>
                  <a:gd name="connsiteY2" fmla="*/ 9474 h 41001"/>
                  <a:gd name="connsiteX3" fmla="*/ 55480 w 127626"/>
                  <a:gd name="connsiteY3" fmla="*/ 14617 h 41001"/>
                  <a:gd name="connsiteX4" fmla="*/ 21380 w 127626"/>
                  <a:gd name="connsiteY4" fmla="*/ 2902 h 41001"/>
                  <a:gd name="connsiteX5" fmla="*/ 2902 w 127626"/>
                  <a:gd name="connsiteY5" fmla="*/ 4902 h 41001"/>
                  <a:gd name="connsiteX6" fmla="*/ 4902 w 127626"/>
                  <a:gd name="connsiteY6" fmla="*/ 23285 h 41001"/>
                  <a:gd name="connsiteX7" fmla="*/ 50717 w 127626"/>
                  <a:gd name="connsiteY7" fmla="*/ 41002 h 41001"/>
                  <a:gd name="connsiteX8" fmla="*/ 58718 w 127626"/>
                  <a:gd name="connsiteY8" fmla="*/ 40525 h 41001"/>
                  <a:gd name="connsiteX9" fmla="*/ 81102 w 127626"/>
                  <a:gd name="connsiteY9" fmla="*/ 33001 h 41001"/>
                  <a:gd name="connsiteX10" fmla="*/ 90817 w 127626"/>
                  <a:gd name="connsiteY10" fmla="*/ 28905 h 41001"/>
                  <a:gd name="connsiteX11" fmla="*/ 107010 w 127626"/>
                  <a:gd name="connsiteY11" fmla="*/ 31191 h 41001"/>
                  <a:gd name="connsiteX12" fmla="*/ 125298 w 127626"/>
                  <a:gd name="connsiteY12" fmla="*/ 27857 h 41001"/>
                  <a:gd name="connsiteX13" fmla="*/ 121964 w 127626"/>
                  <a:gd name="connsiteY13" fmla="*/ 9664 h 41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7626" h="41001">
                    <a:moveTo>
                      <a:pt x="122059" y="9760"/>
                    </a:moveTo>
                    <a:cubicBezTo>
                      <a:pt x="110820" y="2044"/>
                      <a:pt x="95770" y="-146"/>
                      <a:pt x="82721" y="4140"/>
                    </a:cubicBezTo>
                    <a:cubicBezTo>
                      <a:pt x="78244" y="5569"/>
                      <a:pt x="74149" y="7474"/>
                      <a:pt x="70053" y="9474"/>
                    </a:cubicBezTo>
                    <a:cubicBezTo>
                      <a:pt x="64814" y="11950"/>
                      <a:pt x="60337" y="14046"/>
                      <a:pt x="55480" y="14617"/>
                    </a:cubicBezTo>
                    <a:cubicBezTo>
                      <a:pt x="44145" y="16046"/>
                      <a:pt x="33001" y="12236"/>
                      <a:pt x="21380" y="2902"/>
                    </a:cubicBezTo>
                    <a:cubicBezTo>
                      <a:pt x="15760" y="-1670"/>
                      <a:pt x="7474" y="-718"/>
                      <a:pt x="2902" y="4902"/>
                    </a:cubicBezTo>
                    <a:cubicBezTo>
                      <a:pt x="-1670" y="10522"/>
                      <a:pt x="-718" y="18808"/>
                      <a:pt x="4902" y="23285"/>
                    </a:cubicBezTo>
                    <a:cubicBezTo>
                      <a:pt x="19666" y="35096"/>
                      <a:pt x="35001" y="41002"/>
                      <a:pt x="50717" y="41002"/>
                    </a:cubicBezTo>
                    <a:cubicBezTo>
                      <a:pt x="53384" y="41002"/>
                      <a:pt x="56051" y="40811"/>
                      <a:pt x="58718" y="40525"/>
                    </a:cubicBezTo>
                    <a:cubicBezTo>
                      <a:pt x="67672" y="39382"/>
                      <a:pt x="74815" y="36049"/>
                      <a:pt x="81102" y="33001"/>
                    </a:cubicBezTo>
                    <a:cubicBezTo>
                      <a:pt x="84245" y="31572"/>
                      <a:pt x="87388" y="30048"/>
                      <a:pt x="90817" y="28905"/>
                    </a:cubicBezTo>
                    <a:cubicBezTo>
                      <a:pt x="96151" y="27095"/>
                      <a:pt x="102438" y="28048"/>
                      <a:pt x="107010" y="31191"/>
                    </a:cubicBezTo>
                    <a:cubicBezTo>
                      <a:pt x="113011" y="35287"/>
                      <a:pt x="121107" y="33858"/>
                      <a:pt x="125298" y="27857"/>
                    </a:cubicBezTo>
                    <a:cubicBezTo>
                      <a:pt x="129394" y="21856"/>
                      <a:pt x="127965" y="13760"/>
                      <a:pt x="121964" y="966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79">
                <a:extLst>
                  <a:ext uri="{FF2B5EF4-FFF2-40B4-BE49-F238E27FC236}">
                    <a16:creationId xmlns:a16="http://schemas.microsoft.com/office/drawing/2014/main" id="{02ED5534-5AC9-62CF-7528-B63EE3B93898}"/>
                  </a:ext>
                </a:extLst>
              </p:cNvPr>
              <p:cNvSpPr/>
              <p:nvPr/>
            </p:nvSpPr>
            <p:spPr>
              <a:xfrm>
                <a:off x="6254886" y="5516105"/>
                <a:ext cx="127688" cy="41144"/>
              </a:xfrm>
              <a:custGeom>
                <a:avLst/>
                <a:gdLst>
                  <a:gd name="connsiteX0" fmla="*/ 82618 w 127688"/>
                  <a:gd name="connsiteY0" fmla="*/ 4092 h 41144"/>
                  <a:gd name="connsiteX1" fmla="*/ 69950 w 127688"/>
                  <a:gd name="connsiteY1" fmla="*/ 9426 h 41144"/>
                  <a:gd name="connsiteX2" fmla="*/ 55377 w 127688"/>
                  <a:gd name="connsiteY2" fmla="*/ 14570 h 41144"/>
                  <a:gd name="connsiteX3" fmla="*/ 21277 w 127688"/>
                  <a:gd name="connsiteY3" fmla="*/ 2854 h 41144"/>
                  <a:gd name="connsiteX4" fmla="*/ 2894 w 127688"/>
                  <a:gd name="connsiteY4" fmla="*/ 4950 h 41144"/>
                  <a:gd name="connsiteX5" fmla="*/ 4990 w 127688"/>
                  <a:gd name="connsiteY5" fmla="*/ 23428 h 41144"/>
                  <a:gd name="connsiteX6" fmla="*/ 50805 w 127688"/>
                  <a:gd name="connsiteY6" fmla="*/ 41145 h 41144"/>
                  <a:gd name="connsiteX7" fmla="*/ 58806 w 127688"/>
                  <a:gd name="connsiteY7" fmla="*/ 40668 h 41144"/>
                  <a:gd name="connsiteX8" fmla="*/ 81190 w 127688"/>
                  <a:gd name="connsiteY8" fmla="*/ 33144 h 41144"/>
                  <a:gd name="connsiteX9" fmla="*/ 90905 w 127688"/>
                  <a:gd name="connsiteY9" fmla="*/ 29048 h 41144"/>
                  <a:gd name="connsiteX10" fmla="*/ 107098 w 127688"/>
                  <a:gd name="connsiteY10" fmla="*/ 31334 h 41144"/>
                  <a:gd name="connsiteX11" fmla="*/ 125386 w 127688"/>
                  <a:gd name="connsiteY11" fmla="*/ 28000 h 41144"/>
                  <a:gd name="connsiteX12" fmla="*/ 122052 w 127688"/>
                  <a:gd name="connsiteY12" fmla="*/ 9712 h 41144"/>
                  <a:gd name="connsiteX13" fmla="*/ 82809 w 127688"/>
                  <a:gd name="connsiteY13" fmla="*/ 4092 h 41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7688" h="41144">
                    <a:moveTo>
                      <a:pt x="82618" y="4092"/>
                    </a:moveTo>
                    <a:cubicBezTo>
                      <a:pt x="78142" y="5521"/>
                      <a:pt x="74046" y="7426"/>
                      <a:pt x="69950" y="9426"/>
                    </a:cubicBezTo>
                    <a:cubicBezTo>
                      <a:pt x="64711" y="11903"/>
                      <a:pt x="60235" y="13998"/>
                      <a:pt x="55377" y="14570"/>
                    </a:cubicBezTo>
                    <a:cubicBezTo>
                      <a:pt x="44042" y="16094"/>
                      <a:pt x="32898" y="12189"/>
                      <a:pt x="21277" y="2854"/>
                    </a:cubicBezTo>
                    <a:cubicBezTo>
                      <a:pt x="15658" y="-1623"/>
                      <a:pt x="7371" y="-765"/>
                      <a:pt x="2894" y="4950"/>
                    </a:cubicBezTo>
                    <a:cubicBezTo>
                      <a:pt x="-1678" y="10569"/>
                      <a:pt x="-725" y="18856"/>
                      <a:pt x="4990" y="23428"/>
                    </a:cubicBezTo>
                    <a:cubicBezTo>
                      <a:pt x="19753" y="35239"/>
                      <a:pt x="35089" y="41145"/>
                      <a:pt x="50805" y="41145"/>
                    </a:cubicBezTo>
                    <a:cubicBezTo>
                      <a:pt x="53472" y="41145"/>
                      <a:pt x="56139" y="40954"/>
                      <a:pt x="58806" y="40668"/>
                    </a:cubicBezTo>
                    <a:cubicBezTo>
                      <a:pt x="67759" y="39525"/>
                      <a:pt x="74903" y="36192"/>
                      <a:pt x="81190" y="33144"/>
                    </a:cubicBezTo>
                    <a:cubicBezTo>
                      <a:pt x="84333" y="31715"/>
                      <a:pt x="87476" y="30191"/>
                      <a:pt x="90905" y="29048"/>
                    </a:cubicBezTo>
                    <a:cubicBezTo>
                      <a:pt x="96239" y="27238"/>
                      <a:pt x="102526" y="28191"/>
                      <a:pt x="107098" y="31334"/>
                    </a:cubicBezTo>
                    <a:cubicBezTo>
                      <a:pt x="113098" y="35430"/>
                      <a:pt x="121195" y="33906"/>
                      <a:pt x="125386" y="28000"/>
                    </a:cubicBezTo>
                    <a:cubicBezTo>
                      <a:pt x="129481" y="21999"/>
                      <a:pt x="127957" y="13903"/>
                      <a:pt x="122052" y="9712"/>
                    </a:cubicBezTo>
                    <a:cubicBezTo>
                      <a:pt x="110813" y="1997"/>
                      <a:pt x="95763" y="-194"/>
                      <a:pt x="82809" y="409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" name="Picture 28" descr="Logo&#10;&#10;Description automatically generated">
            <a:extLst>
              <a:ext uri="{FF2B5EF4-FFF2-40B4-BE49-F238E27FC236}">
                <a16:creationId xmlns:a16="http://schemas.microsoft.com/office/drawing/2014/main" id="{0F391A8A-BC96-4256-CBA0-230E79DA72B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70093" y="176458"/>
            <a:ext cx="936107" cy="34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8557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BD33A6-3F21-803C-19B4-4A51656B131D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10234127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j-ea"/>
                <a:cs typeface="+mj-cs"/>
              </a:rPr>
              <a:t>A redução de custos do hidrogênio verde depende de alguns fatores segundo o IRENA</a:t>
            </a:r>
            <a:endParaRPr kumimoji="0" lang="pt-BR" sz="2700" b="0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6D32FF"/>
              </a:solidFill>
              <a:effectLst/>
              <a:uLnTx/>
              <a:uFillTx/>
              <a:latin typeface="FT Base Book" pitchFamily="2" charset="0"/>
              <a:ea typeface="+mj-ea"/>
              <a:cs typeface="+mj-cs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0018C9E-5FCA-FEF6-747B-E4F9E5EF7BE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609" t="8556" r="7468" b="38064"/>
          <a:stretch/>
        </p:blipFill>
        <p:spPr>
          <a:xfrm>
            <a:off x="533400" y="1928691"/>
            <a:ext cx="6700353" cy="4178709"/>
          </a:xfrm>
          <a:prstGeom prst="rect">
            <a:avLst/>
          </a:prstGeom>
        </p:spPr>
      </p:pic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9EAC2DD1-4191-4E0E-2014-1DF31D2CBD0B}"/>
              </a:ext>
            </a:extLst>
          </p:cNvPr>
          <p:cNvCxnSpPr>
            <a:cxnSpLocks/>
          </p:cNvCxnSpPr>
          <p:nvPr/>
        </p:nvCxnSpPr>
        <p:spPr>
          <a:xfrm>
            <a:off x="7406925" y="1674811"/>
            <a:ext cx="4063556" cy="0"/>
          </a:xfrm>
          <a:prstGeom prst="line">
            <a:avLst/>
          </a:prstGeom>
          <a:ln w="38100" cap="rnd">
            <a:solidFill>
              <a:srgbClr val="6D32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051">
            <a:extLst>
              <a:ext uri="{FF2B5EF4-FFF2-40B4-BE49-F238E27FC236}">
                <a16:creationId xmlns:a16="http://schemas.microsoft.com/office/drawing/2014/main" id="{FF3F6E70-E428-9F18-3DF3-33CF5B6BB6A3}"/>
              </a:ext>
            </a:extLst>
          </p:cNvPr>
          <p:cNvSpPr txBox="1">
            <a:spLocks/>
          </p:cNvSpPr>
          <p:nvPr/>
        </p:nvSpPr>
        <p:spPr>
          <a:xfrm>
            <a:off x="7406925" y="1371603"/>
            <a:ext cx="4063556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Fatores estratégico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73F69D2-D8FF-7701-ACC4-B2BA48A7047E}"/>
              </a:ext>
            </a:extLst>
          </p:cNvPr>
          <p:cNvSpPr/>
          <p:nvPr/>
        </p:nvSpPr>
        <p:spPr>
          <a:xfrm>
            <a:off x="7406925" y="1928690"/>
            <a:ext cx="4063556" cy="4098483"/>
          </a:xfrm>
          <a:prstGeom prst="rect">
            <a:avLst/>
          </a:prstGeom>
          <a:solidFill>
            <a:srgbClr val="F2F2F2"/>
          </a:solidFill>
        </p:spPr>
        <p:txBody>
          <a:bodyPr wrap="square" lIns="91440" tIns="0" rIns="90000" bIns="0" rtlCol="0" anchor="ctr"/>
          <a:lstStyle/>
          <a:p>
            <a:pPr marL="28575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Redução do OPEX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, tendo em vista que a energia elétrica representa cerca de 70% do custo de produção.</a:t>
            </a:r>
          </a:p>
          <a:p>
            <a:pPr marL="28575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Redução do CAPEX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, e diluição de seus custos por meio do aumento da escala de produção, da vida útil dos </a:t>
            </a:r>
            <a:r>
              <a:rPr kumimoji="0" lang="pt-BR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eletrolisadores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 e de seu fator de utilização, o que depende da disponibilidade de energia elétrica;</a:t>
            </a:r>
          </a:p>
          <a:p>
            <a:pPr marL="28575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Redução da utilização de materiais raros 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(irídio e platina);</a:t>
            </a:r>
          </a:p>
          <a:p>
            <a:pPr marL="28575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Precificação do carbono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, com a finalidade de penalizar as tecnologias emissoras </a:t>
            </a:r>
            <a:r>
              <a:rPr kumimoji="0" lang="pt-BR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decarbono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; e</a:t>
            </a:r>
          </a:p>
          <a:p>
            <a:pPr marL="28575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Redução da percepção de riscos pelos investidores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, financiadores e mercado final, o que deverá ser endereçada por meio </a:t>
            </a:r>
          </a:p>
          <a:p>
            <a:pPr marL="742950" marR="0" lvl="1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+mj-lt"/>
              <a:buAutoNum type="alphaLcParenR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do </a:t>
            </a: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amadurecimento da tecnologia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, </a:t>
            </a:r>
          </a:p>
          <a:p>
            <a:pPr marL="742950" marR="0" lvl="1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+mj-lt"/>
              <a:buAutoNum type="alphaLcParenR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de </a:t>
            </a: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políticas públicas 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de estímulo, </a:t>
            </a:r>
          </a:p>
          <a:p>
            <a:pPr marL="742950" marR="0" lvl="1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+mj-lt"/>
              <a:buAutoNum type="alphaLcParenR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de </a:t>
            </a: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mecanismos de certificação harmonizados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 entre os países compradores e vendedores e </a:t>
            </a:r>
          </a:p>
          <a:p>
            <a:pPr marL="742950" marR="0" lvl="1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FF52"/>
              </a:buClr>
              <a:buSzPct val="110000"/>
              <a:buFont typeface="+mj-lt"/>
              <a:buAutoNum type="alphaLcParenR"/>
              <a:tabLst/>
              <a:defRPr/>
            </a:pP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da </a:t>
            </a:r>
            <a:r>
              <a:rPr kumimoji="0" lang="pt-B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garantia de mercado</a:t>
            </a:r>
            <a:r>
              <a: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, como no mecanismo de duplo leilão do H2Global.</a:t>
            </a:r>
          </a:p>
        </p:txBody>
      </p: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1B875088-190C-3B98-223F-7DE976AEDF7F}"/>
              </a:ext>
            </a:extLst>
          </p:cNvPr>
          <p:cNvCxnSpPr>
            <a:cxnSpLocks/>
          </p:cNvCxnSpPr>
          <p:nvPr/>
        </p:nvCxnSpPr>
        <p:spPr>
          <a:xfrm>
            <a:off x="533400" y="1674811"/>
            <a:ext cx="6660000" cy="0"/>
          </a:xfrm>
          <a:prstGeom prst="line">
            <a:avLst/>
          </a:prstGeom>
          <a:ln w="38100" cap="rnd">
            <a:solidFill>
              <a:srgbClr val="6D32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051">
            <a:extLst>
              <a:ext uri="{FF2B5EF4-FFF2-40B4-BE49-F238E27FC236}">
                <a16:creationId xmlns:a16="http://schemas.microsoft.com/office/drawing/2014/main" id="{C95FC669-BE65-A3BF-D1A1-485C98B802F8}"/>
              </a:ext>
            </a:extLst>
          </p:cNvPr>
          <p:cNvSpPr txBox="1">
            <a:spLocks/>
          </p:cNvSpPr>
          <p:nvPr/>
        </p:nvSpPr>
        <p:spPr>
          <a:xfrm>
            <a:off x="533400" y="1371603"/>
            <a:ext cx="6660000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rojeção de evolução de custos de produção de H</a:t>
            </a:r>
            <a:r>
              <a:rPr kumimoji="0" lang="pt-BR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2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pic>
        <p:nvPicPr>
          <p:cNvPr id="4" name="Picture 28" descr="Logo&#10;&#10;Description automatically generated">
            <a:extLst>
              <a:ext uri="{FF2B5EF4-FFF2-40B4-BE49-F238E27FC236}">
                <a16:creationId xmlns:a16="http://schemas.microsoft.com/office/drawing/2014/main" id="{4474D8E7-0B1A-928C-D0F5-9154C3F23B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70093" y="176458"/>
            <a:ext cx="936107" cy="34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379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8400"/>
    </mc:Choice>
    <mc:Fallback xmlns="">
      <p:transition advTm="10840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>
            <a:extLst>
              <a:ext uri="{FF2B5EF4-FFF2-40B4-BE49-F238E27FC236}">
                <a16:creationId xmlns:a16="http://schemas.microsoft.com/office/drawing/2014/main" id="{73A42C0D-2C54-B08B-C1D4-EADFA0749F2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85" r="2441" b="1124"/>
          <a:stretch/>
        </p:blipFill>
        <p:spPr>
          <a:xfrm>
            <a:off x="8686030" y="1207302"/>
            <a:ext cx="2327642" cy="3286078"/>
          </a:xfrm>
          <a:prstGeom prst="rect">
            <a:avLst/>
          </a:prstGeom>
          <a:ln w="28575">
            <a:solidFill>
              <a:srgbClr val="6D32FF"/>
            </a:solidFill>
          </a:ln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476A0DB8-A1E1-980F-8D93-B25D282A8B12}"/>
              </a:ext>
            </a:extLst>
          </p:cNvPr>
          <p:cNvSpPr/>
          <p:nvPr/>
        </p:nvSpPr>
        <p:spPr>
          <a:xfrm>
            <a:off x="533330" y="5710174"/>
            <a:ext cx="3059999" cy="879741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/>
                <a:ea typeface="+mn-ea"/>
                <a:cs typeface="+mn-cs"/>
                <a:sym typeface="Arial"/>
              </a:rPr>
              <a:t>Resolução CNPE N° 02/2021  </a:t>
            </a:r>
            <a:r>
              <a:rPr kumimoji="0" lang="pt-BR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  <a:sym typeface="Arial"/>
              </a:rPr>
              <a:t>Estabeleceu orientações sobre pesquisa, desenvolvimento e inovação no setor de energia no País.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880389A-076A-36CB-23AC-8D2A0B406B13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4"/>
          <a:srcRect l="60000" r="18214" b="1718"/>
          <a:stretch/>
        </p:blipFill>
        <p:spPr>
          <a:xfrm>
            <a:off x="1048890" y="1207301"/>
            <a:ext cx="2327642" cy="3286083"/>
          </a:xfrm>
          <a:prstGeom prst="rect">
            <a:avLst/>
          </a:prstGeom>
          <a:ln w="28575">
            <a:solidFill>
              <a:srgbClr val="6D32FF"/>
            </a:solidFill>
          </a:ln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8F5F4B18-08BF-DCD3-F045-C2513D7B662E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5"/>
          <a:srcRect l="30000" t="15778" r="34828" b="6353"/>
          <a:stretch/>
        </p:blipFill>
        <p:spPr>
          <a:xfrm>
            <a:off x="4761222" y="1207301"/>
            <a:ext cx="2327642" cy="3286083"/>
          </a:xfrm>
          <a:prstGeom prst="rect">
            <a:avLst/>
          </a:prstGeom>
          <a:ln w="28575">
            <a:solidFill>
              <a:srgbClr val="6D32FF"/>
            </a:solidFill>
          </a:ln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5BC6A804-4B85-EE62-8980-9A2D39CA3F8C}"/>
              </a:ext>
            </a:extLst>
          </p:cNvPr>
          <p:cNvSpPr/>
          <p:nvPr/>
        </p:nvSpPr>
        <p:spPr>
          <a:xfrm>
            <a:off x="8268640" y="5710174"/>
            <a:ext cx="3167025" cy="659455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/>
                <a:ea typeface="+mn-ea"/>
                <a:cs typeface="+mn-cs"/>
                <a:sym typeface="Arial"/>
              </a:rPr>
              <a:t>Plano de Trabalho Trienal 23-25 </a:t>
            </a:r>
            <a:r>
              <a:rPr kumimoji="0" lang="pt-BR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  <a:sym typeface="Arial"/>
              </a:rPr>
              <a:t>Plano de Trabalho Trienal 2023-2025 do Programa Nacional do Hidrogênio (PNH2)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E96E445A-7EEE-5F43-5EBE-D57B8D18A1F5}"/>
              </a:ext>
            </a:extLst>
          </p:cNvPr>
          <p:cNvSpPr txBox="1"/>
          <p:nvPr/>
        </p:nvSpPr>
        <p:spPr>
          <a:xfrm>
            <a:off x="766818" y="5223751"/>
            <a:ext cx="2593024" cy="3670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1" u="none" strike="noStrike" kern="1200" cap="none" spc="0" normalizeH="0" baseline="0" noProof="0" dirty="0">
                <a:ln>
                  <a:noFill/>
                </a:ln>
                <a:solidFill>
                  <a:srgbClr val="6D32FF"/>
                </a:solidFill>
                <a:effectLst/>
                <a:uLnTx/>
                <a:uFillTx/>
                <a:latin typeface="FT Base Book"/>
                <a:ea typeface="+mn-ea"/>
                <a:cs typeface="+mn-cs"/>
                <a:sym typeface="Arial"/>
              </a:rPr>
              <a:t>10/02/2021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E3A95692-229E-A251-3586-A496B5F7C88D}"/>
              </a:ext>
            </a:extLst>
          </p:cNvPr>
          <p:cNvSpPr txBox="1"/>
          <p:nvPr/>
        </p:nvSpPr>
        <p:spPr>
          <a:xfrm>
            <a:off x="4634473" y="5214234"/>
            <a:ext cx="2593024" cy="3670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1" u="none" strike="noStrike" kern="1200" cap="none" spc="0" normalizeH="0" baseline="0" noProof="0" dirty="0">
                <a:ln>
                  <a:noFill/>
                </a:ln>
                <a:solidFill>
                  <a:srgbClr val="6D32FF"/>
                </a:solidFill>
                <a:effectLst/>
                <a:uLnTx/>
                <a:uFillTx/>
                <a:latin typeface="FT Base Book"/>
                <a:ea typeface="+mn-ea"/>
                <a:cs typeface="+mn-cs"/>
                <a:sym typeface="Arial"/>
              </a:rPr>
              <a:t>23/06/2022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3A2B30B6-2D1A-53E1-3123-3920478C5804}"/>
              </a:ext>
            </a:extLst>
          </p:cNvPr>
          <p:cNvSpPr txBox="1"/>
          <p:nvPr/>
        </p:nvSpPr>
        <p:spPr>
          <a:xfrm>
            <a:off x="8555640" y="5223751"/>
            <a:ext cx="2593024" cy="3670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1" u="none" strike="noStrike" kern="1200" cap="none" spc="0" normalizeH="0" baseline="0" noProof="0" dirty="0">
                <a:ln>
                  <a:noFill/>
                </a:ln>
                <a:solidFill>
                  <a:srgbClr val="6D32FF"/>
                </a:solidFill>
                <a:effectLst/>
                <a:uLnTx/>
                <a:uFillTx/>
                <a:latin typeface="FT Base Book"/>
                <a:ea typeface="+mn-ea"/>
                <a:cs typeface="+mn-cs"/>
                <a:sym typeface="Arial"/>
              </a:rPr>
              <a:t>23/06/2022</a:t>
            </a:r>
          </a:p>
        </p:txBody>
      </p: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FAFE83F9-4D7A-4BAE-4AB8-8CD4AF686BAA}"/>
              </a:ext>
            </a:extLst>
          </p:cNvPr>
          <p:cNvCxnSpPr/>
          <p:nvPr/>
        </p:nvCxnSpPr>
        <p:spPr>
          <a:xfrm>
            <a:off x="0" y="4979405"/>
            <a:ext cx="12192000" cy="0"/>
          </a:xfrm>
          <a:prstGeom prst="line">
            <a:avLst/>
          </a:prstGeom>
          <a:ln w="57150">
            <a:solidFill>
              <a:srgbClr val="28FF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ipse 17">
            <a:extLst>
              <a:ext uri="{FF2B5EF4-FFF2-40B4-BE49-F238E27FC236}">
                <a16:creationId xmlns:a16="http://schemas.microsoft.com/office/drawing/2014/main" id="{4C99BB1D-5E97-F6CE-589C-4B83A74616B4}"/>
              </a:ext>
            </a:extLst>
          </p:cNvPr>
          <p:cNvSpPr/>
          <p:nvPr/>
        </p:nvSpPr>
        <p:spPr>
          <a:xfrm>
            <a:off x="1913947" y="4836667"/>
            <a:ext cx="298764" cy="298764"/>
          </a:xfrm>
          <a:prstGeom prst="ellipse">
            <a:avLst/>
          </a:prstGeom>
          <a:solidFill>
            <a:srgbClr val="6D32FF"/>
          </a:solidFill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30861768-9675-9A3F-2021-EE6C25392C15}"/>
              </a:ext>
            </a:extLst>
          </p:cNvPr>
          <p:cNvSpPr/>
          <p:nvPr/>
        </p:nvSpPr>
        <p:spPr>
          <a:xfrm>
            <a:off x="5775661" y="4836667"/>
            <a:ext cx="298764" cy="298764"/>
          </a:xfrm>
          <a:prstGeom prst="ellipse">
            <a:avLst/>
          </a:prstGeom>
          <a:solidFill>
            <a:srgbClr val="6D32FF"/>
          </a:solidFill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6DFCCB25-3D64-1D43-7229-A93DAE43584F}"/>
              </a:ext>
            </a:extLst>
          </p:cNvPr>
          <p:cNvSpPr/>
          <p:nvPr/>
        </p:nvSpPr>
        <p:spPr>
          <a:xfrm>
            <a:off x="9700468" y="4836667"/>
            <a:ext cx="298764" cy="298764"/>
          </a:xfrm>
          <a:prstGeom prst="ellipse">
            <a:avLst/>
          </a:prstGeom>
          <a:solidFill>
            <a:srgbClr val="6D32FF"/>
          </a:solidFill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61BD131-0854-BDB6-D642-82EB39568831}"/>
              </a:ext>
            </a:extLst>
          </p:cNvPr>
          <p:cNvSpPr txBox="1">
            <a:spLocks/>
          </p:cNvSpPr>
          <p:nvPr/>
        </p:nvSpPr>
        <p:spPr>
          <a:xfrm>
            <a:off x="533401" y="219608"/>
            <a:ext cx="9890760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0000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O CNPE incluiu o hidrogênio como um dos temas prioritários para investimentos em pesquisa, desenvolvimento e inovação</a:t>
            </a:r>
            <a:endParaRPr kumimoji="0" lang="pt-BR" sz="2700" b="0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6D32FF"/>
              </a:solidFill>
              <a:effectLst/>
              <a:uLnTx/>
              <a:uFillTx/>
              <a:latin typeface="FT Base"/>
              <a:ea typeface="+mj-ea"/>
              <a:cs typeface="+mj-cs"/>
            </a:endParaRP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5BE9548C-A0D2-1228-9794-7B3D9DAA8D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1065" y="1274095"/>
            <a:ext cx="2223292" cy="3152494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AF6DF939-92FA-D091-7B3B-DAE4EF94405C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7"/>
          <a:srcRect l="32674" t="10572" r="32519" b="7261"/>
          <a:stretch/>
        </p:blipFill>
        <p:spPr>
          <a:xfrm>
            <a:off x="4761222" y="1212261"/>
            <a:ext cx="2327642" cy="3286083"/>
          </a:xfrm>
          <a:prstGeom prst="rect">
            <a:avLst/>
          </a:prstGeom>
          <a:ln w="28575">
            <a:solidFill>
              <a:srgbClr val="6D32FF"/>
            </a:solidFill>
          </a:ln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F783B3D8-A241-9C15-BEB9-C5D11B9EA5B5}"/>
              </a:ext>
            </a:extLst>
          </p:cNvPr>
          <p:cNvSpPr/>
          <p:nvPr/>
        </p:nvSpPr>
        <p:spPr>
          <a:xfrm>
            <a:off x="4341530" y="5710174"/>
            <a:ext cx="3167025" cy="659455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/>
                <a:ea typeface="+mn-ea"/>
                <a:cs typeface="+mn-cs"/>
                <a:sym typeface="Arial"/>
              </a:rPr>
              <a:t>Resolução CNPE N° 06/2022</a:t>
            </a:r>
            <a:r>
              <a:rPr kumimoji="0" lang="pt-BR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/>
                <a:ea typeface="+mn-ea"/>
                <a:cs typeface="+mn-cs"/>
                <a:sym typeface="Arial"/>
              </a:rPr>
              <a:t> </a:t>
            </a:r>
            <a:endParaRPr kumimoji="0" lang="pt-BR" sz="1200" b="1" i="1" u="none" strike="noStrike" kern="1200" cap="none" spc="0" normalizeH="0" baseline="0" noProof="0" dirty="0">
              <a:ln>
                <a:noFill/>
              </a:ln>
              <a:solidFill>
                <a:srgbClr val="6D32FF"/>
              </a:solidFill>
              <a:effectLst/>
              <a:uLnTx/>
              <a:uFillTx/>
              <a:latin typeface="FT Base Book"/>
              <a:ea typeface="+mn-ea"/>
              <a:cs typeface="+mn-cs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0"/>
                <a:ea typeface="+mn-ea"/>
                <a:cs typeface="+mn-cs"/>
                <a:sym typeface="Arial"/>
              </a:rPr>
              <a:t>Institui o Programa Nacional do Hidrogênio</a:t>
            </a:r>
          </a:p>
        </p:txBody>
      </p:sp>
      <p:pic>
        <p:nvPicPr>
          <p:cNvPr id="9" name="Picture 28" descr="Logo&#10;&#10;Description automatically generated">
            <a:extLst>
              <a:ext uri="{FF2B5EF4-FFF2-40B4-BE49-F238E27FC236}">
                <a16:creationId xmlns:a16="http://schemas.microsoft.com/office/drawing/2014/main" id="{6A5D5D85-624D-682C-8C07-AA511BCD09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70093" y="176458"/>
            <a:ext cx="936107" cy="34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27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46612"/>
    </mc:Choice>
    <mc:Fallback xmlns="">
      <p:transition advTm="46612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10">
            <a:extLst>
              <a:ext uri="{FF2B5EF4-FFF2-40B4-BE49-F238E27FC236}">
                <a16:creationId xmlns:a16="http://schemas.microsoft.com/office/drawing/2014/main" id="{8C6CFBE4-5103-495D-BBF8-4F65EC0F6978}"/>
              </a:ext>
            </a:extLst>
          </p:cNvPr>
          <p:cNvSpPr txBox="1"/>
          <p:nvPr/>
        </p:nvSpPr>
        <p:spPr>
          <a:xfrm>
            <a:off x="1955009" y="2256755"/>
            <a:ext cx="220543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Nova commodity</a:t>
            </a: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D62231B9-D2A2-42A1-9ECE-A75FE77F5F1E}"/>
              </a:ext>
            </a:extLst>
          </p:cNvPr>
          <p:cNvSpPr txBox="1"/>
          <p:nvPr/>
        </p:nvSpPr>
        <p:spPr>
          <a:xfrm>
            <a:off x="1368365" y="2579223"/>
            <a:ext cx="28675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O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H</a:t>
            </a:r>
            <a:r>
              <a:rPr kumimoji="0" lang="pt-BR" sz="12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2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será a nova commodity energética mundial, substituindo a posição do petróleo </a:t>
            </a:r>
          </a:p>
        </p:txBody>
      </p:sp>
      <p:sp>
        <p:nvSpPr>
          <p:cNvPr id="44" name="TextBox 10">
            <a:extLst>
              <a:ext uri="{FF2B5EF4-FFF2-40B4-BE49-F238E27FC236}">
                <a16:creationId xmlns:a16="http://schemas.microsoft.com/office/drawing/2014/main" id="{544518E4-30B0-4D40-9691-148E239641EE}"/>
              </a:ext>
            </a:extLst>
          </p:cNvPr>
          <p:cNvSpPr txBox="1"/>
          <p:nvPr/>
        </p:nvSpPr>
        <p:spPr>
          <a:xfrm>
            <a:off x="1571158" y="5101442"/>
            <a:ext cx="25892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Indústria doméstica 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BEF6DF68-9F6C-41F4-881C-6E16C142B79B}"/>
              </a:ext>
            </a:extLst>
          </p:cNvPr>
          <p:cNvSpPr txBox="1"/>
          <p:nvPr/>
        </p:nvSpPr>
        <p:spPr>
          <a:xfrm>
            <a:off x="1420154" y="5446015"/>
            <a:ext cx="2815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Perspectivas de uso do H2 Verde em indústrias locais e projetos de mobilidade</a:t>
            </a:r>
          </a:p>
        </p:txBody>
      </p:sp>
      <p:sp>
        <p:nvSpPr>
          <p:cNvPr id="46" name="TextBox 10">
            <a:extLst>
              <a:ext uri="{FF2B5EF4-FFF2-40B4-BE49-F238E27FC236}">
                <a16:creationId xmlns:a16="http://schemas.microsoft.com/office/drawing/2014/main" id="{B0134E0F-BA43-474A-8F78-D59A6E186003}"/>
              </a:ext>
            </a:extLst>
          </p:cNvPr>
          <p:cNvSpPr txBox="1"/>
          <p:nvPr/>
        </p:nvSpPr>
        <p:spPr>
          <a:xfrm>
            <a:off x="1571158" y="3712480"/>
            <a:ext cx="25892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SIN</a:t>
            </a: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6B00673A-DBC9-4E9A-89A3-2236BDB98C8A}"/>
              </a:ext>
            </a:extLst>
          </p:cNvPr>
          <p:cNvSpPr txBox="1"/>
          <p:nvPr/>
        </p:nvSpPr>
        <p:spPr>
          <a:xfrm>
            <a:off x="1420154" y="4063007"/>
            <a:ext cx="28157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Sistema Interligado Nacional de energia integrada de baixo carbono</a:t>
            </a:r>
          </a:p>
        </p:txBody>
      </p:sp>
      <p:sp>
        <p:nvSpPr>
          <p:cNvPr id="49" name="TextBox 10">
            <a:extLst>
              <a:ext uri="{FF2B5EF4-FFF2-40B4-BE49-F238E27FC236}">
                <a16:creationId xmlns:a16="http://schemas.microsoft.com/office/drawing/2014/main" id="{260585BC-0F3A-41F5-9122-B55766FCD5FD}"/>
              </a:ext>
            </a:extLst>
          </p:cNvPr>
          <p:cNvSpPr txBox="1"/>
          <p:nvPr/>
        </p:nvSpPr>
        <p:spPr>
          <a:xfrm>
            <a:off x="8007280" y="2256755"/>
            <a:ext cx="220543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Leilão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 de H2 (HPA)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92A35CC5-0DCD-4B43-AE63-8B84A767BBEA}"/>
              </a:ext>
            </a:extLst>
          </p:cNvPr>
          <p:cNvSpPr txBox="1"/>
          <p:nvPr/>
        </p:nvSpPr>
        <p:spPr>
          <a:xfrm>
            <a:off x="7913546" y="2579223"/>
            <a:ext cx="28675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Perspectivas concretas de leilões internacionais HPA para aquisição de H2 Verde</a:t>
            </a:r>
          </a:p>
        </p:txBody>
      </p:sp>
      <p:sp>
        <p:nvSpPr>
          <p:cNvPr id="51" name="TextBox 10">
            <a:extLst>
              <a:ext uri="{FF2B5EF4-FFF2-40B4-BE49-F238E27FC236}">
                <a16:creationId xmlns:a16="http://schemas.microsoft.com/office/drawing/2014/main" id="{09A3EC79-968C-473F-B15B-A94FE5E1F163}"/>
              </a:ext>
            </a:extLst>
          </p:cNvPr>
          <p:cNvSpPr txBox="1"/>
          <p:nvPr/>
        </p:nvSpPr>
        <p:spPr>
          <a:xfrm>
            <a:off x="8036641" y="5101442"/>
            <a:ext cx="25892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UTE Pecém 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15CF130-4987-4638-8049-158E435FA799}"/>
              </a:ext>
            </a:extLst>
          </p:cNvPr>
          <p:cNvSpPr txBox="1"/>
          <p:nvPr/>
        </p:nvSpPr>
        <p:spPr>
          <a:xfrm>
            <a:off x="7940168" y="5446015"/>
            <a:ext cx="2815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Avaliação energética do uso do hidrogênio verde em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co-queima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 com óleo diesel e carvão mineral </a:t>
            </a:r>
          </a:p>
        </p:txBody>
      </p:sp>
      <p:sp>
        <p:nvSpPr>
          <p:cNvPr id="53" name="TextBox 10">
            <a:extLst>
              <a:ext uri="{FF2B5EF4-FFF2-40B4-BE49-F238E27FC236}">
                <a16:creationId xmlns:a16="http://schemas.microsoft.com/office/drawing/2014/main" id="{68C8F136-AA39-4CA3-A4F7-EF0192420FBB}"/>
              </a:ext>
            </a:extLst>
          </p:cNvPr>
          <p:cNvSpPr txBox="1"/>
          <p:nvPr/>
        </p:nvSpPr>
        <p:spPr>
          <a:xfrm>
            <a:off x="8044304" y="3712480"/>
            <a:ext cx="258928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Posição geográfica</a:t>
            </a: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id="{30CF2EDA-3EB7-4701-B077-FF9E250AE94B}"/>
              </a:ext>
            </a:extLst>
          </p:cNvPr>
          <p:cNvSpPr txBox="1"/>
          <p:nvPr/>
        </p:nvSpPr>
        <p:spPr>
          <a:xfrm>
            <a:off x="7965335" y="4063007"/>
            <a:ext cx="2815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Posição geográfica vantajosa para alcançar a Europa e a costa leste norte-americana</a:t>
            </a:r>
          </a:p>
        </p:txBody>
      </p:sp>
      <p:pic>
        <p:nvPicPr>
          <p:cNvPr id="61" name="Gráfico 60">
            <a:extLst>
              <a:ext uri="{FF2B5EF4-FFF2-40B4-BE49-F238E27FC236}">
                <a16:creationId xmlns:a16="http://schemas.microsoft.com/office/drawing/2014/main" id="{FEF534D0-05A4-4F46-85F4-9A669FC6AA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1523" y="2501365"/>
            <a:ext cx="4997736" cy="67674"/>
          </a:xfrm>
          <a:prstGeom prst="rect">
            <a:avLst/>
          </a:prstGeom>
        </p:spPr>
      </p:pic>
      <p:pic>
        <p:nvPicPr>
          <p:cNvPr id="62" name="Gráfico 61">
            <a:extLst>
              <a:ext uri="{FF2B5EF4-FFF2-40B4-BE49-F238E27FC236}">
                <a16:creationId xmlns:a16="http://schemas.microsoft.com/office/drawing/2014/main" id="{6E8964F8-CB70-41BC-A859-7651E1E34F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1523" y="2128524"/>
            <a:ext cx="337777" cy="329101"/>
          </a:xfrm>
          <a:prstGeom prst="rect">
            <a:avLst/>
          </a:prstGeom>
        </p:spPr>
      </p:pic>
      <p:sp>
        <p:nvSpPr>
          <p:cNvPr id="65" name="TextBox 10">
            <a:extLst>
              <a:ext uri="{FF2B5EF4-FFF2-40B4-BE49-F238E27FC236}">
                <a16:creationId xmlns:a16="http://schemas.microsoft.com/office/drawing/2014/main" id="{C8AC8D04-8302-4EF6-9D2E-A45F7C9F31B6}"/>
              </a:ext>
            </a:extLst>
          </p:cNvPr>
          <p:cNvSpPr txBox="1"/>
          <p:nvPr/>
        </p:nvSpPr>
        <p:spPr>
          <a:xfrm>
            <a:off x="921460" y="2169963"/>
            <a:ext cx="17762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32F3F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1</a:t>
            </a:r>
          </a:p>
        </p:txBody>
      </p:sp>
      <p:pic>
        <p:nvPicPr>
          <p:cNvPr id="66" name="Gráfico 65">
            <a:extLst>
              <a:ext uri="{FF2B5EF4-FFF2-40B4-BE49-F238E27FC236}">
                <a16:creationId xmlns:a16="http://schemas.microsoft.com/office/drawing/2014/main" id="{E1729603-851F-497A-A5C8-F5B8561D26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1523" y="3987614"/>
            <a:ext cx="4088064" cy="67675"/>
          </a:xfrm>
          <a:prstGeom prst="rect">
            <a:avLst/>
          </a:prstGeom>
        </p:spPr>
      </p:pic>
      <p:pic>
        <p:nvPicPr>
          <p:cNvPr id="67" name="Gráfico 66">
            <a:extLst>
              <a:ext uri="{FF2B5EF4-FFF2-40B4-BE49-F238E27FC236}">
                <a16:creationId xmlns:a16="http://schemas.microsoft.com/office/drawing/2014/main" id="{B7D65B22-09C1-44DD-829A-1052BAA42C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1523" y="3605249"/>
            <a:ext cx="337777" cy="329101"/>
          </a:xfrm>
          <a:prstGeom prst="rect">
            <a:avLst/>
          </a:prstGeom>
        </p:spPr>
      </p:pic>
      <p:sp>
        <p:nvSpPr>
          <p:cNvPr id="72" name="TextBox 10">
            <a:extLst>
              <a:ext uri="{FF2B5EF4-FFF2-40B4-BE49-F238E27FC236}">
                <a16:creationId xmlns:a16="http://schemas.microsoft.com/office/drawing/2014/main" id="{D7C92860-FFAD-4D84-AE26-03CAC6B012E2}"/>
              </a:ext>
            </a:extLst>
          </p:cNvPr>
          <p:cNvSpPr txBox="1"/>
          <p:nvPr/>
        </p:nvSpPr>
        <p:spPr>
          <a:xfrm>
            <a:off x="921460" y="3646688"/>
            <a:ext cx="17762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32F3F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2</a:t>
            </a:r>
          </a:p>
        </p:txBody>
      </p:sp>
      <p:pic>
        <p:nvPicPr>
          <p:cNvPr id="73" name="Gráfico 72">
            <a:extLst>
              <a:ext uri="{FF2B5EF4-FFF2-40B4-BE49-F238E27FC236}">
                <a16:creationId xmlns:a16="http://schemas.microsoft.com/office/drawing/2014/main" id="{80F452A5-3F97-45BE-B70B-F33186E7E8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9083" y="5367655"/>
            <a:ext cx="4985298" cy="67674"/>
          </a:xfrm>
          <a:prstGeom prst="rect">
            <a:avLst/>
          </a:prstGeom>
        </p:spPr>
      </p:pic>
      <p:pic>
        <p:nvPicPr>
          <p:cNvPr id="74" name="Gráfico 73">
            <a:extLst>
              <a:ext uri="{FF2B5EF4-FFF2-40B4-BE49-F238E27FC236}">
                <a16:creationId xmlns:a16="http://schemas.microsoft.com/office/drawing/2014/main" id="{9B9D146B-334B-45AE-9B3E-F3A92F33AF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9083" y="4994814"/>
            <a:ext cx="337777" cy="329101"/>
          </a:xfrm>
          <a:prstGeom prst="rect">
            <a:avLst/>
          </a:prstGeom>
        </p:spPr>
      </p:pic>
      <p:sp>
        <p:nvSpPr>
          <p:cNvPr id="76" name="TextBox 10">
            <a:extLst>
              <a:ext uri="{FF2B5EF4-FFF2-40B4-BE49-F238E27FC236}">
                <a16:creationId xmlns:a16="http://schemas.microsoft.com/office/drawing/2014/main" id="{2DDC90F2-E467-4132-A809-7DFDED36BF9C}"/>
              </a:ext>
            </a:extLst>
          </p:cNvPr>
          <p:cNvSpPr txBox="1"/>
          <p:nvPr/>
        </p:nvSpPr>
        <p:spPr>
          <a:xfrm>
            <a:off x="925798" y="5036253"/>
            <a:ext cx="17762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32F3F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3</a:t>
            </a:r>
          </a:p>
        </p:txBody>
      </p:sp>
      <p:pic>
        <p:nvPicPr>
          <p:cNvPr id="77" name="Gráfico 76">
            <a:extLst>
              <a:ext uri="{FF2B5EF4-FFF2-40B4-BE49-F238E27FC236}">
                <a16:creationId xmlns:a16="http://schemas.microsoft.com/office/drawing/2014/main" id="{1A32517C-1CAA-4642-8AF9-DFCA04FD0D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3323" y="2501365"/>
            <a:ext cx="4997737" cy="67674"/>
          </a:xfrm>
          <a:prstGeom prst="rect">
            <a:avLst/>
          </a:prstGeom>
        </p:spPr>
      </p:pic>
      <p:pic>
        <p:nvPicPr>
          <p:cNvPr id="78" name="Gráfico 77">
            <a:extLst>
              <a:ext uri="{FF2B5EF4-FFF2-40B4-BE49-F238E27FC236}">
                <a16:creationId xmlns:a16="http://schemas.microsoft.com/office/drawing/2014/main" id="{6F99C10D-1700-4C87-9A76-6B2DF7C250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88888" y="2128524"/>
            <a:ext cx="337777" cy="329101"/>
          </a:xfrm>
          <a:prstGeom prst="rect">
            <a:avLst/>
          </a:prstGeom>
        </p:spPr>
      </p:pic>
      <p:sp>
        <p:nvSpPr>
          <p:cNvPr id="79" name="TextBox 10">
            <a:extLst>
              <a:ext uri="{FF2B5EF4-FFF2-40B4-BE49-F238E27FC236}">
                <a16:creationId xmlns:a16="http://schemas.microsoft.com/office/drawing/2014/main" id="{A79EAF7A-842E-4D39-B8E3-D1992A9CF096}"/>
              </a:ext>
            </a:extLst>
          </p:cNvPr>
          <p:cNvSpPr txBox="1"/>
          <p:nvPr/>
        </p:nvSpPr>
        <p:spPr>
          <a:xfrm>
            <a:off x="11055603" y="2169963"/>
            <a:ext cx="17762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32F3F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4</a:t>
            </a:r>
          </a:p>
        </p:txBody>
      </p:sp>
      <p:pic>
        <p:nvPicPr>
          <p:cNvPr id="80" name="Gráfico 79">
            <a:extLst>
              <a:ext uri="{FF2B5EF4-FFF2-40B4-BE49-F238E27FC236}">
                <a16:creationId xmlns:a16="http://schemas.microsoft.com/office/drawing/2014/main" id="{96953AA4-D099-4886-B284-733EA29F8F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89901" y="3988715"/>
            <a:ext cx="4131159" cy="67804"/>
          </a:xfrm>
          <a:prstGeom prst="rect">
            <a:avLst/>
          </a:prstGeom>
        </p:spPr>
      </p:pic>
      <p:pic>
        <p:nvPicPr>
          <p:cNvPr id="81" name="Gráfico 80">
            <a:extLst>
              <a:ext uri="{FF2B5EF4-FFF2-40B4-BE49-F238E27FC236}">
                <a16:creationId xmlns:a16="http://schemas.microsoft.com/office/drawing/2014/main" id="{EF864AE0-AD7A-484C-BB1C-A35ACAF55A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88888" y="3605249"/>
            <a:ext cx="337777" cy="329101"/>
          </a:xfrm>
          <a:prstGeom prst="rect">
            <a:avLst/>
          </a:prstGeom>
        </p:spPr>
      </p:pic>
      <p:sp>
        <p:nvSpPr>
          <p:cNvPr id="82" name="TextBox 10">
            <a:extLst>
              <a:ext uri="{FF2B5EF4-FFF2-40B4-BE49-F238E27FC236}">
                <a16:creationId xmlns:a16="http://schemas.microsoft.com/office/drawing/2014/main" id="{43AD53CE-F609-42FA-AB3C-96D058FF9DE6}"/>
              </a:ext>
            </a:extLst>
          </p:cNvPr>
          <p:cNvSpPr txBox="1"/>
          <p:nvPr/>
        </p:nvSpPr>
        <p:spPr>
          <a:xfrm>
            <a:off x="11055603" y="3646688"/>
            <a:ext cx="17762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32F3F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5</a:t>
            </a:r>
          </a:p>
        </p:txBody>
      </p:sp>
      <p:pic>
        <p:nvPicPr>
          <p:cNvPr id="83" name="Gráfico 82">
            <a:extLst>
              <a:ext uri="{FF2B5EF4-FFF2-40B4-BE49-F238E27FC236}">
                <a16:creationId xmlns:a16="http://schemas.microsoft.com/office/drawing/2014/main" id="{735CA957-E900-4149-A731-F4F7E2BBBD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3323" y="5367655"/>
            <a:ext cx="4985298" cy="67674"/>
          </a:xfrm>
          <a:prstGeom prst="rect">
            <a:avLst/>
          </a:prstGeom>
        </p:spPr>
      </p:pic>
      <p:pic>
        <p:nvPicPr>
          <p:cNvPr id="84" name="Gráfico 83">
            <a:extLst>
              <a:ext uri="{FF2B5EF4-FFF2-40B4-BE49-F238E27FC236}">
                <a16:creationId xmlns:a16="http://schemas.microsoft.com/office/drawing/2014/main" id="{963E6647-ED4B-4ED1-A730-E8EB4BD2EC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76448" y="4994814"/>
            <a:ext cx="337777" cy="329101"/>
          </a:xfrm>
          <a:prstGeom prst="rect">
            <a:avLst/>
          </a:prstGeom>
        </p:spPr>
      </p:pic>
      <p:sp>
        <p:nvSpPr>
          <p:cNvPr id="85" name="TextBox 10">
            <a:extLst>
              <a:ext uri="{FF2B5EF4-FFF2-40B4-BE49-F238E27FC236}">
                <a16:creationId xmlns:a16="http://schemas.microsoft.com/office/drawing/2014/main" id="{3E594D7D-82A1-42C5-8D76-43B05CFCB7EB}"/>
              </a:ext>
            </a:extLst>
          </p:cNvPr>
          <p:cNvSpPr txBox="1"/>
          <p:nvPr/>
        </p:nvSpPr>
        <p:spPr>
          <a:xfrm>
            <a:off x="11043163" y="5036253"/>
            <a:ext cx="177624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32F3F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6</a:t>
            </a:r>
          </a:p>
        </p:txBody>
      </p:sp>
      <p:pic>
        <p:nvPicPr>
          <p:cNvPr id="86" name="Gráfico 85">
            <a:extLst>
              <a:ext uri="{FF2B5EF4-FFF2-40B4-BE49-F238E27FC236}">
                <a16:creationId xmlns:a16="http://schemas.microsoft.com/office/drawing/2014/main" id="{BF8D3BF1-9045-4DCD-8D35-6F4893D1E5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5248918" y="3057156"/>
            <a:ext cx="1179252" cy="67674"/>
          </a:xfrm>
          <a:prstGeom prst="rect">
            <a:avLst/>
          </a:prstGeom>
        </p:spPr>
      </p:pic>
      <p:pic>
        <p:nvPicPr>
          <p:cNvPr id="87" name="Gráfico 86">
            <a:extLst>
              <a:ext uri="{FF2B5EF4-FFF2-40B4-BE49-F238E27FC236}">
                <a16:creationId xmlns:a16="http://schemas.microsoft.com/office/drawing/2014/main" id="{953DAC6C-42B6-4D89-AF66-7F153B16B3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5768996" y="3057155"/>
            <a:ext cx="1179251" cy="67674"/>
          </a:xfrm>
          <a:prstGeom prst="rect">
            <a:avLst/>
          </a:prstGeom>
        </p:spPr>
      </p:pic>
      <p:pic>
        <p:nvPicPr>
          <p:cNvPr id="88" name="Gráfico 87">
            <a:extLst>
              <a:ext uri="{FF2B5EF4-FFF2-40B4-BE49-F238E27FC236}">
                <a16:creationId xmlns:a16="http://schemas.microsoft.com/office/drawing/2014/main" id="{8ACB3C27-C8EA-4743-9A92-3686E49CEC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5370237" y="4942108"/>
            <a:ext cx="922278" cy="67674"/>
          </a:xfrm>
          <a:prstGeom prst="rect">
            <a:avLst/>
          </a:prstGeom>
        </p:spPr>
      </p:pic>
      <p:pic>
        <p:nvPicPr>
          <p:cNvPr id="89" name="Gráfico 88">
            <a:extLst>
              <a:ext uri="{FF2B5EF4-FFF2-40B4-BE49-F238E27FC236}">
                <a16:creationId xmlns:a16="http://schemas.microsoft.com/office/drawing/2014/main" id="{2632BBB0-EEDC-4138-AB04-3BA7C18B2D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5890316" y="4942109"/>
            <a:ext cx="922275" cy="67674"/>
          </a:xfrm>
          <a:prstGeom prst="rect">
            <a:avLst/>
          </a:prstGeom>
        </p:spPr>
      </p:pic>
      <p:pic>
        <p:nvPicPr>
          <p:cNvPr id="56" name="Gráfico 55">
            <a:extLst>
              <a:ext uri="{FF2B5EF4-FFF2-40B4-BE49-F238E27FC236}">
                <a16:creationId xmlns:a16="http://schemas.microsoft.com/office/drawing/2014/main" id="{BF371F0F-814F-4B60-9E9A-DCF5556444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59587" y="3649382"/>
            <a:ext cx="2230314" cy="1026261"/>
          </a:xfrm>
          <a:prstGeom prst="roundRect">
            <a:avLst/>
          </a:prstGeom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</p:pic>
      <p:sp>
        <p:nvSpPr>
          <p:cNvPr id="55" name="Text Placeholder 1">
            <a:extLst>
              <a:ext uri="{FF2B5EF4-FFF2-40B4-BE49-F238E27FC236}">
                <a16:creationId xmlns:a16="http://schemas.microsoft.com/office/drawing/2014/main" id="{F124F5D0-9867-40A9-8FBD-57DE50A7BAB0}"/>
              </a:ext>
            </a:extLst>
          </p:cNvPr>
          <p:cNvSpPr txBox="1">
            <a:spLocks/>
          </p:cNvSpPr>
          <p:nvPr/>
        </p:nvSpPr>
        <p:spPr>
          <a:xfrm>
            <a:off x="5043983" y="3508171"/>
            <a:ext cx="2012371" cy="1308682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kern="1200">
                <a:solidFill>
                  <a:schemeClr val="tx2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rgbClr val="232F3F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Posicionar a EDP na transição energética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9AC5D97-90CB-AE1F-8EF8-E2BE829D60E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35000"/>
                    </a14:imgEffect>
                    <a14:imgEffect>
                      <a14:brightnessContrast bright="94000" contrast="100000"/>
                    </a14:imgEffect>
                  </a14:imgLayer>
                </a14:imgProps>
              </a:ext>
            </a:extLst>
          </a:blip>
          <a:srcRect t="24975" b="45757"/>
          <a:stretch/>
        </p:blipFill>
        <p:spPr>
          <a:xfrm>
            <a:off x="9982140" y="6115806"/>
            <a:ext cx="2128897" cy="619125"/>
          </a:xfrm>
          <a:prstGeom prst="rect">
            <a:avLst/>
          </a:prstGeom>
        </p:spPr>
      </p:pic>
      <p:pic>
        <p:nvPicPr>
          <p:cNvPr id="5" name="Picture 15">
            <a:extLst>
              <a:ext uri="{FF2B5EF4-FFF2-40B4-BE49-F238E27FC236}">
                <a16:creationId xmlns:a16="http://schemas.microsoft.com/office/drawing/2014/main" id="{F55092A3-0995-F588-0D2E-F615AA7D2F67}"/>
              </a:ext>
            </a:extLst>
          </p:cNvPr>
          <p:cNvPicPr>
            <a:picLocks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3" y="175551"/>
            <a:ext cx="889594" cy="32496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5726457-A55E-12CD-A706-24DA99AEADB9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10234127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28FF52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Justificativa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prstClr val="white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Razões para investir no Hidrogênio Verde</a:t>
            </a:r>
          </a:p>
        </p:txBody>
      </p:sp>
    </p:spTree>
    <p:extLst>
      <p:ext uri="{BB962C8B-B14F-4D97-AF65-F5344CB8AC3E}">
        <p14:creationId xmlns:p14="http://schemas.microsoft.com/office/powerpoint/2010/main" val="419721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2154"/>
    </mc:Choice>
    <mc:Fallback xmlns="">
      <p:transition advTm="102154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2">
            <a:extLst>
              <a:ext uri="{FF2B5EF4-FFF2-40B4-BE49-F238E27FC236}">
                <a16:creationId xmlns:a16="http://schemas.microsoft.com/office/drawing/2014/main" id="{8DE81767-2178-4708-A94C-8108FBEA50ED}"/>
              </a:ext>
            </a:extLst>
          </p:cNvPr>
          <p:cNvSpPr txBox="1"/>
          <p:nvPr/>
        </p:nvSpPr>
        <p:spPr>
          <a:xfrm>
            <a:off x="1968802" y="1984565"/>
            <a:ext cx="5077254" cy="2355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641985" marR="5080" lvl="0" indent="-621030" algn="ctr" defTabSz="914400" rtl="0" eaLnBrk="1" fontAlgn="auto" latinLnBrk="0" hangingPunct="1">
              <a:lnSpc>
                <a:spcPct val="100800"/>
              </a:lnSpc>
              <a:spcBef>
                <a:spcPts val="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48" name="Freeform 215">
            <a:extLst>
              <a:ext uri="{FF2B5EF4-FFF2-40B4-BE49-F238E27FC236}">
                <a16:creationId xmlns:a16="http://schemas.microsoft.com/office/drawing/2014/main" id="{7F182D68-80A7-4FB5-9A55-B10E7448BD0D}"/>
              </a:ext>
            </a:extLst>
          </p:cNvPr>
          <p:cNvSpPr>
            <a:spLocks/>
          </p:cNvSpPr>
          <p:nvPr/>
        </p:nvSpPr>
        <p:spPr bwMode="auto">
          <a:xfrm>
            <a:off x="4620725" y="1866418"/>
            <a:ext cx="2835995" cy="2838944"/>
          </a:xfrm>
          <a:custGeom>
            <a:avLst/>
            <a:gdLst>
              <a:gd name="T0" fmla="*/ 1924 w 1925"/>
              <a:gd name="T1" fmla="*/ 913 h 1926"/>
              <a:gd name="T2" fmla="*/ 1904 w 1925"/>
              <a:gd name="T3" fmla="*/ 769 h 1926"/>
              <a:gd name="T4" fmla="*/ 1866 w 1925"/>
              <a:gd name="T5" fmla="*/ 632 h 1926"/>
              <a:gd name="T6" fmla="*/ 1808 w 1925"/>
              <a:gd name="T7" fmla="*/ 504 h 1926"/>
              <a:gd name="T8" fmla="*/ 1734 w 1925"/>
              <a:gd name="T9" fmla="*/ 387 h 1926"/>
              <a:gd name="T10" fmla="*/ 1642 w 1925"/>
              <a:gd name="T11" fmla="*/ 283 h 1926"/>
              <a:gd name="T12" fmla="*/ 1537 w 1925"/>
              <a:gd name="T13" fmla="*/ 191 h 1926"/>
              <a:gd name="T14" fmla="*/ 1421 w 1925"/>
              <a:gd name="T15" fmla="*/ 117 h 1926"/>
              <a:gd name="T16" fmla="*/ 1293 w 1925"/>
              <a:gd name="T17" fmla="*/ 59 h 1926"/>
              <a:gd name="T18" fmla="*/ 1156 w 1925"/>
              <a:gd name="T19" fmla="*/ 20 h 1926"/>
              <a:gd name="T20" fmla="*/ 1011 w 1925"/>
              <a:gd name="T21" fmla="*/ 1 h 1926"/>
              <a:gd name="T22" fmla="*/ 913 w 1925"/>
              <a:gd name="T23" fmla="*/ 1 h 1926"/>
              <a:gd name="T24" fmla="*/ 768 w 1925"/>
              <a:gd name="T25" fmla="*/ 20 h 1926"/>
              <a:gd name="T26" fmla="*/ 631 w 1925"/>
              <a:gd name="T27" fmla="*/ 59 h 1926"/>
              <a:gd name="T28" fmla="*/ 503 w 1925"/>
              <a:gd name="T29" fmla="*/ 117 h 1926"/>
              <a:gd name="T30" fmla="*/ 387 w 1925"/>
              <a:gd name="T31" fmla="*/ 191 h 1926"/>
              <a:gd name="T32" fmla="*/ 282 w 1925"/>
              <a:gd name="T33" fmla="*/ 283 h 1926"/>
              <a:gd name="T34" fmla="*/ 191 w 1925"/>
              <a:gd name="T35" fmla="*/ 387 h 1926"/>
              <a:gd name="T36" fmla="*/ 116 w 1925"/>
              <a:gd name="T37" fmla="*/ 504 h 1926"/>
              <a:gd name="T38" fmla="*/ 58 w 1925"/>
              <a:gd name="T39" fmla="*/ 632 h 1926"/>
              <a:gd name="T40" fmla="*/ 20 w 1925"/>
              <a:gd name="T41" fmla="*/ 769 h 1926"/>
              <a:gd name="T42" fmla="*/ 2 w 1925"/>
              <a:gd name="T43" fmla="*/ 913 h 1926"/>
              <a:gd name="T44" fmla="*/ 2 w 1925"/>
              <a:gd name="T45" fmla="*/ 1012 h 1926"/>
              <a:gd name="T46" fmla="*/ 20 w 1925"/>
              <a:gd name="T47" fmla="*/ 1157 h 1926"/>
              <a:gd name="T48" fmla="*/ 58 w 1925"/>
              <a:gd name="T49" fmla="*/ 1294 h 1926"/>
              <a:gd name="T50" fmla="*/ 116 w 1925"/>
              <a:gd name="T51" fmla="*/ 1421 h 1926"/>
              <a:gd name="T52" fmla="*/ 191 w 1925"/>
              <a:gd name="T53" fmla="*/ 1538 h 1926"/>
              <a:gd name="T54" fmla="*/ 282 w 1925"/>
              <a:gd name="T55" fmla="*/ 1643 h 1926"/>
              <a:gd name="T56" fmla="*/ 387 w 1925"/>
              <a:gd name="T57" fmla="*/ 1734 h 1926"/>
              <a:gd name="T58" fmla="*/ 503 w 1925"/>
              <a:gd name="T59" fmla="*/ 1809 h 1926"/>
              <a:gd name="T60" fmla="*/ 631 w 1925"/>
              <a:gd name="T61" fmla="*/ 1867 h 1926"/>
              <a:gd name="T62" fmla="*/ 768 w 1925"/>
              <a:gd name="T63" fmla="*/ 1905 h 1926"/>
              <a:gd name="T64" fmla="*/ 913 w 1925"/>
              <a:gd name="T65" fmla="*/ 1924 h 1926"/>
              <a:gd name="T66" fmla="*/ 1011 w 1925"/>
              <a:gd name="T67" fmla="*/ 1924 h 1926"/>
              <a:gd name="T68" fmla="*/ 1156 w 1925"/>
              <a:gd name="T69" fmla="*/ 1905 h 1926"/>
              <a:gd name="T70" fmla="*/ 1293 w 1925"/>
              <a:gd name="T71" fmla="*/ 1867 h 1926"/>
              <a:gd name="T72" fmla="*/ 1421 w 1925"/>
              <a:gd name="T73" fmla="*/ 1809 h 1926"/>
              <a:gd name="T74" fmla="*/ 1537 w 1925"/>
              <a:gd name="T75" fmla="*/ 1734 h 1926"/>
              <a:gd name="T76" fmla="*/ 1642 w 1925"/>
              <a:gd name="T77" fmla="*/ 1643 h 1926"/>
              <a:gd name="T78" fmla="*/ 1734 w 1925"/>
              <a:gd name="T79" fmla="*/ 1538 h 1926"/>
              <a:gd name="T80" fmla="*/ 1808 w 1925"/>
              <a:gd name="T81" fmla="*/ 1421 h 1926"/>
              <a:gd name="T82" fmla="*/ 1866 w 1925"/>
              <a:gd name="T83" fmla="*/ 1294 h 1926"/>
              <a:gd name="T84" fmla="*/ 1904 w 1925"/>
              <a:gd name="T85" fmla="*/ 1157 h 1926"/>
              <a:gd name="T86" fmla="*/ 1924 w 1925"/>
              <a:gd name="T87" fmla="*/ 1012 h 19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925" h="1926">
                <a:moveTo>
                  <a:pt x="1925" y="963"/>
                </a:moveTo>
                <a:lnTo>
                  <a:pt x="1925" y="963"/>
                </a:lnTo>
                <a:lnTo>
                  <a:pt x="1924" y="913"/>
                </a:lnTo>
                <a:lnTo>
                  <a:pt x="1919" y="864"/>
                </a:lnTo>
                <a:lnTo>
                  <a:pt x="1913" y="816"/>
                </a:lnTo>
                <a:lnTo>
                  <a:pt x="1904" y="769"/>
                </a:lnTo>
                <a:lnTo>
                  <a:pt x="1894" y="722"/>
                </a:lnTo>
                <a:lnTo>
                  <a:pt x="1882" y="676"/>
                </a:lnTo>
                <a:lnTo>
                  <a:pt x="1866" y="632"/>
                </a:lnTo>
                <a:lnTo>
                  <a:pt x="1849" y="588"/>
                </a:lnTo>
                <a:lnTo>
                  <a:pt x="1830" y="545"/>
                </a:lnTo>
                <a:lnTo>
                  <a:pt x="1808" y="504"/>
                </a:lnTo>
                <a:lnTo>
                  <a:pt x="1785" y="463"/>
                </a:lnTo>
                <a:lnTo>
                  <a:pt x="1760" y="425"/>
                </a:lnTo>
                <a:lnTo>
                  <a:pt x="1734" y="387"/>
                </a:lnTo>
                <a:lnTo>
                  <a:pt x="1705" y="350"/>
                </a:lnTo>
                <a:lnTo>
                  <a:pt x="1675" y="315"/>
                </a:lnTo>
                <a:lnTo>
                  <a:pt x="1642" y="283"/>
                </a:lnTo>
                <a:lnTo>
                  <a:pt x="1610" y="250"/>
                </a:lnTo>
                <a:lnTo>
                  <a:pt x="1575" y="220"/>
                </a:lnTo>
                <a:lnTo>
                  <a:pt x="1537" y="191"/>
                </a:lnTo>
                <a:lnTo>
                  <a:pt x="1500" y="165"/>
                </a:lnTo>
                <a:lnTo>
                  <a:pt x="1462" y="139"/>
                </a:lnTo>
                <a:lnTo>
                  <a:pt x="1421" y="117"/>
                </a:lnTo>
                <a:lnTo>
                  <a:pt x="1380" y="95"/>
                </a:lnTo>
                <a:lnTo>
                  <a:pt x="1336" y="76"/>
                </a:lnTo>
                <a:lnTo>
                  <a:pt x="1293" y="59"/>
                </a:lnTo>
                <a:lnTo>
                  <a:pt x="1249" y="43"/>
                </a:lnTo>
                <a:lnTo>
                  <a:pt x="1203" y="31"/>
                </a:lnTo>
                <a:lnTo>
                  <a:pt x="1156" y="20"/>
                </a:lnTo>
                <a:lnTo>
                  <a:pt x="1109" y="12"/>
                </a:lnTo>
                <a:lnTo>
                  <a:pt x="1061" y="5"/>
                </a:lnTo>
                <a:lnTo>
                  <a:pt x="1011" y="1"/>
                </a:lnTo>
                <a:lnTo>
                  <a:pt x="962" y="0"/>
                </a:lnTo>
                <a:lnTo>
                  <a:pt x="962" y="0"/>
                </a:lnTo>
                <a:lnTo>
                  <a:pt x="913" y="1"/>
                </a:lnTo>
                <a:lnTo>
                  <a:pt x="863" y="5"/>
                </a:lnTo>
                <a:lnTo>
                  <a:pt x="815" y="12"/>
                </a:lnTo>
                <a:lnTo>
                  <a:pt x="768" y="20"/>
                </a:lnTo>
                <a:lnTo>
                  <a:pt x="721" y="31"/>
                </a:lnTo>
                <a:lnTo>
                  <a:pt x="676" y="43"/>
                </a:lnTo>
                <a:lnTo>
                  <a:pt x="631" y="59"/>
                </a:lnTo>
                <a:lnTo>
                  <a:pt x="588" y="76"/>
                </a:lnTo>
                <a:lnTo>
                  <a:pt x="546" y="95"/>
                </a:lnTo>
                <a:lnTo>
                  <a:pt x="503" y="117"/>
                </a:lnTo>
                <a:lnTo>
                  <a:pt x="464" y="139"/>
                </a:lnTo>
                <a:lnTo>
                  <a:pt x="424" y="165"/>
                </a:lnTo>
                <a:lnTo>
                  <a:pt x="387" y="191"/>
                </a:lnTo>
                <a:lnTo>
                  <a:pt x="351" y="220"/>
                </a:lnTo>
                <a:lnTo>
                  <a:pt x="316" y="250"/>
                </a:lnTo>
                <a:lnTo>
                  <a:pt x="282" y="283"/>
                </a:lnTo>
                <a:lnTo>
                  <a:pt x="250" y="315"/>
                </a:lnTo>
                <a:lnTo>
                  <a:pt x="219" y="350"/>
                </a:lnTo>
                <a:lnTo>
                  <a:pt x="191" y="387"/>
                </a:lnTo>
                <a:lnTo>
                  <a:pt x="164" y="425"/>
                </a:lnTo>
                <a:lnTo>
                  <a:pt x="139" y="463"/>
                </a:lnTo>
                <a:lnTo>
                  <a:pt x="116" y="504"/>
                </a:lnTo>
                <a:lnTo>
                  <a:pt x="94" y="545"/>
                </a:lnTo>
                <a:lnTo>
                  <a:pt x="75" y="588"/>
                </a:lnTo>
                <a:lnTo>
                  <a:pt x="58" y="632"/>
                </a:lnTo>
                <a:lnTo>
                  <a:pt x="44" y="676"/>
                </a:lnTo>
                <a:lnTo>
                  <a:pt x="30" y="722"/>
                </a:lnTo>
                <a:lnTo>
                  <a:pt x="20" y="769"/>
                </a:lnTo>
                <a:lnTo>
                  <a:pt x="11" y="816"/>
                </a:lnTo>
                <a:lnTo>
                  <a:pt x="5" y="864"/>
                </a:lnTo>
                <a:lnTo>
                  <a:pt x="2" y="913"/>
                </a:lnTo>
                <a:lnTo>
                  <a:pt x="0" y="963"/>
                </a:lnTo>
                <a:lnTo>
                  <a:pt x="0" y="963"/>
                </a:lnTo>
                <a:lnTo>
                  <a:pt x="2" y="1012"/>
                </a:lnTo>
                <a:lnTo>
                  <a:pt x="5" y="1061"/>
                </a:lnTo>
                <a:lnTo>
                  <a:pt x="11" y="1110"/>
                </a:lnTo>
                <a:lnTo>
                  <a:pt x="20" y="1157"/>
                </a:lnTo>
                <a:lnTo>
                  <a:pt x="30" y="1203"/>
                </a:lnTo>
                <a:lnTo>
                  <a:pt x="44" y="1249"/>
                </a:lnTo>
                <a:lnTo>
                  <a:pt x="58" y="1294"/>
                </a:lnTo>
                <a:lnTo>
                  <a:pt x="75" y="1337"/>
                </a:lnTo>
                <a:lnTo>
                  <a:pt x="94" y="1380"/>
                </a:lnTo>
                <a:lnTo>
                  <a:pt x="116" y="1421"/>
                </a:lnTo>
                <a:lnTo>
                  <a:pt x="139" y="1462"/>
                </a:lnTo>
                <a:lnTo>
                  <a:pt x="164" y="1501"/>
                </a:lnTo>
                <a:lnTo>
                  <a:pt x="191" y="1538"/>
                </a:lnTo>
                <a:lnTo>
                  <a:pt x="219" y="1575"/>
                </a:lnTo>
                <a:lnTo>
                  <a:pt x="250" y="1610"/>
                </a:lnTo>
                <a:lnTo>
                  <a:pt x="282" y="1643"/>
                </a:lnTo>
                <a:lnTo>
                  <a:pt x="316" y="1675"/>
                </a:lnTo>
                <a:lnTo>
                  <a:pt x="351" y="1705"/>
                </a:lnTo>
                <a:lnTo>
                  <a:pt x="387" y="1734"/>
                </a:lnTo>
                <a:lnTo>
                  <a:pt x="424" y="1761"/>
                </a:lnTo>
                <a:lnTo>
                  <a:pt x="464" y="1786"/>
                </a:lnTo>
                <a:lnTo>
                  <a:pt x="503" y="1809"/>
                </a:lnTo>
                <a:lnTo>
                  <a:pt x="546" y="1831"/>
                </a:lnTo>
                <a:lnTo>
                  <a:pt x="588" y="1850"/>
                </a:lnTo>
                <a:lnTo>
                  <a:pt x="631" y="1867"/>
                </a:lnTo>
                <a:lnTo>
                  <a:pt x="676" y="1882"/>
                </a:lnTo>
                <a:lnTo>
                  <a:pt x="721" y="1896"/>
                </a:lnTo>
                <a:lnTo>
                  <a:pt x="768" y="1905"/>
                </a:lnTo>
                <a:lnTo>
                  <a:pt x="815" y="1914"/>
                </a:lnTo>
                <a:lnTo>
                  <a:pt x="863" y="1921"/>
                </a:lnTo>
                <a:lnTo>
                  <a:pt x="913" y="1924"/>
                </a:lnTo>
                <a:lnTo>
                  <a:pt x="962" y="1926"/>
                </a:lnTo>
                <a:lnTo>
                  <a:pt x="962" y="1926"/>
                </a:lnTo>
                <a:lnTo>
                  <a:pt x="1011" y="1924"/>
                </a:lnTo>
                <a:lnTo>
                  <a:pt x="1061" y="1921"/>
                </a:lnTo>
                <a:lnTo>
                  <a:pt x="1109" y="1914"/>
                </a:lnTo>
                <a:lnTo>
                  <a:pt x="1156" y="1905"/>
                </a:lnTo>
                <a:lnTo>
                  <a:pt x="1203" y="1896"/>
                </a:lnTo>
                <a:lnTo>
                  <a:pt x="1249" y="1882"/>
                </a:lnTo>
                <a:lnTo>
                  <a:pt x="1293" y="1867"/>
                </a:lnTo>
                <a:lnTo>
                  <a:pt x="1336" y="1850"/>
                </a:lnTo>
                <a:lnTo>
                  <a:pt x="1380" y="1831"/>
                </a:lnTo>
                <a:lnTo>
                  <a:pt x="1421" y="1809"/>
                </a:lnTo>
                <a:lnTo>
                  <a:pt x="1462" y="1786"/>
                </a:lnTo>
                <a:lnTo>
                  <a:pt x="1500" y="1761"/>
                </a:lnTo>
                <a:lnTo>
                  <a:pt x="1537" y="1734"/>
                </a:lnTo>
                <a:lnTo>
                  <a:pt x="1575" y="1705"/>
                </a:lnTo>
                <a:lnTo>
                  <a:pt x="1610" y="1675"/>
                </a:lnTo>
                <a:lnTo>
                  <a:pt x="1642" y="1643"/>
                </a:lnTo>
                <a:lnTo>
                  <a:pt x="1675" y="1610"/>
                </a:lnTo>
                <a:lnTo>
                  <a:pt x="1705" y="1575"/>
                </a:lnTo>
                <a:lnTo>
                  <a:pt x="1734" y="1538"/>
                </a:lnTo>
                <a:lnTo>
                  <a:pt x="1760" y="1501"/>
                </a:lnTo>
                <a:lnTo>
                  <a:pt x="1785" y="1462"/>
                </a:lnTo>
                <a:lnTo>
                  <a:pt x="1808" y="1421"/>
                </a:lnTo>
                <a:lnTo>
                  <a:pt x="1830" y="1380"/>
                </a:lnTo>
                <a:lnTo>
                  <a:pt x="1849" y="1337"/>
                </a:lnTo>
                <a:lnTo>
                  <a:pt x="1866" y="1294"/>
                </a:lnTo>
                <a:lnTo>
                  <a:pt x="1882" y="1249"/>
                </a:lnTo>
                <a:lnTo>
                  <a:pt x="1894" y="1203"/>
                </a:lnTo>
                <a:lnTo>
                  <a:pt x="1904" y="1157"/>
                </a:lnTo>
                <a:lnTo>
                  <a:pt x="1913" y="1110"/>
                </a:lnTo>
                <a:lnTo>
                  <a:pt x="1919" y="1061"/>
                </a:lnTo>
                <a:lnTo>
                  <a:pt x="1924" y="1012"/>
                </a:lnTo>
                <a:lnTo>
                  <a:pt x="1925" y="963"/>
                </a:lnTo>
                <a:lnTo>
                  <a:pt x="1925" y="963"/>
                </a:lnTo>
                <a:close/>
              </a:path>
            </a:pathLst>
          </a:custGeom>
          <a:solidFill>
            <a:srgbClr val="28FF52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64" name="Freeform 217">
            <a:extLst>
              <a:ext uri="{FF2B5EF4-FFF2-40B4-BE49-F238E27FC236}">
                <a16:creationId xmlns:a16="http://schemas.microsoft.com/office/drawing/2014/main" id="{32F38A5A-F4BC-4E3F-921C-183AAD1D9AF0}"/>
              </a:ext>
            </a:extLst>
          </p:cNvPr>
          <p:cNvSpPr>
            <a:spLocks/>
          </p:cNvSpPr>
          <p:nvPr/>
        </p:nvSpPr>
        <p:spPr bwMode="auto">
          <a:xfrm>
            <a:off x="4968636" y="2199040"/>
            <a:ext cx="2140175" cy="2137382"/>
          </a:xfrm>
          <a:custGeom>
            <a:avLst/>
            <a:gdLst>
              <a:gd name="T0" fmla="*/ 1529 w 1531"/>
              <a:gd name="T1" fmla="*/ 726 h 1531"/>
              <a:gd name="T2" fmla="*/ 1515 w 1531"/>
              <a:gd name="T3" fmla="*/ 612 h 1531"/>
              <a:gd name="T4" fmla="*/ 1484 w 1531"/>
              <a:gd name="T5" fmla="*/ 502 h 1531"/>
              <a:gd name="T6" fmla="*/ 1438 w 1531"/>
              <a:gd name="T7" fmla="*/ 401 h 1531"/>
              <a:gd name="T8" fmla="*/ 1378 w 1531"/>
              <a:gd name="T9" fmla="*/ 308 h 1531"/>
              <a:gd name="T10" fmla="*/ 1307 w 1531"/>
              <a:gd name="T11" fmla="*/ 224 h 1531"/>
              <a:gd name="T12" fmla="*/ 1222 w 1531"/>
              <a:gd name="T13" fmla="*/ 153 h 1531"/>
              <a:gd name="T14" fmla="*/ 1130 w 1531"/>
              <a:gd name="T15" fmla="*/ 93 h 1531"/>
              <a:gd name="T16" fmla="*/ 1029 w 1531"/>
              <a:gd name="T17" fmla="*/ 47 h 1531"/>
              <a:gd name="T18" fmla="*/ 919 w 1531"/>
              <a:gd name="T19" fmla="*/ 16 h 1531"/>
              <a:gd name="T20" fmla="*/ 805 w 1531"/>
              <a:gd name="T21" fmla="*/ 1 h 1531"/>
              <a:gd name="T22" fmla="*/ 725 w 1531"/>
              <a:gd name="T23" fmla="*/ 1 h 1531"/>
              <a:gd name="T24" fmla="*/ 611 w 1531"/>
              <a:gd name="T25" fmla="*/ 16 h 1531"/>
              <a:gd name="T26" fmla="*/ 503 w 1531"/>
              <a:gd name="T27" fmla="*/ 47 h 1531"/>
              <a:gd name="T28" fmla="*/ 400 w 1531"/>
              <a:gd name="T29" fmla="*/ 93 h 1531"/>
              <a:gd name="T30" fmla="*/ 308 w 1531"/>
              <a:gd name="T31" fmla="*/ 153 h 1531"/>
              <a:gd name="T32" fmla="*/ 225 w 1531"/>
              <a:gd name="T33" fmla="*/ 224 h 1531"/>
              <a:gd name="T34" fmla="*/ 152 w 1531"/>
              <a:gd name="T35" fmla="*/ 308 h 1531"/>
              <a:gd name="T36" fmla="*/ 92 w 1531"/>
              <a:gd name="T37" fmla="*/ 401 h 1531"/>
              <a:gd name="T38" fmla="*/ 47 w 1531"/>
              <a:gd name="T39" fmla="*/ 502 h 1531"/>
              <a:gd name="T40" fmla="*/ 15 w 1531"/>
              <a:gd name="T41" fmla="*/ 612 h 1531"/>
              <a:gd name="T42" fmla="*/ 1 w 1531"/>
              <a:gd name="T43" fmla="*/ 726 h 1531"/>
              <a:gd name="T44" fmla="*/ 1 w 1531"/>
              <a:gd name="T45" fmla="*/ 805 h 1531"/>
              <a:gd name="T46" fmla="*/ 15 w 1531"/>
              <a:gd name="T47" fmla="*/ 920 h 1531"/>
              <a:gd name="T48" fmla="*/ 47 w 1531"/>
              <a:gd name="T49" fmla="*/ 1029 h 1531"/>
              <a:gd name="T50" fmla="*/ 92 w 1531"/>
              <a:gd name="T51" fmla="*/ 1130 h 1531"/>
              <a:gd name="T52" fmla="*/ 152 w 1531"/>
              <a:gd name="T53" fmla="*/ 1223 h 1531"/>
              <a:gd name="T54" fmla="*/ 225 w 1531"/>
              <a:gd name="T55" fmla="*/ 1307 h 1531"/>
              <a:gd name="T56" fmla="*/ 308 w 1531"/>
              <a:gd name="T57" fmla="*/ 1378 h 1531"/>
              <a:gd name="T58" fmla="*/ 400 w 1531"/>
              <a:gd name="T59" fmla="*/ 1439 h 1531"/>
              <a:gd name="T60" fmla="*/ 503 w 1531"/>
              <a:gd name="T61" fmla="*/ 1484 h 1531"/>
              <a:gd name="T62" fmla="*/ 611 w 1531"/>
              <a:gd name="T63" fmla="*/ 1516 h 1531"/>
              <a:gd name="T64" fmla="*/ 725 w 1531"/>
              <a:gd name="T65" fmla="*/ 1530 h 1531"/>
              <a:gd name="T66" fmla="*/ 805 w 1531"/>
              <a:gd name="T67" fmla="*/ 1530 h 1531"/>
              <a:gd name="T68" fmla="*/ 919 w 1531"/>
              <a:gd name="T69" fmla="*/ 1516 h 1531"/>
              <a:gd name="T70" fmla="*/ 1029 w 1531"/>
              <a:gd name="T71" fmla="*/ 1484 h 1531"/>
              <a:gd name="T72" fmla="*/ 1130 w 1531"/>
              <a:gd name="T73" fmla="*/ 1439 h 1531"/>
              <a:gd name="T74" fmla="*/ 1222 w 1531"/>
              <a:gd name="T75" fmla="*/ 1378 h 1531"/>
              <a:gd name="T76" fmla="*/ 1307 w 1531"/>
              <a:gd name="T77" fmla="*/ 1307 h 1531"/>
              <a:gd name="T78" fmla="*/ 1378 w 1531"/>
              <a:gd name="T79" fmla="*/ 1223 h 1531"/>
              <a:gd name="T80" fmla="*/ 1438 w 1531"/>
              <a:gd name="T81" fmla="*/ 1130 h 1531"/>
              <a:gd name="T82" fmla="*/ 1484 w 1531"/>
              <a:gd name="T83" fmla="*/ 1029 h 1531"/>
              <a:gd name="T84" fmla="*/ 1515 w 1531"/>
              <a:gd name="T85" fmla="*/ 920 h 1531"/>
              <a:gd name="T86" fmla="*/ 1529 w 1531"/>
              <a:gd name="T87" fmla="*/ 805 h 1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31" h="1531">
                <a:moveTo>
                  <a:pt x="1531" y="766"/>
                </a:moveTo>
                <a:lnTo>
                  <a:pt x="1531" y="766"/>
                </a:lnTo>
                <a:lnTo>
                  <a:pt x="1529" y="726"/>
                </a:lnTo>
                <a:lnTo>
                  <a:pt x="1526" y="688"/>
                </a:lnTo>
                <a:lnTo>
                  <a:pt x="1521" y="649"/>
                </a:lnTo>
                <a:lnTo>
                  <a:pt x="1515" y="612"/>
                </a:lnTo>
                <a:lnTo>
                  <a:pt x="1506" y="574"/>
                </a:lnTo>
                <a:lnTo>
                  <a:pt x="1496" y="538"/>
                </a:lnTo>
                <a:lnTo>
                  <a:pt x="1484" y="502"/>
                </a:lnTo>
                <a:lnTo>
                  <a:pt x="1470" y="468"/>
                </a:lnTo>
                <a:lnTo>
                  <a:pt x="1455" y="434"/>
                </a:lnTo>
                <a:lnTo>
                  <a:pt x="1438" y="401"/>
                </a:lnTo>
                <a:lnTo>
                  <a:pt x="1420" y="369"/>
                </a:lnTo>
                <a:lnTo>
                  <a:pt x="1399" y="338"/>
                </a:lnTo>
                <a:lnTo>
                  <a:pt x="1378" y="308"/>
                </a:lnTo>
                <a:lnTo>
                  <a:pt x="1356" y="280"/>
                </a:lnTo>
                <a:lnTo>
                  <a:pt x="1332" y="252"/>
                </a:lnTo>
                <a:lnTo>
                  <a:pt x="1307" y="224"/>
                </a:lnTo>
                <a:lnTo>
                  <a:pt x="1279" y="199"/>
                </a:lnTo>
                <a:lnTo>
                  <a:pt x="1251" y="175"/>
                </a:lnTo>
                <a:lnTo>
                  <a:pt x="1222" y="153"/>
                </a:lnTo>
                <a:lnTo>
                  <a:pt x="1192" y="131"/>
                </a:lnTo>
                <a:lnTo>
                  <a:pt x="1162" y="111"/>
                </a:lnTo>
                <a:lnTo>
                  <a:pt x="1130" y="93"/>
                </a:lnTo>
                <a:lnTo>
                  <a:pt x="1097" y="76"/>
                </a:lnTo>
                <a:lnTo>
                  <a:pt x="1064" y="60"/>
                </a:lnTo>
                <a:lnTo>
                  <a:pt x="1029" y="47"/>
                </a:lnTo>
                <a:lnTo>
                  <a:pt x="993" y="35"/>
                </a:lnTo>
                <a:lnTo>
                  <a:pt x="956" y="24"/>
                </a:lnTo>
                <a:lnTo>
                  <a:pt x="919" y="16"/>
                </a:lnTo>
                <a:lnTo>
                  <a:pt x="882" y="10"/>
                </a:lnTo>
                <a:lnTo>
                  <a:pt x="843" y="5"/>
                </a:lnTo>
                <a:lnTo>
                  <a:pt x="805" y="1"/>
                </a:lnTo>
                <a:lnTo>
                  <a:pt x="765" y="0"/>
                </a:lnTo>
                <a:lnTo>
                  <a:pt x="765" y="0"/>
                </a:lnTo>
                <a:lnTo>
                  <a:pt x="725" y="1"/>
                </a:lnTo>
                <a:lnTo>
                  <a:pt x="687" y="5"/>
                </a:lnTo>
                <a:lnTo>
                  <a:pt x="648" y="10"/>
                </a:lnTo>
                <a:lnTo>
                  <a:pt x="611" y="16"/>
                </a:lnTo>
                <a:lnTo>
                  <a:pt x="574" y="24"/>
                </a:lnTo>
                <a:lnTo>
                  <a:pt x="538" y="35"/>
                </a:lnTo>
                <a:lnTo>
                  <a:pt x="503" y="47"/>
                </a:lnTo>
                <a:lnTo>
                  <a:pt x="468" y="60"/>
                </a:lnTo>
                <a:lnTo>
                  <a:pt x="434" y="76"/>
                </a:lnTo>
                <a:lnTo>
                  <a:pt x="400" y="93"/>
                </a:lnTo>
                <a:lnTo>
                  <a:pt x="369" y="111"/>
                </a:lnTo>
                <a:lnTo>
                  <a:pt x="338" y="131"/>
                </a:lnTo>
                <a:lnTo>
                  <a:pt x="308" y="153"/>
                </a:lnTo>
                <a:lnTo>
                  <a:pt x="279" y="175"/>
                </a:lnTo>
                <a:lnTo>
                  <a:pt x="251" y="199"/>
                </a:lnTo>
                <a:lnTo>
                  <a:pt x="225" y="224"/>
                </a:lnTo>
                <a:lnTo>
                  <a:pt x="199" y="252"/>
                </a:lnTo>
                <a:lnTo>
                  <a:pt x="175" y="280"/>
                </a:lnTo>
                <a:lnTo>
                  <a:pt x="152" y="308"/>
                </a:lnTo>
                <a:lnTo>
                  <a:pt x="131" y="338"/>
                </a:lnTo>
                <a:lnTo>
                  <a:pt x="112" y="369"/>
                </a:lnTo>
                <a:lnTo>
                  <a:pt x="92" y="401"/>
                </a:lnTo>
                <a:lnTo>
                  <a:pt x="75" y="434"/>
                </a:lnTo>
                <a:lnTo>
                  <a:pt x="60" y="468"/>
                </a:lnTo>
                <a:lnTo>
                  <a:pt x="47" y="502"/>
                </a:lnTo>
                <a:lnTo>
                  <a:pt x="34" y="538"/>
                </a:lnTo>
                <a:lnTo>
                  <a:pt x="24" y="574"/>
                </a:lnTo>
                <a:lnTo>
                  <a:pt x="15" y="612"/>
                </a:lnTo>
                <a:lnTo>
                  <a:pt x="9" y="649"/>
                </a:lnTo>
                <a:lnTo>
                  <a:pt x="4" y="688"/>
                </a:lnTo>
                <a:lnTo>
                  <a:pt x="1" y="726"/>
                </a:lnTo>
                <a:lnTo>
                  <a:pt x="0" y="766"/>
                </a:lnTo>
                <a:lnTo>
                  <a:pt x="0" y="766"/>
                </a:lnTo>
                <a:lnTo>
                  <a:pt x="1" y="805"/>
                </a:lnTo>
                <a:lnTo>
                  <a:pt x="4" y="844"/>
                </a:lnTo>
                <a:lnTo>
                  <a:pt x="9" y="883"/>
                </a:lnTo>
                <a:lnTo>
                  <a:pt x="15" y="920"/>
                </a:lnTo>
                <a:lnTo>
                  <a:pt x="24" y="957"/>
                </a:lnTo>
                <a:lnTo>
                  <a:pt x="34" y="993"/>
                </a:lnTo>
                <a:lnTo>
                  <a:pt x="47" y="1029"/>
                </a:lnTo>
                <a:lnTo>
                  <a:pt x="60" y="1063"/>
                </a:lnTo>
                <a:lnTo>
                  <a:pt x="75" y="1098"/>
                </a:lnTo>
                <a:lnTo>
                  <a:pt x="92" y="1130"/>
                </a:lnTo>
                <a:lnTo>
                  <a:pt x="112" y="1163"/>
                </a:lnTo>
                <a:lnTo>
                  <a:pt x="131" y="1193"/>
                </a:lnTo>
                <a:lnTo>
                  <a:pt x="152" y="1223"/>
                </a:lnTo>
                <a:lnTo>
                  <a:pt x="175" y="1252"/>
                </a:lnTo>
                <a:lnTo>
                  <a:pt x="199" y="1280"/>
                </a:lnTo>
                <a:lnTo>
                  <a:pt x="225" y="1307"/>
                </a:lnTo>
                <a:lnTo>
                  <a:pt x="251" y="1333"/>
                </a:lnTo>
                <a:lnTo>
                  <a:pt x="279" y="1357"/>
                </a:lnTo>
                <a:lnTo>
                  <a:pt x="308" y="1378"/>
                </a:lnTo>
                <a:lnTo>
                  <a:pt x="338" y="1400"/>
                </a:lnTo>
                <a:lnTo>
                  <a:pt x="369" y="1421"/>
                </a:lnTo>
                <a:lnTo>
                  <a:pt x="400" y="1439"/>
                </a:lnTo>
                <a:lnTo>
                  <a:pt x="434" y="1455"/>
                </a:lnTo>
                <a:lnTo>
                  <a:pt x="468" y="1471"/>
                </a:lnTo>
                <a:lnTo>
                  <a:pt x="503" y="1484"/>
                </a:lnTo>
                <a:lnTo>
                  <a:pt x="538" y="1496"/>
                </a:lnTo>
                <a:lnTo>
                  <a:pt x="574" y="1507"/>
                </a:lnTo>
                <a:lnTo>
                  <a:pt x="611" y="1516"/>
                </a:lnTo>
                <a:lnTo>
                  <a:pt x="648" y="1522"/>
                </a:lnTo>
                <a:lnTo>
                  <a:pt x="687" y="1526"/>
                </a:lnTo>
                <a:lnTo>
                  <a:pt x="725" y="1530"/>
                </a:lnTo>
                <a:lnTo>
                  <a:pt x="765" y="1531"/>
                </a:lnTo>
                <a:lnTo>
                  <a:pt x="765" y="1531"/>
                </a:lnTo>
                <a:lnTo>
                  <a:pt x="805" y="1530"/>
                </a:lnTo>
                <a:lnTo>
                  <a:pt x="843" y="1526"/>
                </a:lnTo>
                <a:lnTo>
                  <a:pt x="882" y="1522"/>
                </a:lnTo>
                <a:lnTo>
                  <a:pt x="919" y="1516"/>
                </a:lnTo>
                <a:lnTo>
                  <a:pt x="956" y="1507"/>
                </a:lnTo>
                <a:lnTo>
                  <a:pt x="993" y="1496"/>
                </a:lnTo>
                <a:lnTo>
                  <a:pt x="1029" y="1484"/>
                </a:lnTo>
                <a:lnTo>
                  <a:pt x="1064" y="1471"/>
                </a:lnTo>
                <a:lnTo>
                  <a:pt x="1097" y="1455"/>
                </a:lnTo>
                <a:lnTo>
                  <a:pt x="1130" y="1439"/>
                </a:lnTo>
                <a:lnTo>
                  <a:pt x="1162" y="1421"/>
                </a:lnTo>
                <a:lnTo>
                  <a:pt x="1192" y="1400"/>
                </a:lnTo>
                <a:lnTo>
                  <a:pt x="1222" y="1378"/>
                </a:lnTo>
                <a:lnTo>
                  <a:pt x="1251" y="1357"/>
                </a:lnTo>
                <a:lnTo>
                  <a:pt x="1279" y="1333"/>
                </a:lnTo>
                <a:lnTo>
                  <a:pt x="1307" y="1307"/>
                </a:lnTo>
                <a:lnTo>
                  <a:pt x="1332" y="1280"/>
                </a:lnTo>
                <a:lnTo>
                  <a:pt x="1356" y="1252"/>
                </a:lnTo>
                <a:lnTo>
                  <a:pt x="1378" y="1223"/>
                </a:lnTo>
                <a:lnTo>
                  <a:pt x="1399" y="1193"/>
                </a:lnTo>
                <a:lnTo>
                  <a:pt x="1420" y="1163"/>
                </a:lnTo>
                <a:lnTo>
                  <a:pt x="1438" y="1130"/>
                </a:lnTo>
                <a:lnTo>
                  <a:pt x="1455" y="1098"/>
                </a:lnTo>
                <a:lnTo>
                  <a:pt x="1470" y="1063"/>
                </a:lnTo>
                <a:lnTo>
                  <a:pt x="1484" y="1029"/>
                </a:lnTo>
                <a:lnTo>
                  <a:pt x="1496" y="993"/>
                </a:lnTo>
                <a:lnTo>
                  <a:pt x="1506" y="957"/>
                </a:lnTo>
                <a:lnTo>
                  <a:pt x="1515" y="920"/>
                </a:lnTo>
                <a:lnTo>
                  <a:pt x="1521" y="883"/>
                </a:lnTo>
                <a:lnTo>
                  <a:pt x="1526" y="844"/>
                </a:lnTo>
                <a:lnTo>
                  <a:pt x="1529" y="805"/>
                </a:lnTo>
                <a:lnTo>
                  <a:pt x="1531" y="766"/>
                </a:lnTo>
                <a:lnTo>
                  <a:pt x="1531" y="766"/>
                </a:lnTo>
                <a:close/>
              </a:path>
            </a:pathLst>
          </a:custGeom>
          <a:solidFill>
            <a:sysClr val="window" lastClr="FFFFFF">
              <a:lumMod val="85000"/>
            </a:sys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69" name="Freeform 223">
            <a:extLst>
              <a:ext uri="{FF2B5EF4-FFF2-40B4-BE49-F238E27FC236}">
                <a16:creationId xmlns:a16="http://schemas.microsoft.com/office/drawing/2014/main" id="{E4B3627C-8580-46C9-8837-2867354CBABA}"/>
              </a:ext>
            </a:extLst>
          </p:cNvPr>
          <p:cNvSpPr>
            <a:spLocks/>
          </p:cNvSpPr>
          <p:nvPr/>
        </p:nvSpPr>
        <p:spPr bwMode="auto">
          <a:xfrm>
            <a:off x="5309500" y="2537109"/>
            <a:ext cx="1458449" cy="1478007"/>
          </a:xfrm>
          <a:custGeom>
            <a:avLst/>
            <a:gdLst>
              <a:gd name="T0" fmla="*/ 1043 w 1044"/>
              <a:gd name="T1" fmla="*/ 502 h 1058"/>
              <a:gd name="T2" fmla="*/ 1034 w 1044"/>
              <a:gd name="T3" fmla="*/ 423 h 1058"/>
              <a:gd name="T4" fmla="*/ 1013 w 1044"/>
              <a:gd name="T5" fmla="*/ 347 h 1058"/>
              <a:gd name="T6" fmla="*/ 982 w 1044"/>
              <a:gd name="T7" fmla="*/ 277 h 1058"/>
              <a:gd name="T8" fmla="*/ 941 w 1044"/>
              <a:gd name="T9" fmla="*/ 213 h 1058"/>
              <a:gd name="T10" fmla="*/ 892 w 1044"/>
              <a:gd name="T11" fmla="*/ 156 h 1058"/>
              <a:gd name="T12" fmla="*/ 835 w 1044"/>
              <a:gd name="T13" fmla="*/ 105 h 1058"/>
              <a:gd name="T14" fmla="*/ 771 w 1044"/>
              <a:gd name="T15" fmla="*/ 64 h 1058"/>
              <a:gd name="T16" fmla="*/ 701 w 1044"/>
              <a:gd name="T17" fmla="*/ 33 h 1058"/>
              <a:gd name="T18" fmla="*/ 628 w 1044"/>
              <a:gd name="T19" fmla="*/ 11 h 1058"/>
              <a:gd name="T20" fmla="*/ 549 w 1044"/>
              <a:gd name="T21" fmla="*/ 2 h 1058"/>
              <a:gd name="T22" fmla="*/ 496 w 1044"/>
              <a:gd name="T23" fmla="*/ 2 h 1058"/>
              <a:gd name="T24" fmla="*/ 417 w 1044"/>
              <a:gd name="T25" fmla="*/ 11 h 1058"/>
              <a:gd name="T26" fmla="*/ 343 w 1044"/>
              <a:gd name="T27" fmla="*/ 33 h 1058"/>
              <a:gd name="T28" fmla="*/ 273 w 1044"/>
              <a:gd name="T29" fmla="*/ 64 h 1058"/>
              <a:gd name="T30" fmla="*/ 209 w 1044"/>
              <a:gd name="T31" fmla="*/ 105 h 1058"/>
              <a:gd name="T32" fmla="*/ 153 w 1044"/>
              <a:gd name="T33" fmla="*/ 156 h 1058"/>
              <a:gd name="T34" fmla="*/ 103 w 1044"/>
              <a:gd name="T35" fmla="*/ 213 h 1058"/>
              <a:gd name="T36" fmla="*/ 63 w 1044"/>
              <a:gd name="T37" fmla="*/ 277 h 1058"/>
              <a:gd name="T38" fmla="*/ 31 w 1044"/>
              <a:gd name="T39" fmla="*/ 347 h 1058"/>
              <a:gd name="T40" fmla="*/ 11 w 1044"/>
              <a:gd name="T41" fmla="*/ 423 h 1058"/>
              <a:gd name="T42" fmla="*/ 1 w 1044"/>
              <a:gd name="T43" fmla="*/ 502 h 1058"/>
              <a:gd name="T44" fmla="*/ 1 w 1044"/>
              <a:gd name="T45" fmla="*/ 556 h 1058"/>
              <a:gd name="T46" fmla="*/ 11 w 1044"/>
              <a:gd name="T47" fmla="*/ 636 h 1058"/>
              <a:gd name="T48" fmla="*/ 31 w 1044"/>
              <a:gd name="T49" fmla="*/ 712 h 1058"/>
              <a:gd name="T50" fmla="*/ 63 w 1044"/>
              <a:gd name="T51" fmla="*/ 782 h 1058"/>
              <a:gd name="T52" fmla="*/ 103 w 1044"/>
              <a:gd name="T53" fmla="*/ 847 h 1058"/>
              <a:gd name="T54" fmla="*/ 153 w 1044"/>
              <a:gd name="T55" fmla="*/ 904 h 1058"/>
              <a:gd name="T56" fmla="*/ 209 w 1044"/>
              <a:gd name="T57" fmla="*/ 954 h 1058"/>
              <a:gd name="T58" fmla="*/ 273 w 1044"/>
              <a:gd name="T59" fmla="*/ 995 h 1058"/>
              <a:gd name="T60" fmla="*/ 343 w 1044"/>
              <a:gd name="T61" fmla="*/ 1027 h 1058"/>
              <a:gd name="T62" fmla="*/ 417 w 1044"/>
              <a:gd name="T63" fmla="*/ 1048 h 1058"/>
              <a:gd name="T64" fmla="*/ 496 w 1044"/>
              <a:gd name="T65" fmla="*/ 1058 h 1058"/>
              <a:gd name="T66" fmla="*/ 549 w 1044"/>
              <a:gd name="T67" fmla="*/ 1058 h 1058"/>
              <a:gd name="T68" fmla="*/ 628 w 1044"/>
              <a:gd name="T69" fmla="*/ 1048 h 1058"/>
              <a:gd name="T70" fmla="*/ 701 w 1044"/>
              <a:gd name="T71" fmla="*/ 1027 h 1058"/>
              <a:gd name="T72" fmla="*/ 771 w 1044"/>
              <a:gd name="T73" fmla="*/ 995 h 1058"/>
              <a:gd name="T74" fmla="*/ 835 w 1044"/>
              <a:gd name="T75" fmla="*/ 954 h 1058"/>
              <a:gd name="T76" fmla="*/ 892 w 1044"/>
              <a:gd name="T77" fmla="*/ 904 h 1058"/>
              <a:gd name="T78" fmla="*/ 941 w 1044"/>
              <a:gd name="T79" fmla="*/ 847 h 1058"/>
              <a:gd name="T80" fmla="*/ 982 w 1044"/>
              <a:gd name="T81" fmla="*/ 782 h 1058"/>
              <a:gd name="T82" fmla="*/ 1013 w 1044"/>
              <a:gd name="T83" fmla="*/ 712 h 1058"/>
              <a:gd name="T84" fmla="*/ 1034 w 1044"/>
              <a:gd name="T85" fmla="*/ 636 h 1058"/>
              <a:gd name="T86" fmla="*/ 1043 w 1044"/>
              <a:gd name="T87" fmla="*/ 556 h 10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44" h="1058">
                <a:moveTo>
                  <a:pt x="1044" y="530"/>
                </a:moveTo>
                <a:lnTo>
                  <a:pt x="1044" y="530"/>
                </a:lnTo>
                <a:lnTo>
                  <a:pt x="1043" y="502"/>
                </a:lnTo>
                <a:lnTo>
                  <a:pt x="1042" y="476"/>
                </a:lnTo>
                <a:lnTo>
                  <a:pt x="1038" y="449"/>
                </a:lnTo>
                <a:lnTo>
                  <a:pt x="1034" y="423"/>
                </a:lnTo>
                <a:lnTo>
                  <a:pt x="1028" y="398"/>
                </a:lnTo>
                <a:lnTo>
                  <a:pt x="1022" y="372"/>
                </a:lnTo>
                <a:lnTo>
                  <a:pt x="1013" y="347"/>
                </a:lnTo>
                <a:lnTo>
                  <a:pt x="1003" y="324"/>
                </a:lnTo>
                <a:lnTo>
                  <a:pt x="993" y="300"/>
                </a:lnTo>
                <a:lnTo>
                  <a:pt x="982" y="277"/>
                </a:lnTo>
                <a:lnTo>
                  <a:pt x="969" y="256"/>
                </a:lnTo>
                <a:lnTo>
                  <a:pt x="955" y="234"/>
                </a:lnTo>
                <a:lnTo>
                  <a:pt x="941" y="213"/>
                </a:lnTo>
                <a:lnTo>
                  <a:pt x="925" y="193"/>
                </a:lnTo>
                <a:lnTo>
                  <a:pt x="908" y="174"/>
                </a:lnTo>
                <a:lnTo>
                  <a:pt x="892" y="156"/>
                </a:lnTo>
                <a:lnTo>
                  <a:pt x="873" y="138"/>
                </a:lnTo>
                <a:lnTo>
                  <a:pt x="854" y="121"/>
                </a:lnTo>
                <a:lnTo>
                  <a:pt x="835" y="105"/>
                </a:lnTo>
                <a:lnTo>
                  <a:pt x="815" y="91"/>
                </a:lnTo>
                <a:lnTo>
                  <a:pt x="793" y="77"/>
                </a:lnTo>
                <a:lnTo>
                  <a:pt x="771" y="64"/>
                </a:lnTo>
                <a:lnTo>
                  <a:pt x="748" y="52"/>
                </a:lnTo>
                <a:lnTo>
                  <a:pt x="725" y="43"/>
                </a:lnTo>
                <a:lnTo>
                  <a:pt x="701" y="33"/>
                </a:lnTo>
                <a:lnTo>
                  <a:pt x="677" y="24"/>
                </a:lnTo>
                <a:lnTo>
                  <a:pt x="653" y="17"/>
                </a:lnTo>
                <a:lnTo>
                  <a:pt x="628" y="11"/>
                </a:lnTo>
                <a:lnTo>
                  <a:pt x="601" y="6"/>
                </a:lnTo>
                <a:lnTo>
                  <a:pt x="575" y="3"/>
                </a:lnTo>
                <a:lnTo>
                  <a:pt x="549" y="2"/>
                </a:lnTo>
                <a:lnTo>
                  <a:pt x="522" y="0"/>
                </a:lnTo>
                <a:lnTo>
                  <a:pt x="522" y="0"/>
                </a:lnTo>
                <a:lnTo>
                  <a:pt x="496" y="2"/>
                </a:lnTo>
                <a:lnTo>
                  <a:pt x="469" y="3"/>
                </a:lnTo>
                <a:lnTo>
                  <a:pt x="443" y="6"/>
                </a:lnTo>
                <a:lnTo>
                  <a:pt x="417" y="11"/>
                </a:lnTo>
                <a:lnTo>
                  <a:pt x="392" y="17"/>
                </a:lnTo>
                <a:lnTo>
                  <a:pt x="367" y="24"/>
                </a:lnTo>
                <a:lnTo>
                  <a:pt x="343" y="33"/>
                </a:lnTo>
                <a:lnTo>
                  <a:pt x="319" y="43"/>
                </a:lnTo>
                <a:lnTo>
                  <a:pt x="296" y="52"/>
                </a:lnTo>
                <a:lnTo>
                  <a:pt x="273" y="64"/>
                </a:lnTo>
                <a:lnTo>
                  <a:pt x="251" y="77"/>
                </a:lnTo>
                <a:lnTo>
                  <a:pt x="230" y="91"/>
                </a:lnTo>
                <a:lnTo>
                  <a:pt x="209" y="105"/>
                </a:lnTo>
                <a:lnTo>
                  <a:pt x="190" y="121"/>
                </a:lnTo>
                <a:lnTo>
                  <a:pt x="171" y="138"/>
                </a:lnTo>
                <a:lnTo>
                  <a:pt x="153" y="156"/>
                </a:lnTo>
                <a:lnTo>
                  <a:pt x="136" y="174"/>
                </a:lnTo>
                <a:lnTo>
                  <a:pt x="119" y="193"/>
                </a:lnTo>
                <a:lnTo>
                  <a:pt x="103" y="213"/>
                </a:lnTo>
                <a:lnTo>
                  <a:pt x="89" y="234"/>
                </a:lnTo>
                <a:lnTo>
                  <a:pt x="76" y="256"/>
                </a:lnTo>
                <a:lnTo>
                  <a:pt x="63" y="277"/>
                </a:lnTo>
                <a:lnTo>
                  <a:pt x="51" y="300"/>
                </a:lnTo>
                <a:lnTo>
                  <a:pt x="41" y="324"/>
                </a:lnTo>
                <a:lnTo>
                  <a:pt x="31" y="347"/>
                </a:lnTo>
                <a:lnTo>
                  <a:pt x="24" y="372"/>
                </a:lnTo>
                <a:lnTo>
                  <a:pt x="17" y="398"/>
                </a:lnTo>
                <a:lnTo>
                  <a:pt x="11" y="423"/>
                </a:lnTo>
                <a:lnTo>
                  <a:pt x="6" y="449"/>
                </a:lnTo>
                <a:lnTo>
                  <a:pt x="2" y="476"/>
                </a:lnTo>
                <a:lnTo>
                  <a:pt x="1" y="502"/>
                </a:lnTo>
                <a:lnTo>
                  <a:pt x="0" y="530"/>
                </a:lnTo>
                <a:lnTo>
                  <a:pt x="0" y="530"/>
                </a:lnTo>
                <a:lnTo>
                  <a:pt x="1" y="556"/>
                </a:lnTo>
                <a:lnTo>
                  <a:pt x="2" y="584"/>
                </a:lnTo>
                <a:lnTo>
                  <a:pt x="6" y="611"/>
                </a:lnTo>
                <a:lnTo>
                  <a:pt x="11" y="636"/>
                </a:lnTo>
                <a:lnTo>
                  <a:pt x="17" y="662"/>
                </a:lnTo>
                <a:lnTo>
                  <a:pt x="24" y="686"/>
                </a:lnTo>
                <a:lnTo>
                  <a:pt x="31" y="712"/>
                </a:lnTo>
                <a:lnTo>
                  <a:pt x="41" y="736"/>
                </a:lnTo>
                <a:lnTo>
                  <a:pt x="51" y="759"/>
                </a:lnTo>
                <a:lnTo>
                  <a:pt x="63" y="782"/>
                </a:lnTo>
                <a:lnTo>
                  <a:pt x="76" y="804"/>
                </a:lnTo>
                <a:lnTo>
                  <a:pt x="89" y="826"/>
                </a:lnTo>
                <a:lnTo>
                  <a:pt x="103" y="847"/>
                </a:lnTo>
                <a:lnTo>
                  <a:pt x="119" y="866"/>
                </a:lnTo>
                <a:lnTo>
                  <a:pt x="136" y="885"/>
                </a:lnTo>
                <a:lnTo>
                  <a:pt x="153" y="904"/>
                </a:lnTo>
                <a:lnTo>
                  <a:pt x="171" y="921"/>
                </a:lnTo>
                <a:lnTo>
                  <a:pt x="190" y="938"/>
                </a:lnTo>
                <a:lnTo>
                  <a:pt x="209" y="954"/>
                </a:lnTo>
                <a:lnTo>
                  <a:pt x="230" y="968"/>
                </a:lnTo>
                <a:lnTo>
                  <a:pt x="251" y="983"/>
                </a:lnTo>
                <a:lnTo>
                  <a:pt x="273" y="995"/>
                </a:lnTo>
                <a:lnTo>
                  <a:pt x="296" y="1007"/>
                </a:lnTo>
                <a:lnTo>
                  <a:pt x="319" y="1017"/>
                </a:lnTo>
                <a:lnTo>
                  <a:pt x="343" y="1027"/>
                </a:lnTo>
                <a:lnTo>
                  <a:pt x="367" y="1036"/>
                </a:lnTo>
                <a:lnTo>
                  <a:pt x="392" y="1043"/>
                </a:lnTo>
                <a:lnTo>
                  <a:pt x="417" y="1048"/>
                </a:lnTo>
                <a:lnTo>
                  <a:pt x="443" y="1052"/>
                </a:lnTo>
                <a:lnTo>
                  <a:pt x="469" y="1056"/>
                </a:lnTo>
                <a:lnTo>
                  <a:pt x="496" y="1058"/>
                </a:lnTo>
                <a:lnTo>
                  <a:pt x="522" y="1058"/>
                </a:lnTo>
                <a:lnTo>
                  <a:pt x="522" y="1058"/>
                </a:lnTo>
                <a:lnTo>
                  <a:pt x="549" y="1058"/>
                </a:lnTo>
                <a:lnTo>
                  <a:pt x="575" y="1056"/>
                </a:lnTo>
                <a:lnTo>
                  <a:pt x="601" y="1052"/>
                </a:lnTo>
                <a:lnTo>
                  <a:pt x="628" y="1048"/>
                </a:lnTo>
                <a:lnTo>
                  <a:pt x="653" y="1043"/>
                </a:lnTo>
                <a:lnTo>
                  <a:pt x="677" y="1036"/>
                </a:lnTo>
                <a:lnTo>
                  <a:pt x="701" y="1027"/>
                </a:lnTo>
                <a:lnTo>
                  <a:pt x="725" y="1017"/>
                </a:lnTo>
                <a:lnTo>
                  <a:pt x="748" y="1007"/>
                </a:lnTo>
                <a:lnTo>
                  <a:pt x="771" y="995"/>
                </a:lnTo>
                <a:lnTo>
                  <a:pt x="793" y="983"/>
                </a:lnTo>
                <a:lnTo>
                  <a:pt x="815" y="968"/>
                </a:lnTo>
                <a:lnTo>
                  <a:pt x="835" y="954"/>
                </a:lnTo>
                <a:lnTo>
                  <a:pt x="854" y="938"/>
                </a:lnTo>
                <a:lnTo>
                  <a:pt x="873" y="921"/>
                </a:lnTo>
                <a:lnTo>
                  <a:pt x="892" y="904"/>
                </a:lnTo>
                <a:lnTo>
                  <a:pt x="908" y="885"/>
                </a:lnTo>
                <a:lnTo>
                  <a:pt x="925" y="866"/>
                </a:lnTo>
                <a:lnTo>
                  <a:pt x="941" y="847"/>
                </a:lnTo>
                <a:lnTo>
                  <a:pt x="955" y="826"/>
                </a:lnTo>
                <a:lnTo>
                  <a:pt x="969" y="804"/>
                </a:lnTo>
                <a:lnTo>
                  <a:pt x="982" y="782"/>
                </a:lnTo>
                <a:lnTo>
                  <a:pt x="993" y="759"/>
                </a:lnTo>
                <a:lnTo>
                  <a:pt x="1003" y="736"/>
                </a:lnTo>
                <a:lnTo>
                  <a:pt x="1013" y="712"/>
                </a:lnTo>
                <a:lnTo>
                  <a:pt x="1022" y="686"/>
                </a:lnTo>
                <a:lnTo>
                  <a:pt x="1028" y="662"/>
                </a:lnTo>
                <a:lnTo>
                  <a:pt x="1034" y="636"/>
                </a:lnTo>
                <a:lnTo>
                  <a:pt x="1038" y="611"/>
                </a:lnTo>
                <a:lnTo>
                  <a:pt x="1042" y="584"/>
                </a:lnTo>
                <a:lnTo>
                  <a:pt x="1043" y="556"/>
                </a:lnTo>
                <a:lnTo>
                  <a:pt x="1044" y="530"/>
                </a:lnTo>
                <a:lnTo>
                  <a:pt x="1044" y="530"/>
                </a:lnTo>
                <a:close/>
              </a:path>
            </a:pathLst>
          </a:custGeom>
          <a:solidFill>
            <a:srgbClr val="0CD3F8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70" name="Freeform 227">
            <a:extLst>
              <a:ext uri="{FF2B5EF4-FFF2-40B4-BE49-F238E27FC236}">
                <a16:creationId xmlns:a16="http://schemas.microsoft.com/office/drawing/2014/main" id="{A75F8B21-95DA-4215-B5AE-C2C239AE5B27}"/>
              </a:ext>
            </a:extLst>
          </p:cNvPr>
          <p:cNvSpPr>
            <a:spLocks/>
          </p:cNvSpPr>
          <p:nvPr/>
        </p:nvSpPr>
        <p:spPr bwMode="auto">
          <a:xfrm>
            <a:off x="5637220" y="2856572"/>
            <a:ext cx="811585" cy="814732"/>
          </a:xfrm>
          <a:custGeom>
            <a:avLst/>
            <a:gdLst>
              <a:gd name="T0" fmla="*/ 518 w 518"/>
              <a:gd name="T1" fmla="*/ 259 h 518"/>
              <a:gd name="T2" fmla="*/ 513 w 518"/>
              <a:gd name="T3" fmla="*/ 207 h 518"/>
              <a:gd name="T4" fmla="*/ 497 w 518"/>
              <a:gd name="T5" fmla="*/ 158 h 518"/>
              <a:gd name="T6" fmla="*/ 474 w 518"/>
              <a:gd name="T7" fmla="*/ 114 h 518"/>
              <a:gd name="T8" fmla="*/ 442 w 518"/>
              <a:gd name="T9" fmla="*/ 76 h 518"/>
              <a:gd name="T10" fmla="*/ 403 w 518"/>
              <a:gd name="T11" fmla="*/ 45 h 518"/>
              <a:gd name="T12" fmla="*/ 360 w 518"/>
              <a:gd name="T13" fmla="*/ 20 h 518"/>
              <a:gd name="T14" fmla="*/ 311 w 518"/>
              <a:gd name="T15" fmla="*/ 5 h 518"/>
              <a:gd name="T16" fmla="*/ 259 w 518"/>
              <a:gd name="T17" fmla="*/ 0 h 518"/>
              <a:gd name="T18" fmla="*/ 233 w 518"/>
              <a:gd name="T19" fmla="*/ 1 h 518"/>
              <a:gd name="T20" fmla="*/ 182 w 518"/>
              <a:gd name="T21" fmla="*/ 11 h 518"/>
              <a:gd name="T22" fmla="*/ 136 w 518"/>
              <a:gd name="T23" fmla="*/ 31 h 518"/>
              <a:gd name="T24" fmla="*/ 94 w 518"/>
              <a:gd name="T25" fmla="*/ 59 h 518"/>
              <a:gd name="T26" fmla="*/ 59 w 518"/>
              <a:gd name="T27" fmla="*/ 94 h 518"/>
              <a:gd name="T28" fmla="*/ 32 w 518"/>
              <a:gd name="T29" fmla="*/ 135 h 518"/>
              <a:gd name="T30" fmla="*/ 12 w 518"/>
              <a:gd name="T31" fmla="*/ 182 h 518"/>
              <a:gd name="T32" fmla="*/ 1 w 518"/>
              <a:gd name="T33" fmla="*/ 232 h 518"/>
              <a:gd name="T34" fmla="*/ 0 w 518"/>
              <a:gd name="T35" fmla="*/ 259 h 518"/>
              <a:gd name="T36" fmla="*/ 5 w 518"/>
              <a:gd name="T37" fmla="*/ 311 h 518"/>
              <a:gd name="T38" fmla="*/ 21 w 518"/>
              <a:gd name="T39" fmla="*/ 360 h 518"/>
              <a:gd name="T40" fmla="*/ 45 w 518"/>
              <a:gd name="T41" fmla="*/ 403 h 518"/>
              <a:gd name="T42" fmla="*/ 76 w 518"/>
              <a:gd name="T43" fmla="*/ 442 h 518"/>
              <a:gd name="T44" fmla="*/ 115 w 518"/>
              <a:gd name="T45" fmla="*/ 474 h 518"/>
              <a:gd name="T46" fmla="*/ 158 w 518"/>
              <a:gd name="T47" fmla="*/ 497 h 518"/>
              <a:gd name="T48" fmla="*/ 207 w 518"/>
              <a:gd name="T49" fmla="*/ 513 h 518"/>
              <a:gd name="T50" fmla="*/ 259 w 518"/>
              <a:gd name="T51" fmla="*/ 518 h 518"/>
              <a:gd name="T52" fmla="*/ 286 w 518"/>
              <a:gd name="T53" fmla="*/ 516 h 518"/>
              <a:gd name="T54" fmla="*/ 336 w 518"/>
              <a:gd name="T55" fmla="*/ 507 h 518"/>
              <a:gd name="T56" fmla="*/ 383 w 518"/>
              <a:gd name="T57" fmla="*/ 486 h 518"/>
              <a:gd name="T58" fmla="*/ 424 w 518"/>
              <a:gd name="T59" fmla="*/ 459 h 518"/>
              <a:gd name="T60" fmla="*/ 459 w 518"/>
              <a:gd name="T61" fmla="*/ 424 h 518"/>
              <a:gd name="T62" fmla="*/ 487 w 518"/>
              <a:gd name="T63" fmla="*/ 383 h 518"/>
              <a:gd name="T64" fmla="*/ 507 w 518"/>
              <a:gd name="T65" fmla="*/ 336 h 518"/>
              <a:gd name="T66" fmla="*/ 517 w 518"/>
              <a:gd name="T67" fmla="*/ 285 h 518"/>
              <a:gd name="T68" fmla="*/ 518 w 518"/>
              <a:gd name="T69" fmla="*/ 259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8" h="518">
                <a:moveTo>
                  <a:pt x="518" y="259"/>
                </a:moveTo>
                <a:lnTo>
                  <a:pt x="518" y="259"/>
                </a:lnTo>
                <a:lnTo>
                  <a:pt x="517" y="232"/>
                </a:lnTo>
                <a:lnTo>
                  <a:pt x="513" y="207"/>
                </a:lnTo>
                <a:lnTo>
                  <a:pt x="507" y="182"/>
                </a:lnTo>
                <a:lnTo>
                  <a:pt x="497" y="158"/>
                </a:lnTo>
                <a:lnTo>
                  <a:pt x="487" y="135"/>
                </a:lnTo>
                <a:lnTo>
                  <a:pt x="474" y="114"/>
                </a:lnTo>
                <a:lnTo>
                  <a:pt x="459" y="94"/>
                </a:lnTo>
                <a:lnTo>
                  <a:pt x="442" y="76"/>
                </a:lnTo>
                <a:lnTo>
                  <a:pt x="424" y="59"/>
                </a:lnTo>
                <a:lnTo>
                  <a:pt x="403" y="45"/>
                </a:lnTo>
                <a:lnTo>
                  <a:pt x="383" y="31"/>
                </a:lnTo>
                <a:lnTo>
                  <a:pt x="360" y="20"/>
                </a:lnTo>
                <a:lnTo>
                  <a:pt x="336" y="11"/>
                </a:lnTo>
                <a:lnTo>
                  <a:pt x="311" y="5"/>
                </a:lnTo>
                <a:lnTo>
                  <a:pt x="286" y="1"/>
                </a:lnTo>
                <a:lnTo>
                  <a:pt x="259" y="0"/>
                </a:lnTo>
                <a:lnTo>
                  <a:pt x="259" y="0"/>
                </a:lnTo>
                <a:lnTo>
                  <a:pt x="233" y="1"/>
                </a:lnTo>
                <a:lnTo>
                  <a:pt x="207" y="5"/>
                </a:lnTo>
                <a:lnTo>
                  <a:pt x="182" y="11"/>
                </a:lnTo>
                <a:lnTo>
                  <a:pt x="158" y="20"/>
                </a:lnTo>
                <a:lnTo>
                  <a:pt x="136" y="31"/>
                </a:lnTo>
                <a:lnTo>
                  <a:pt x="115" y="45"/>
                </a:lnTo>
                <a:lnTo>
                  <a:pt x="94" y="59"/>
                </a:lnTo>
                <a:lnTo>
                  <a:pt x="76" y="76"/>
                </a:lnTo>
                <a:lnTo>
                  <a:pt x="59" y="94"/>
                </a:lnTo>
                <a:lnTo>
                  <a:pt x="45" y="114"/>
                </a:lnTo>
                <a:lnTo>
                  <a:pt x="32" y="135"/>
                </a:lnTo>
                <a:lnTo>
                  <a:pt x="21" y="158"/>
                </a:lnTo>
                <a:lnTo>
                  <a:pt x="12" y="182"/>
                </a:lnTo>
                <a:lnTo>
                  <a:pt x="5" y="207"/>
                </a:lnTo>
                <a:lnTo>
                  <a:pt x="1" y="232"/>
                </a:lnTo>
                <a:lnTo>
                  <a:pt x="0" y="259"/>
                </a:lnTo>
                <a:lnTo>
                  <a:pt x="0" y="259"/>
                </a:lnTo>
                <a:lnTo>
                  <a:pt x="1" y="285"/>
                </a:lnTo>
                <a:lnTo>
                  <a:pt x="5" y="311"/>
                </a:lnTo>
                <a:lnTo>
                  <a:pt x="12" y="336"/>
                </a:lnTo>
                <a:lnTo>
                  <a:pt x="21" y="360"/>
                </a:lnTo>
                <a:lnTo>
                  <a:pt x="32" y="383"/>
                </a:lnTo>
                <a:lnTo>
                  <a:pt x="45" y="403"/>
                </a:lnTo>
                <a:lnTo>
                  <a:pt x="59" y="424"/>
                </a:lnTo>
                <a:lnTo>
                  <a:pt x="76" y="442"/>
                </a:lnTo>
                <a:lnTo>
                  <a:pt x="94" y="459"/>
                </a:lnTo>
                <a:lnTo>
                  <a:pt x="115" y="474"/>
                </a:lnTo>
                <a:lnTo>
                  <a:pt x="136" y="486"/>
                </a:lnTo>
                <a:lnTo>
                  <a:pt x="158" y="497"/>
                </a:lnTo>
                <a:lnTo>
                  <a:pt x="182" y="507"/>
                </a:lnTo>
                <a:lnTo>
                  <a:pt x="207" y="513"/>
                </a:lnTo>
                <a:lnTo>
                  <a:pt x="233" y="516"/>
                </a:lnTo>
                <a:lnTo>
                  <a:pt x="259" y="518"/>
                </a:lnTo>
                <a:lnTo>
                  <a:pt x="259" y="518"/>
                </a:lnTo>
                <a:lnTo>
                  <a:pt x="286" y="516"/>
                </a:lnTo>
                <a:lnTo>
                  <a:pt x="311" y="513"/>
                </a:lnTo>
                <a:lnTo>
                  <a:pt x="336" y="507"/>
                </a:lnTo>
                <a:lnTo>
                  <a:pt x="360" y="497"/>
                </a:lnTo>
                <a:lnTo>
                  <a:pt x="383" y="486"/>
                </a:lnTo>
                <a:lnTo>
                  <a:pt x="403" y="474"/>
                </a:lnTo>
                <a:lnTo>
                  <a:pt x="424" y="459"/>
                </a:lnTo>
                <a:lnTo>
                  <a:pt x="442" y="442"/>
                </a:lnTo>
                <a:lnTo>
                  <a:pt x="459" y="424"/>
                </a:lnTo>
                <a:lnTo>
                  <a:pt x="474" y="403"/>
                </a:lnTo>
                <a:lnTo>
                  <a:pt x="487" y="383"/>
                </a:lnTo>
                <a:lnTo>
                  <a:pt x="497" y="360"/>
                </a:lnTo>
                <a:lnTo>
                  <a:pt x="507" y="336"/>
                </a:lnTo>
                <a:lnTo>
                  <a:pt x="513" y="311"/>
                </a:lnTo>
                <a:lnTo>
                  <a:pt x="517" y="285"/>
                </a:lnTo>
                <a:lnTo>
                  <a:pt x="518" y="259"/>
                </a:lnTo>
                <a:lnTo>
                  <a:pt x="518" y="259"/>
                </a:lnTo>
                <a:close/>
              </a:path>
            </a:pathLst>
          </a:custGeom>
          <a:solidFill>
            <a:srgbClr val="E6E7E8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71" name="Freeform 228">
            <a:extLst>
              <a:ext uri="{FF2B5EF4-FFF2-40B4-BE49-F238E27FC236}">
                <a16:creationId xmlns:a16="http://schemas.microsoft.com/office/drawing/2014/main" id="{FD12E383-D55D-43FD-9BAD-CD244F558A8D}"/>
              </a:ext>
            </a:extLst>
          </p:cNvPr>
          <p:cNvSpPr>
            <a:spLocks/>
          </p:cNvSpPr>
          <p:nvPr/>
        </p:nvSpPr>
        <p:spPr bwMode="auto">
          <a:xfrm>
            <a:off x="5807242" y="3035300"/>
            <a:ext cx="462964" cy="464862"/>
          </a:xfrm>
          <a:custGeom>
            <a:avLst/>
            <a:gdLst>
              <a:gd name="T0" fmla="*/ 488 w 488"/>
              <a:gd name="T1" fmla="*/ 245 h 489"/>
              <a:gd name="T2" fmla="*/ 484 w 488"/>
              <a:gd name="T3" fmla="*/ 195 h 489"/>
              <a:gd name="T4" fmla="*/ 469 w 488"/>
              <a:gd name="T5" fmla="*/ 150 h 489"/>
              <a:gd name="T6" fmla="*/ 446 w 488"/>
              <a:gd name="T7" fmla="*/ 109 h 489"/>
              <a:gd name="T8" fmla="*/ 417 w 488"/>
              <a:gd name="T9" fmla="*/ 73 h 489"/>
              <a:gd name="T10" fmla="*/ 381 w 488"/>
              <a:gd name="T11" fmla="*/ 43 h 489"/>
              <a:gd name="T12" fmla="*/ 339 w 488"/>
              <a:gd name="T13" fmla="*/ 20 h 489"/>
              <a:gd name="T14" fmla="*/ 293 w 488"/>
              <a:gd name="T15" fmla="*/ 5 h 489"/>
              <a:gd name="T16" fmla="*/ 244 w 488"/>
              <a:gd name="T17" fmla="*/ 0 h 489"/>
              <a:gd name="T18" fmla="*/ 219 w 488"/>
              <a:gd name="T19" fmla="*/ 2 h 489"/>
              <a:gd name="T20" fmla="*/ 172 w 488"/>
              <a:gd name="T21" fmla="*/ 11 h 489"/>
              <a:gd name="T22" fmla="*/ 127 w 488"/>
              <a:gd name="T23" fmla="*/ 31 h 489"/>
              <a:gd name="T24" fmla="*/ 89 w 488"/>
              <a:gd name="T25" fmla="*/ 56 h 489"/>
              <a:gd name="T26" fmla="*/ 56 w 488"/>
              <a:gd name="T27" fmla="*/ 90 h 489"/>
              <a:gd name="T28" fmla="*/ 30 w 488"/>
              <a:gd name="T29" fmla="*/ 128 h 489"/>
              <a:gd name="T30" fmla="*/ 11 w 488"/>
              <a:gd name="T31" fmla="*/ 173 h 489"/>
              <a:gd name="T32" fmla="*/ 1 w 488"/>
              <a:gd name="T33" fmla="*/ 219 h 489"/>
              <a:gd name="T34" fmla="*/ 0 w 488"/>
              <a:gd name="T35" fmla="*/ 245 h 489"/>
              <a:gd name="T36" fmla="*/ 5 w 488"/>
              <a:gd name="T37" fmla="*/ 294 h 489"/>
              <a:gd name="T38" fmla="*/ 19 w 488"/>
              <a:gd name="T39" fmla="*/ 340 h 489"/>
              <a:gd name="T40" fmla="*/ 42 w 488"/>
              <a:gd name="T41" fmla="*/ 381 h 489"/>
              <a:gd name="T42" fmla="*/ 72 w 488"/>
              <a:gd name="T43" fmla="*/ 418 h 489"/>
              <a:gd name="T44" fmla="*/ 108 w 488"/>
              <a:gd name="T45" fmla="*/ 447 h 489"/>
              <a:gd name="T46" fmla="*/ 149 w 488"/>
              <a:gd name="T47" fmla="*/ 470 h 489"/>
              <a:gd name="T48" fmla="*/ 195 w 488"/>
              <a:gd name="T49" fmla="*/ 484 h 489"/>
              <a:gd name="T50" fmla="*/ 244 w 488"/>
              <a:gd name="T51" fmla="*/ 489 h 489"/>
              <a:gd name="T52" fmla="*/ 269 w 488"/>
              <a:gd name="T53" fmla="*/ 488 h 489"/>
              <a:gd name="T54" fmla="*/ 316 w 488"/>
              <a:gd name="T55" fmla="*/ 478 h 489"/>
              <a:gd name="T56" fmla="*/ 361 w 488"/>
              <a:gd name="T57" fmla="*/ 459 h 489"/>
              <a:gd name="T58" fmla="*/ 399 w 488"/>
              <a:gd name="T59" fmla="*/ 434 h 489"/>
              <a:gd name="T60" fmla="*/ 433 w 488"/>
              <a:gd name="T61" fmla="*/ 400 h 489"/>
              <a:gd name="T62" fmla="*/ 458 w 488"/>
              <a:gd name="T63" fmla="*/ 362 h 489"/>
              <a:gd name="T64" fmla="*/ 478 w 488"/>
              <a:gd name="T65" fmla="*/ 317 h 489"/>
              <a:gd name="T66" fmla="*/ 487 w 488"/>
              <a:gd name="T67" fmla="*/ 270 h 489"/>
              <a:gd name="T68" fmla="*/ 488 w 488"/>
              <a:gd name="T69" fmla="*/ 245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88" h="489">
                <a:moveTo>
                  <a:pt x="488" y="245"/>
                </a:moveTo>
                <a:lnTo>
                  <a:pt x="488" y="245"/>
                </a:lnTo>
                <a:lnTo>
                  <a:pt x="487" y="219"/>
                </a:lnTo>
                <a:lnTo>
                  <a:pt x="484" y="195"/>
                </a:lnTo>
                <a:lnTo>
                  <a:pt x="478" y="173"/>
                </a:lnTo>
                <a:lnTo>
                  <a:pt x="469" y="150"/>
                </a:lnTo>
                <a:lnTo>
                  <a:pt x="458" y="128"/>
                </a:lnTo>
                <a:lnTo>
                  <a:pt x="446" y="109"/>
                </a:lnTo>
                <a:lnTo>
                  <a:pt x="433" y="90"/>
                </a:lnTo>
                <a:lnTo>
                  <a:pt x="417" y="73"/>
                </a:lnTo>
                <a:lnTo>
                  <a:pt x="399" y="56"/>
                </a:lnTo>
                <a:lnTo>
                  <a:pt x="381" y="43"/>
                </a:lnTo>
                <a:lnTo>
                  <a:pt x="361" y="31"/>
                </a:lnTo>
                <a:lnTo>
                  <a:pt x="339" y="20"/>
                </a:lnTo>
                <a:lnTo>
                  <a:pt x="316" y="11"/>
                </a:lnTo>
                <a:lnTo>
                  <a:pt x="293" y="5"/>
                </a:lnTo>
                <a:lnTo>
                  <a:pt x="269" y="2"/>
                </a:lnTo>
                <a:lnTo>
                  <a:pt x="244" y="0"/>
                </a:lnTo>
                <a:lnTo>
                  <a:pt x="244" y="0"/>
                </a:lnTo>
                <a:lnTo>
                  <a:pt x="219" y="2"/>
                </a:lnTo>
                <a:lnTo>
                  <a:pt x="195" y="5"/>
                </a:lnTo>
                <a:lnTo>
                  <a:pt x="172" y="11"/>
                </a:lnTo>
                <a:lnTo>
                  <a:pt x="149" y="20"/>
                </a:lnTo>
                <a:lnTo>
                  <a:pt x="127" y="31"/>
                </a:lnTo>
                <a:lnTo>
                  <a:pt x="108" y="43"/>
                </a:lnTo>
                <a:lnTo>
                  <a:pt x="89" y="56"/>
                </a:lnTo>
                <a:lnTo>
                  <a:pt x="72" y="73"/>
                </a:lnTo>
                <a:lnTo>
                  <a:pt x="56" y="90"/>
                </a:lnTo>
                <a:lnTo>
                  <a:pt x="42" y="109"/>
                </a:lnTo>
                <a:lnTo>
                  <a:pt x="30" y="128"/>
                </a:lnTo>
                <a:lnTo>
                  <a:pt x="19" y="150"/>
                </a:lnTo>
                <a:lnTo>
                  <a:pt x="11" y="173"/>
                </a:lnTo>
                <a:lnTo>
                  <a:pt x="5" y="195"/>
                </a:lnTo>
                <a:lnTo>
                  <a:pt x="1" y="219"/>
                </a:lnTo>
                <a:lnTo>
                  <a:pt x="0" y="245"/>
                </a:lnTo>
                <a:lnTo>
                  <a:pt x="0" y="245"/>
                </a:lnTo>
                <a:lnTo>
                  <a:pt x="1" y="270"/>
                </a:lnTo>
                <a:lnTo>
                  <a:pt x="5" y="294"/>
                </a:lnTo>
                <a:lnTo>
                  <a:pt x="11" y="317"/>
                </a:lnTo>
                <a:lnTo>
                  <a:pt x="19" y="340"/>
                </a:lnTo>
                <a:lnTo>
                  <a:pt x="30" y="362"/>
                </a:lnTo>
                <a:lnTo>
                  <a:pt x="42" y="381"/>
                </a:lnTo>
                <a:lnTo>
                  <a:pt x="56" y="400"/>
                </a:lnTo>
                <a:lnTo>
                  <a:pt x="72" y="418"/>
                </a:lnTo>
                <a:lnTo>
                  <a:pt x="89" y="434"/>
                </a:lnTo>
                <a:lnTo>
                  <a:pt x="108" y="447"/>
                </a:lnTo>
                <a:lnTo>
                  <a:pt x="127" y="459"/>
                </a:lnTo>
                <a:lnTo>
                  <a:pt x="149" y="470"/>
                </a:lnTo>
                <a:lnTo>
                  <a:pt x="172" y="478"/>
                </a:lnTo>
                <a:lnTo>
                  <a:pt x="195" y="484"/>
                </a:lnTo>
                <a:lnTo>
                  <a:pt x="219" y="488"/>
                </a:lnTo>
                <a:lnTo>
                  <a:pt x="244" y="489"/>
                </a:lnTo>
                <a:lnTo>
                  <a:pt x="244" y="489"/>
                </a:lnTo>
                <a:lnTo>
                  <a:pt x="269" y="488"/>
                </a:lnTo>
                <a:lnTo>
                  <a:pt x="293" y="484"/>
                </a:lnTo>
                <a:lnTo>
                  <a:pt x="316" y="478"/>
                </a:lnTo>
                <a:lnTo>
                  <a:pt x="339" y="470"/>
                </a:lnTo>
                <a:lnTo>
                  <a:pt x="361" y="459"/>
                </a:lnTo>
                <a:lnTo>
                  <a:pt x="381" y="447"/>
                </a:lnTo>
                <a:lnTo>
                  <a:pt x="399" y="434"/>
                </a:lnTo>
                <a:lnTo>
                  <a:pt x="417" y="418"/>
                </a:lnTo>
                <a:lnTo>
                  <a:pt x="433" y="400"/>
                </a:lnTo>
                <a:lnTo>
                  <a:pt x="446" y="381"/>
                </a:lnTo>
                <a:lnTo>
                  <a:pt x="458" y="362"/>
                </a:lnTo>
                <a:lnTo>
                  <a:pt x="469" y="340"/>
                </a:lnTo>
                <a:lnTo>
                  <a:pt x="478" y="317"/>
                </a:lnTo>
                <a:lnTo>
                  <a:pt x="484" y="294"/>
                </a:lnTo>
                <a:lnTo>
                  <a:pt x="487" y="270"/>
                </a:lnTo>
                <a:lnTo>
                  <a:pt x="488" y="245"/>
                </a:lnTo>
                <a:lnTo>
                  <a:pt x="488" y="245"/>
                </a:lnTo>
                <a:close/>
              </a:path>
            </a:pathLst>
          </a:custGeom>
          <a:solidFill>
            <a:srgbClr val="6D32FF"/>
          </a:solidFill>
          <a:ln w="9525">
            <a:noFill/>
            <a:prstDash val="dash"/>
            <a:round/>
            <a:headEnd/>
            <a:tailEnd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75" name="Freeform 229">
            <a:extLst>
              <a:ext uri="{FF2B5EF4-FFF2-40B4-BE49-F238E27FC236}">
                <a16:creationId xmlns:a16="http://schemas.microsoft.com/office/drawing/2014/main" id="{FD9E9FE1-6DB9-40A4-A4AA-6CFF783557D9}"/>
              </a:ext>
            </a:extLst>
          </p:cNvPr>
          <p:cNvSpPr>
            <a:spLocks/>
          </p:cNvSpPr>
          <p:nvPr/>
        </p:nvSpPr>
        <p:spPr bwMode="auto">
          <a:xfrm>
            <a:off x="6010784" y="3241187"/>
            <a:ext cx="75438" cy="89407"/>
          </a:xfrm>
          <a:custGeom>
            <a:avLst/>
            <a:gdLst>
              <a:gd name="T0" fmla="*/ 55 w 55"/>
              <a:gd name="T1" fmla="*/ 32 h 64"/>
              <a:gd name="T2" fmla="*/ 55 w 55"/>
              <a:gd name="T3" fmla="*/ 32 h 64"/>
              <a:gd name="T4" fmla="*/ 55 w 55"/>
              <a:gd name="T5" fmla="*/ 38 h 64"/>
              <a:gd name="T6" fmla="*/ 54 w 55"/>
              <a:gd name="T7" fmla="*/ 44 h 64"/>
              <a:gd name="T8" fmla="*/ 50 w 55"/>
              <a:gd name="T9" fmla="*/ 50 h 64"/>
              <a:gd name="T10" fmla="*/ 48 w 55"/>
              <a:gd name="T11" fmla="*/ 55 h 64"/>
              <a:gd name="T12" fmla="*/ 43 w 55"/>
              <a:gd name="T13" fmla="*/ 59 h 64"/>
              <a:gd name="T14" fmla="*/ 38 w 55"/>
              <a:gd name="T15" fmla="*/ 61 h 64"/>
              <a:gd name="T16" fmla="*/ 33 w 55"/>
              <a:gd name="T17" fmla="*/ 64 h 64"/>
              <a:gd name="T18" fmla="*/ 27 w 55"/>
              <a:gd name="T19" fmla="*/ 64 h 64"/>
              <a:gd name="T20" fmla="*/ 27 w 55"/>
              <a:gd name="T21" fmla="*/ 64 h 64"/>
              <a:gd name="T22" fmla="*/ 21 w 55"/>
              <a:gd name="T23" fmla="*/ 64 h 64"/>
              <a:gd name="T24" fmla="*/ 16 w 55"/>
              <a:gd name="T25" fmla="*/ 61 h 64"/>
              <a:gd name="T26" fmla="*/ 12 w 55"/>
              <a:gd name="T27" fmla="*/ 59 h 64"/>
              <a:gd name="T28" fmla="*/ 8 w 55"/>
              <a:gd name="T29" fmla="*/ 55 h 64"/>
              <a:gd name="T30" fmla="*/ 4 w 55"/>
              <a:gd name="T31" fmla="*/ 50 h 64"/>
              <a:gd name="T32" fmla="*/ 2 w 55"/>
              <a:gd name="T33" fmla="*/ 44 h 64"/>
              <a:gd name="T34" fmla="*/ 0 w 55"/>
              <a:gd name="T35" fmla="*/ 38 h 64"/>
              <a:gd name="T36" fmla="*/ 0 w 55"/>
              <a:gd name="T37" fmla="*/ 32 h 64"/>
              <a:gd name="T38" fmla="*/ 0 w 55"/>
              <a:gd name="T39" fmla="*/ 32 h 64"/>
              <a:gd name="T40" fmla="*/ 0 w 55"/>
              <a:gd name="T41" fmla="*/ 26 h 64"/>
              <a:gd name="T42" fmla="*/ 2 w 55"/>
              <a:gd name="T43" fmla="*/ 20 h 64"/>
              <a:gd name="T44" fmla="*/ 4 w 55"/>
              <a:gd name="T45" fmla="*/ 14 h 64"/>
              <a:gd name="T46" fmla="*/ 8 w 55"/>
              <a:gd name="T47" fmla="*/ 9 h 64"/>
              <a:gd name="T48" fmla="*/ 12 w 55"/>
              <a:gd name="T49" fmla="*/ 6 h 64"/>
              <a:gd name="T50" fmla="*/ 16 w 55"/>
              <a:gd name="T51" fmla="*/ 2 h 64"/>
              <a:gd name="T52" fmla="*/ 21 w 55"/>
              <a:gd name="T53" fmla="*/ 1 h 64"/>
              <a:gd name="T54" fmla="*/ 27 w 55"/>
              <a:gd name="T55" fmla="*/ 0 h 64"/>
              <a:gd name="T56" fmla="*/ 27 w 55"/>
              <a:gd name="T57" fmla="*/ 0 h 64"/>
              <a:gd name="T58" fmla="*/ 33 w 55"/>
              <a:gd name="T59" fmla="*/ 1 h 64"/>
              <a:gd name="T60" fmla="*/ 38 w 55"/>
              <a:gd name="T61" fmla="*/ 2 h 64"/>
              <a:gd name="T62" fmla="*/ 43 w 55"/>
              <a:gd name="T63" fmla="*/ 6 h 64"/>
              <a:gd name="T64" fmla="*/ 48 w 55"/>
              <a:gd name="T65" fmla="*/ 9 h 64"/>
              <a:gd name="T66" fmla="*/ 50 w 55"/>
              <a:gd name="T67" fmla="*/ 14 h 64"/>
              <a:gd name="T68" fmla="*/ 54 w 55"/>
              <a:gd name="T69" fmla="*/ 20 h 64"/>
              <a:gd name="T70" fmla="*/ 55 w 55"/>
              <a:gd name="T71" fmla="*/ 26 h 64"/>
              <a:gd name="T72" fmla="*/ 55 w 55"/>
              <a:gd name="T73" fmla="*/ 32 h 64"/>
              <a:gd name="T74" fmla="*/ 55 w 55"/>
              <a:gd name="T75" fmla="*/ 3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5" h="64">
                <a:moveTo>
                  <a:pt x="55" y="32"/>
                </a:moveTo>
                <a:lnTo>
                  <a:pt x="55" y="32"/>
                </a:lnTo>
                <a:lnTo>
                  <a:pt x="55" y="38"/>
                </a:lnTo>
                <a:lnTo>
                  <a:pt x="54" y="44"/>
                </a:lnTo>
                <a:lnTo>
                  <a:pt x="50" y="50"/>
                </a:lnTo>
                <a:lnTo>
                  <a:pt x="48" y="55"/>
                </a:lnTo>
                <a:lnTo>
                  <a:pt x="43" y="59"/>
                </a:lnTo>
                <a:lnTo>
                  <a:pt x="38" y="61"/>
                </a:lnTo>
                <a:lnTo>
                  <a:pt x="33" y="64"/>
                </a:lnTo>
                <a:lnTo>
                  <a:pt x="27" y="64"/>
                </a:lnTo>
                <a:lnTo>
                  <a:pt x="27" y="64"/>
                </a:lnTo>
                <a:lnTo>
                  <a:pt x="21" y="64"/>
                </a:lnTo>
                <a:lnTo>
                  <a:pt x="16" y="61"/>
                </a:lnTo>
                <a:lnTo>
                  <a:pt x="12" y="59"/>
                </a:lnTo>
                <a:lnTo>
                  <a:pt x="8" y="55"/>
                </a:lnTo>
                <a:lnTo>
                  <a:pt x="4" y="50"/>
                </a:lnTo>
                <a:lnTo>
                  <a:pt x="2" y="44"/>
                </a:lnTo>
                <a:lnTo>
                  <a:pt x="0" y="38"/>
                </a:lnTo>
                <a:lnTo>
                  <a:pt x="0" y="32"/>
                </a:lnTo>
                <a:lnTo>
                  <a:pt x="0" y="32"/>
                </a:lnTo>
                <a:lnTo>
                  <a:pt x="0" y="26"/>
                </a:lnTo>
                <a:lnTo>
                  <a:pt x="2" y="20"/>
                </a:lnTo>
                <a:lnTo>
                  <a:pt x="4" y="14"/>
                </a:lnTo>
                <a:lnTo>
                  <a:pt x="8" y="9"/>
                </a:lnTo>
                <a:lnTo>
                  <a:pt x="12" y="6"/>
                </a:lnTo>
                <a:lnTo>
                  <a:pt x="16" y="2"/>
                </a:lnTo>
                <a:lnTo>
                  <a:pt x="21" y="1"/>
                </a:lnTo>
                <a:lnTo>
                  <a:pt x="27" y="0"/>
                </a:lnTo>
                <a:lnTo>
                  <a:pt x="27" y="0"/>
                </a:lnTo>
                <a:lnTo>
                  <a:pt x="33" y="1"/>
                </a:lnTo>
                <a:lnTo>
                  <a:pt x="38" y="2"/>
                </a:lnTo>
                <a:lnTo>
                  <a:pt x="43" y="6"/>
                </a:lnTo>
                <a:lnTo>
                  <a:pt x="48" y="9"/>
                </a:lnTo>
                <a:lnTo>
                  <a:pt x="50" y="14"/>
                </a:lnTo>
                <a:lnTo>
                  <a:pt x="54" y="20"/>
                </a:lnTo>
                <a:lnTo>
                  <a:pt x="55" y="26"/>
                </a:lnTo>
                <a:lnTo>
                  <a:pt x="55" y="32"/>
                </a:lnTo>
                <a:lnTo>
                  <a:pt x="55" y="32"/>
                </a:lnTo>
                <a:close/>
              </a:path>
            </a:pathLst>
          </a:custGeom>
          <a:solidFill>
            <a:srgbClr val="6D6E7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98" name="Rectangle 31">
            <a:extLst>
              <a:ext uri="{FF2B5EF4-FFF2-40B4-BE49-F238E27FC236}">
                <a16:creationId xmlns:a16="http://schemas.microsoft.com/office/drawing/2014/main" id="{AA419D1F-BC5D-42D9-8AD2-F35A51E7E208}"/>
              </a:ext>
            </a:extLst>
          </p:cNvPr>
          <p:cNvSpPr/>
          <p:nvPr/>
        </p:nvSpPr>
        <p:spPr>
          <a:xfrm>
            <a:off x="6048122" y="1866416"/>
            <a:ext cx="6239736" cy="332621"/>
          </a:xfrm>
          <a:prstGeom prst="rect">
            <a:avLst/>
          </a:prstGeom>
          <a:solidFill>
            <a:srgbClr val="28FF5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99" name="Freeform 226">
            <a:extLst>
              <a:ext uri="{FF2B5EF4-FFF2-40B4-BE49-F238E27FC236}">
                <a16:creationId xmlns:a16="http://schemas.microsoft.com/office/drawing/2014/main" id="{F409C5DD-DA8D-4B68-B84B-706201B8FEFB}"/>
              </a:ext>
            </a:extLst>
          </p:cNvPr>
          <p:cNvSpPr>
            <a:spLocks/>
          </p:cNvSpPr>
          <p:nvPr/>
        </p:nvSpPr>
        <p:spPr bwMode="auto">
          <a:xfrm rot="18927256">
            <a:off x="7180048" y="1900505"/>
            <a:ext cx="220324" cy="222058"/>
          </a:xfrm>
          <a:custGeom>
            <a:avLst/>
            <a:gdLst>
              <a:gd name="T0" fmla="*/ 168 w 255"/>
              <a:gd name="T1" fmla="*/ 24 h 256"/>
              <a:gd name="T2" fmla="*/ 9 w 255"/>
              <a:gd name="T3" fmla="*/ 0 h 256"/>
              <a:gd name="T4" fmla="*/ 9 w 255"/>
              <a:gd name="T5" fmla="*/ 0 h 256"/>
              <a:gd name="T6" fmla="*/ 5 w 255"/>
              <a:gd name="T7" fmla="*/ 0 h 256"/>
              <a:gd name="T8" fmla="*/ 1 w 255"/>
              <a:gd name="T9" fmla="*/ 1 h 256"/>
              <a:gd name="T10" fmla="*/ 0 w 255"/>
              <a:gd name="T11" fmla="*/ 5 h 256"/>
              <a:gd name="T12" fmla="*/ 0 w 255"/>
              <a:gd name="T13" fmla="*/ 10 h 256"/>
              <a:gd name="T14" fmla="*/ 24 w 255"/>
              <a:gd name="T15" fmla="*/ 168 h 256"/>
              <a:gd name="T16" fmla="*/ 24 w 255"/>
              <a:gd name="T17" fmla="*/ 168 h 256"/>
              <a:gd name="T18" fmla="*/ 25 w 255"/>
              <a:gd name="T19" fmla="*/ 172 h 256"/>
              <a:gd name="T20" fmla="*/ 27 w 255"/>
              <a:gd name="T21" fmla="*/ 177 h 256"/>
              <a:gd name="T22" fmla="*/ 27 w 255"/>
              <a:gd name="T23" fmla="*/ 177 h 256"/>
              <a:gd name="T24" fmla="*/ 32 w 255"/>
              <a:gd name="T25" fmla="*/ 180 h 256"/>
              <a:gd name="T26" fmla="*/ 37 w 255"/>
              <a:gd name="T27" fmla="*/ 183 h 256"/>
              <a:gd name="T28" fmla="*/ 77 w 255"/>
              <a:gd name="T29" fmla="*/ 143 h 256"/>
              <a:gd name="T30" fmla="*/ 190 w 255"/>
              <a:gd name="T31" fmla="*/ 256 h 256"/>
              <a:gd name="T32" fmla="*/ 255 w 255"/>
              <a:gd name="T33" fmla="*/ 190 h 256"/>
              <a:gd name="T34" fmla="*/ 143 w 255"/>
              <a:gd name="T35" fmla="*/ 77 h 256"/>
              <a:gd name="T36" fmla="*/ 181 w 255"/>
              <a:gd name="T37" fmla="*/ 38 h 256"/>
              <a:gd name="T38" fmla="*/ 181 w 255"/>
              <a:gd name="T39" fmla="*/ 38 h 256"/>
              <a:gd name="T40" fmla="*/ 180 w 255"/>
              <a:gd name="T41" fmla="*/ 32 h 256"/>
              <a:gd name="T42" fmla="*/ 177 w 255"/>
              <a:gd name="T43" fmla="*/ 29 h 256"/>
              <a:gd name="T44" fmla="*/ 173 w 255"/>
              <a:gd name="T45" fmla="*/ 25 h 256"/>
              <a:gd name="T46" fmla="*/ 168 w 255"/>
              <a:gd name="T47" fmla="*/ 24 h 256"/>
              <a:gd name="T48" fmla="*/ 168 w 255"/>
              <a:gd name="T49" fmla="*/ 24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5" h="256">
                <a:moveTo>
                  <a:pt x="168" y="24"/>
                </a:moveTo>
                <a:lnTo>
                  <a:pt x="9" y="0"/>
                </a:lnTo>
                <a:lnTo>
                  <a:pt x="9" y="0"/>
                </a:lnTo>
                <a:lnTo>
                  <a:pt x="5" y="0"/>
                </a:lnTo>
                <a:lnTo>
                  <a:pt x="1" y="1"/>
                </a:lnTo>
                <a:lnTo>
                  <a:pt x="0" y="5"/>
                </a:lnTo>
                <a:lnTo>
                  <a:pt x="0" y="10"/>
                </a:lnTo>
                <a:lnTo>
                  <a:pt x="24" y="168"/>
                </a:lnTo>
                <a:lnTo>
                  <a:pt x="24" y="168"/>
                </a:lnTo>
                <a:lnTo>
                  <a:pt x="25" y="172"/>
                </a:lnTo>
                <a:lnTo>
                  <a:pt x="27" y="177"/>
                </a:lnTo>
                <a:lnTo>
                  <a:pt x="27" y="177"/>
                </a:lnTo>
                <a:lnTo>
                  <a:pt x="32" y="180"/>
                </a:lnTo>
                <a:lnTo>
                  <a:pt x="37" y="183"/>
                </a:lnTo>
                <a:lnTo>
                  <a:pt x="77" y="143"/>
                </a:lnTo>
                <a:lnTo>
                  <a:pt x="190" y="256"/>
                </a:lnTo>
                <a:lnTo>
                  <a:pt x="255" y="190"/>
                </a:lnTo>
                <a:lnTo>
                  <a:pt x="143" y="77"/>
                </a:lnTo>
                <a:lnTo>
                  <a:pt x="181" y="38"/>
                </a:lnTo>
                <a:lnTo>
                  <a:pt x="181" y="38"/>
                </a:lnTo>
                <a:lnTo>
                  <a:pt x="180" y="32"/>
                </a:lnTo>
                <a:lnTo>
                  <a:pt x="177" y="29"/>
                </a:lnTo>
                <a:lnTo>
                  <a:pt x="173" y="25"/>
                </a:lnTo>
                <a:lnTo>
                  <a:pt x="168" y="24"/>
                </a:lnTo>
                <a:lnTo>
                  <a:pt x="168" y="24"/>
                </a:lnTo>
                <a:close/>
              </a:path>
            </a:pathLst>
          </a:custGeom>
          <a:solidFill>
            <a:srgbClr val="212E3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00" name="Rectangle 32">
            <a:extLst>
              <a:ext uri="{FF2B5EF4-FFF2-40B4-BE49-F238E27FC236}">
                <a16:creationId xmlns:a16="http://schemas.microsoft.com/office/drawing/2014/main" id="{71112A75-A026-40E7-8984-F9EC12A3C503}"/>
              </a:ext>
            </a:extLst>
          </p:cNvPr>
          <p:cNvSpPr/>
          <p:nvPr/>
        </p:nvSpPr>
        <p:spPr>
          <a:xfrm>
            <a:off x="-12595" y="2841944"/>
            <a:ext cx="5615459" cy="334689"/>
          </a:xfrm>
          <a:prstGeom prst="rect">
            <a:avLst/>
          </a:prstGeom>
          <a:solidFill>
            <a:srgbClr val="0CD3F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01" name="Freeform 226">
            <a:extLst>
              <a:ext uri="{FF2B5EF4-FFF2-40B4-BE49-F238E27FC236}">
                <a16:creationId xmlns:a16="http://schemas.microsoft.com/office/drawing/2014/main" id="{438093EB-C846-4841-ADB3-EE673E9A581D}"/>
              </a:ext>
            </a:extLst>
          </p:cNvPr>
          <p:cNvSpPr>
            <a:spLocks/>
          </p:cNvSpPr>
          <p:nvPr/>
        </p:nvSpPr>
        <p:spPr bwMode="auto">
          <a:xfrm rot="2672744" flipH="1">
            <a:off x="4996367" y="2895768"/>
            <a:ext cx="220324" cy="222058"/>
          </a:xfrm>
          <a:custGeom>
            <a:avLst/>
            <a:gdLst>
              <a:gd name="T0" fmla="*/ 168 w 255"/>
              <a:gd name="T1" fmla="*/ 24 h 256"/>
              <a:gd name="T2" fmla="*/ 9 w 255"/>
              <a:gd name="T3" fmla="*/ 0 h 256"/>
              <a:gd name="T4" fmla="*/ 9 w 255"/>
              <a:gd name="T5" fmla="*/ 0 h 256"/>
              <a:gd name="T6" fmla="*/ 5 w 255"/>
              <a:gd name="T7" fmla="*/ 0 h 256"/>
              <a:gd name="T8" fmla="*/ 1 w 255"/>
              <a:gd name="T9" fmla="*/ 1 h 256"/>
              <a:gd name="T10" fmla="*/ 0 w 255"/>
              <a:gd name="T11" fmla="*/ 5 h 256"/>
              <a:gd name="T12" fmla="*/ 0 w 255"/>
              <a:gd name="T13" fmla="*/ 10 h 256"/>
              <a:gd name="T14" fmla="*/ 24 w 255"/>
              <a:gd name="T15" fmla="*/ 168 h 256"/>
              <a:gd name="T16" fmla="*/ 24 w 255"/>
              <a:gd name="T17" fmla="*/ 168 h 256"/>
              <a:gd name="T18" fmla="*/ 25 w 255"/>
              <a:gd name="T19" fmla="*/ 172 h 256"/>
              <a:gd name="T20" fmla="*/ 27 w 255"/>
              <a:gd name="T21" fmla="*/ 177 h 256"/>
              <a:gd name="T22" fmla="*/ 27 w 255"/>
              <a:gd name="T23" fmla="*/ 177 h 256"/>
              <a:gd name="T24" fmla="*/ 32 w 255"/>
              <a:gd name="T25" fmla="*/ 180 h 256"/>
              <a:gd name="T26" fmla="*/ 37 w 255"/>
              <a:gd name="T27" fmla="*/ 183 h 256"/>
              <a:gd name="T28" fmla="*/ 77 w 255"/>
              <a:gd name="T29" fmla="*/ 143 h 256"/>
              <a:gd name="T30" fmla="*/ 190 w 255"/>
              <a:gd name="T31" fmla="*/ 256 h 256"/>
              <a:gd name="T32" fmla="*/ 255 w 255"/>
              <a:gd name="T33" fmla="*/ 190 h 256"/>
              <a:gd name="T34" fmla="*/ 143 w 255"/>
              <a:gd name="T35" fmla="*/ 77 h 256"/>
              <a:gd name="T36" fmla="*/ 181 w 255"/>
              <a:gd name="T37" fmla="*/ 38 h 256"/>
              <a:gd name="T38" fmla="*/ 181 w 255"/>
              <a:gd name="T39" fmla="*/ 38 h 256"/>
              <a:gd name="T40" fmla="*/ 180 w 255"/>
              <a:gd name="T41" fmla="*/ 32 h 256"/>
              <a:gd name="T42" fmla="*/ 177 w 255"/>
              <a:gd name="T43" fmla="*/ 29 h 256"/>
              <a:gd name="T44" fmla="*/ 173 w 255"/>
              <a:gd name="T45" fmla="*/ 25 h 256"/>
              <a:gd name="T46" fmla="*/ 168 w 255"/>
              <a:gd name="T47" fmla="*/ 24 h 256"/>
              <a:gd name="T48" fmla="*/ 168 w 255"/>
              <a:gd name="T49" fmla="*/ 24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5" h="256">
                <a:moveTo>
                  <a:pt x="168" y="24"/>
                </a:moveTo>
                <a:lnTo>
                  <a:pt x="9" y="0"/>
                </a:lnTo>
                <a:lnTo>
                  <a:pt x="9" y="0"/>
                </a:lnTo>
                <a:lnTo>
                  <a:pt x="5" y="0"/>
                </a:lnTo>
                <a:lnTo>
                  <a:pt x="1" y="1"/>
                </a:lnTo>
                <a:lnTo>
                  <a:pt x="0" y="5"/>
                </a:lnTo>
                <a:lnTo>
                  <a:pt x="0" y="10"/>
                </a:lnTo>
                <a:lnTo>
                  <a:pt x="24" y="168"/>
                </a:lnTo>
                <a:lnTo>
                  <a:pt x="24" y="168"/>
                </a:lnTo>
                <a:lnTo>
                  <a:pt x="25" y="172"/>
                </a:lnTo>
                <a:lnTo>
                  <a:pt x="27" y="177"/>
                </a:lnTo>
                <a:lnTo>
                  <a:pt x="27" y="177"/>
                </a:lnTo>
                <a:lnTo>
                  <a:pt x="32" y="180"/>
                </a:lnTo>
                <a:lnTo>
                  <a:pt x="37" y="183"/>
                </a:lnTo>
                <a:lnTo>
                  <a:pt x="77" y="143"/>
                </a:lnTo>
                <a:lnTo>
                  <a:pt x="190" y="256"/>
                </a:lnTo>
                <a:lnTo>
                  <a:pt x="255" y="190"/>
                </a:lnTo>
                <a:lnTo>
                  <a:pt x="143" y="77"/>
                </a:lnTo>
                <a:lnTo>
                  <a:pt x="181" y="38"/>
                </a:lnTo>
                <a:lnTo>
                  <a:pt x="181" y="38"/>
                </a:lnTo>
                <a:lnTo>
                  <a:pt x="180" y="32"/>
                </a:lnTo>
                <a:lnTo>
                  <a:pt x="177" y="29"/>
                </a:lnTo>
                <a:lnTo>
                  <a:pt x="173" y="25"/>
                </a:lnTo>
                <a:lnTo>
                  <a:pt x="168" y="24"/>
                </a:lnTo>
                <a:lnTo>
                  <a:pt x="168" y="24"/>
                </a:lnTo>
                <a:close/>
              </a:path>
            </a:pathLst>
          </a:custGeom>
          <a:solidFill>
            <a:srgbClr val="212E3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02" name="Freeform 226">
            <a:extLst>
              <a:ext uri="{FF2B5EF4-FFF2-40B4-BE49-F238E27FC236}">
                <a16:creationId xmlns:a16="http://schemas.microsoft.com/office/drawing/2014/main" id="{65BA3B4C-ADA3-4766-B35C-B8A84A378D30}"/>
              </a:ext>
            </a:extLst>
          </p:cNvPr>
          <p:cNvSpPr>
            <a:spLocks/>
          </p:cNvSpPr>
          <p:nvPr/>
        </p:nvSpPr>
        <p:spPr bwMode="auto">
          <a:xfrm rot="18924015" flipH="1">
            <a:off x="5935786" y="4666783"/>
            <a:ext cx="220324" cy="222058"/>
          </a:xfrm>
          <a:custGeom>
            <a:avLst/>
            <a:gdLst>
              <a:gd name="T0" fmla="*/ 168 w 255"/>
              <a:gd name="T1" fmla="*/ 24 h 256"/>
              <a:gd name="T2" fmla="*/ 9 w 255"/>
              <a:gd name="T3" fmla="*/ 0 h 256"/>
              <a:gd name="T4" fmla="*/ 9 w 255"/>
              <a:gd name="T5" fmla="*/ 0 h 256"/>
              <a:gd name="T6" fmla="*/ 5 w 255"/>
              <a:gd name="T7" fmla="*/ 0 h 256"/>
              <a:gd name="T8" fmla="*/ 1 w 255"/>
              <a:gd name="T9" fmla="*/ 1 h 256"/>
              <a:gd name="T10" fmla="*/ 0 w 255"/>
              <a:gd name="T11" fmla="*/ 5 h 256"/>
              <a:gd name="T12" fmla="*/ 0 w 255"/>
              <a:gd name="T13" fmla="*/ 10 h 256"/>
              <a:gd name="T14" fmla="*/ 24 w 255"/>
              <a:gd name="T15" fmla="*/ 168 h 256"/>
              <a:gd name="T16" fmla="*/ 24 w 255"/>
              <a:gd name="T17" fmla="*/ 168 h 256"/>
              <a:gd name="T18" fmla="*/ 25 w 255"/>
              <a:gd name="T19" fmla="*/ 172 h 256"/>
              <a:gd name="T20" fmla="*/ 27 w 255"/>
              <a:gd name="T21" fmla="*/ 177 h 256"/>
              <a:gd name="T22" fmla="*/ 27 w 255"/>
              <a:gd name="T23" fmla="*/ 177 h 256"/>
              <a:gd name="T24" fmla="*/ 32 w 255"/>
              <a:gd name="T25" fmla="*/ 180 h 256"/>
              <a:gd name="T26" fmla="*/ 37 w 255"/>
              <a:gd name="T27" fmla="*/ 183 h 256"/>
              <a:gd name="T28" fmla="*/ 77 w 255"/>
              <a:gd name="T29" fmla="*/ 143 h 256"/>
              <a:gd name="T30" fmla="*/ 190 w 255"/>
              <a:gd name="T31" fmla="*/ 256 h 256"/>
              <a:gd name="T32" fmla="*/ 255 w 255"/>
              <a:gd name="T33" fmla="*/ 190 h 256"/>
              <a:gd name="T34" fmla="*/ 143 w 255"/>
              <a:gd name="T35" fmla="*/ 77 h 256"/>
              <a:gd name="T36" fmla="*/ 181 w 255"/>
              <a:gd name="T37" fmla="*/ 38 h 256"/>
              <a:gd name="T38" fmla="*/ 181 w 255"/>
              <a:gd name="T39" fmla="*/ 38 h 256"/>
              <a:gd name="T40" fmla="*/ 180 w 255"/>
              <a:gd name="T41" fmla="*/ 32 h 256"/>
              <a:gd name="T42" fmla="*/ 177 w 255"/>
              <a:gd name="T43" fmla="*/ 29 h 256"/>
              <a:gd name="T44" fmla="*/ 173 w 255"/>
              <a:gd name="T45" fmla="*/ 25 h 256"/>
              <a:gd name="T46" fmla="*/ 168 w 255"/>
              <a:gd name="T47" fmla="*/ 24 h 256"/>
              <a:gd name="T48" fmla="*/ 168 w 255"/>
              <a:gd name="T49" fmla="*/ 24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5" h="256">
                <a:moveTo>
                  <a:pt x="168" y="24"/>
                </a:moveTo>
                <a:lnTo>
                  <a:pt x="9" y="0"/>
                </a:lnTo>
                <a:lnTo>
                  <a:pt x="9" y="0"/>
                </a:lnTo>
                <a:lnTo>
                  <a:pt x="5" y="0"/>
                </a:lnTo>
                <a:lnTo>
                  <a:pt x="1" y="1"/>
                </a:lnTo>
                <a:lnTo>
                  <a:pt x="0" y="5"/>
                </a:lnTo>
                <a:lnTo>
                  <a:pt x="0" y="10"/>
                </a:lnTo>
                <a:lnTo>
                  <a:pt x="24" y="168"/>
                </a:lnTo>
                <a:lnTo>
                  <a:pt x="24" y="168"/>
                </a:lnTo>
                <a:lnTo>
                  <a:pt x="25" y="172"/>
                </a:lnTo>
                <a:lnTo>
                  <a:pt x="27" y="177"/>
                </a:lnTo>
                <a:lnTo>
                  <a:pt x="27" y="177"/>
                </a:lnTo>
                <a:lnTo>
                  <a:pt x="32" y="180"/>
                </a:lnTo>
                <a:lnTo>
                  <a:pt x="37" y="183"/>
                </a:lnTo>
                <a:lnTo>
                  <a:pt x="77" y="143"/>
                </a:lnTo>
                <a:lnTo>
                  <a:pt x="190" y="256"/>
                </a:lnTo>
                <a:lnTo>
                  <a:pt x="255" y="190"/>
                </a:lnTo>
                <a:lnTo>
                  <a:pt x="143" y="77"/>
                </a:lnTo>
                <a:lnTo>
                  <a:pt x="181" y="38"/>
                </a:lnTo>
                <a:lnTo>
                  <a:pt x="181" y="38"/>
                </a:lnTo>
                <a:lnTo>
                  <a:pt x="180" y="32"/>
                </a:lnTo>
                <a:lnTo>
                  <a:pt x="177" y="29"/>
                </a:lnTo>
                <a:lnTo>
                  <a:pt x="173" y="25"/>
                </a:lnTo>
                <a:lnTo>
                  <a:pt x="168" y="24"/>
                </a:lnTo>
                <a:lnTo>
                  <a:pt x="168" y="24"/>
                </a:lnTo>
                <a:close/>
              </a:path>
            </a:pathLst>
          </a:custGeom>
          <a:solidFill>
            <a:srgbClr val="4454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04" name="Rectangle 33">
            <a:extLst>
              <a:ext uri="{FF2B5EF4-FFF2-40B4-BE49-F238E27FC236}">
                <a16:creationId xmlns:a16="http://schemas.microsoft.com/office/drawing/2014/main" id="{775BBC22-B3AA-430A-8B1B-A45E923FD928}"/>
              </a:ext>
            </a:extLst>
          </p:cNvPr>
          <p:cNvSpPr/>
          <p:nvPr/>
        </p:nvSpPr>
        <p:spPr>
          <a:xfrm>
            <a:off x="5867636" y="4015116"/>
            <a:ext cx="361734" cy="2842884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03" name="Rectangle 50">
            <a:extLst>
              <a:ext uri="{FF2B5EF4-FFF2-40B4-BE49-F238E27FC236}">
                <a16:creationId xmlns:a16="http://schemas.microsoft.com/office/drawing/2014/main" id="{FE31D0F1-B216-4C59-B4A5-8D9EAE917F31}"/>
              </a:ext>
            </a:extLst>
          </p:cNvPr>
          <p:cNvSpPr/>
          <p:nvPr/>
        </p:nvSpPr>
        <p:spPr>
          <a:xfrm rot="16200000">
            <a:off x="4977257" y="5784895"/>
            <a:ext cx="21373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373F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Gestão RISE P&amp;D</a:t>
            </a:r>
          </a:p>
        </p:txBody>
      </p:sp>
      <p:sp>
        <p:nvSpPr>
          <p:cNvPr id="105" name="Freeform 226">
            <a:extLst>
              <a:ext uri="{FF2B5EF4-FFF2-40B4-BE49-F238E27FC236}">
                <a16:creationId xmlns:a16="http://schemas.microsoft.com/office/drawing/2014/main" id="{2D63979E-D8AF-49CB-BB52-3C79C1A7C39B}"/>
              </a:ext>
            </a:extLst>
          </p:cNvPr>
          <p:cNvSpPr>
            <a:spLocks/>
          </p:cNvSpPr>
          <p:nvPr/>
        </p:nvSpPr>
        <p:spPr bwMode="auto">
          <a:xfrm rot="18900000" flipH="1">
            <a:off x="5933345" y="4510962"/>
            <a:ext cx="220324" cy="222058"/>
          </a:xfrm>
          <a:custGeom>
            <a:avLst/>
            <a:gdLst>
              <a:gd name="T0" fmla="*/ 168 w 255"/>
              <a:gd name="T1" fmla="*/ 24 h 256"/>
              <a:gd name="T2" fmla="*/ 9 w 255"/>
              <a:gd name="T3" fmla="*/ 0 h 256"/>
              <a:gd name="T4" fmla="*/ 9 w 255"/>
              <a:gd name="T5" fmla="*/ 0 h 256"/>
              <a:gd name="T6" fmla="*/ 5 w 255"/>
              <a:gd name="T7" fmla="*/ 0 h 256"/>
              <a:gd name="T8" fmla="*/ 1 w 255"/>
              <a:gd name="T9" fmla="*/ 1 h 256"/>
              <a:gd name="T10" fmla="*/ 0 w 255"/>
              <a:gd name="T11" fmla="*/ 5 h 256"/>
              <a:gd name="T12" fmla="*/ 0 w 255"/>
              <a:gd name="T13" fmla="*/ 10 h 256"/>
              <a:gd name="T14" fmla="*/ 24 w 255"/>
              <a:gd name="T15" fmla="*/ 168 h 256"/>
              <a:gd name="T16" fmla="*/ 24 w 255"/>
              <a:gd name="T17" fmla="*/ 168 h 256"/>
              <a:gd name="T18" fmla="*/ 25 w 255"/>
              <a:gd name="T19" fmla="*/ 172 h 256"/>
              <a:gd name="T20" fmla="*/ 27 w 255"/>
              <a:gd name="T21" fmla="*/ 177 h 256"/>
              <a:gd name="T22" fmla="*/ 27 w 255"/>
              <a:gd name="T23" fmla="*/ 177 h 256"/>
              <a:gd name="T24" fmla="*/ 32 w 255"/>
              <a:gd name="T25" fmla="*/ 180 h 256"/>
              <a:gd name="T26" fmla="*/ 37 w 255"/>
              <a:gd name="T27" fmla="*/ 183 h 256"/>
              <a:gd name="T28" fmla="*/ 77 w 255"/>
              <a:gd name="T29" fmla="*/ 143 h 256"/>
              <a:gd name="T30" fmla="*/ 190 w 255"/>
              <a:gd name="T31" fmla="*/ 256 h 256"/>
              <a:gd name="T32" fmla="*/ 255 w 255"/>
              <a:gd name="T33" fmla="*/ 190 h 256"/>
              <a:gd name="T34" fmla="*/ 143 w 255"/>
              <a:gd name="T35" fmla="*/ 77 h 256"/>
              <a:gd name="T36" fmla="*/ 181 w 255"/>
              <a:gd name="T37" fmla="*/ 38 h 256"/>
              <a:gd name="T38" fmla="*/ 181 w 255"/>
              <a:gd name="T39" fmla="*/ 38 h 256"/>
              <a:gd name="T40" fmla="*/ 180 w 255"/>
              <a:gd name="T41" fmla="*/ 32 h 256"/>
              <a:gd name="T42" fmla="*/ 177 w 255"/>
              <a:gd name="T43" fmla="*/ 29 h 256"/>
              <a:gd name="T44" fmla="*/ 173 w 255"/>
              <a:gd name="T45" fmla="*/ 25 h 256"/>
              <a:gd name="T46" fmla="*/ 168 w 255"/>
              <a:gd name="T47" fmla="*/ 24 h 256"/>
              <a:gd name="T48" fmla="*/ 168 w 255"/>
              <a:gd name="T49" fmla="*/ 24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5" h="256">
                <a:moveTo>
                  <a:pt x="168" y="24"/>
                </a:moveTo>
                <a:lnTo>
                  <a:pt x="9" y="0"/>
                </a:lnTo>
                <a:lnTo>
                  <a:pt x="9" y="0"/>
                </a:lnTo>
                <a:lnTo>
                  <a:pt x="5" y="0"/>
                </a:lnTo>
                <a:lnTo>
                  <a:pt x="1" y="1"/>
                </a:lnTo>
                <a:lnTo>
                  <a:pt x="0" y="5"/>
                </a:lnTo>
                <a:lnTo>
                  <a:pt x="0" y="10"/>
                </a:lnTo>
                <a:lnTo>
                  <a:pt x="24" y="168"/>
                </a:lnTo>
                <a:lnTo>
                  <a:pt x="24" y="168"/>
                </a:lnTo>
                <a:lnTo>
                  <a:pt x="25" y="172"/>
                </a:lnTo>
                <a:lnTo>
                  <a:pt x="27" y="177"/>
                </a:lnTo>
                <a:lnTo>
                  <a:pt x="27" y="177"/>
                </a:lnTo>
                <a:lnTo>
                  <a:pt x="32" y="180"/>
                </a:lnTo>
                <a:lnTo>
                  <a:pt x="37" y="183"/>
                </a:lnTo>
                <a:lnTo>
                  <a:pt x="77" y="143"/>
                </a:lnTo>
                <a:lnTo>
                  <a:pt x="190" y="256"/>
                </a:lnTo>
                <a:lnTo>
                  <a:pt x="255" y="190"/>
                </a:lnTo>
                <a:lnTo>
                  <a:pt x="143" y="77"/>
                </a:lnTo>
                <a:lnTo>
                  <a:pt x="181" y="38"/>
                </a:lnTo>
                <a:lnTo>
                  <a:pt x="181" y="38"/>
                </a:lnTo>
                <a:lnTo>
                  <a:pt x="180" y="32"/>
                </a:lnTo>
                <a:lnTo>
                  <a:pt x="177" y="29"/>
                </a:lnTo>
                <a:lnTo>
                  <a:pt x="173" y="25"/>
                </a:lnTo>
                <a:lnTo>
                  <a:pt x="168" y="24"/>
                </a:lnTo>
                <a:lnTo>
                  <a:pt x="168" y="24"/>
                </a:lnTo>
                <a:close/>
              </a:path>
            </a:pathLst>
          </a:custGeom>
          <a:solidFill>
            <a:srgbClr val="212E3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08" name="Rectangle 50">
            <a:extLst>
              <a:ext uri="{FF2B5EF4-FFF2-40B4-BE49-F238E27FC236}">
                <a16:creationId xmlns:a16="http://schemas.microsoft.com/office/drawing/2014/main" id="{B5D629D8-32D6-4BD8-BF2B-3B50140A28AA}"/>
              </a:ext>
            </a:extLst>
          </p:cNvPr>
          <p:cNvSpPr/>
          <p:nvPr/>
        </p:nvSpPr>
        <p:spPr>
          <a:xfrm>
            <a:off x="1485386" y="2864961"/>
            <a:ext cx="296476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Roadmap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e cenários</a:t>
            </a:r>
          </a:p>
        </p:txBody>
      </p:sp>
      <p:sp>
        <p:nvSpPr>
          <p:cNvPr id="109" name="Rectangle 50">
            <a:extLst>
              <a:ext uri="{FF2B5EF4-FFF2-40B4-BE49-F238E27FC236}">
                <a16:creationId xmlns:a16="http://schemas.microsoft.com/office/drawing/2014/main" id="{C2AB1FC9-6181-42F7-B1FE-A2B60F1710CC}"/>
              </a:ext>
            </a:extLst>
          </p:cNvPr>
          <p:cNvSpPr/>
          <p:nvPr/>
        </p:nvSpPr>
        <p:spPr>
          <a:xfrm>
            <a:off x="7627298" y="1891260"/>
            <a:ext cx="21373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jeto Piloto</a:t>
            </a:r>
          </a:p>
        </p:txBody>
      </p:sp>
      <p:sp>
        <p:nvSpPr>
          <p:cNvPr id="110" name="CaixaDeTexto 109">
            <a:extLst>
              <a:ext uri="{FF2B5EF4-FFF2-40B4-BE49-F238E27FC236}">
                <a16:creationId xmlns:a16="http://schemas.microsoft.com/office/drawing/2014/main" id="{E06E6139-5F4B-4313-97E3-A8C91F2C220D}"/>
              </a:ext>
            </a:extLst>
          </p:cNvPr>
          <p:cNvSpPr txBox="1"/>
          <p:nvPr/>
        </p:nvSpPr>
        <p:spPr>
          <a:xfrm>
            <a:off x="3448782" y="5348266"/>
            <a:ext cx="23584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Atividades transversais no desenvolvimento e gestão do projeto de P&amp;D</a:t>
            </a:r>
          </a:p>
        </p:txBody>
      </p:sp>
      <p:sp>
        <p:nvSpPr>
          <p:cNvPr id="111" name="CaixaDeTexto 110">
            <a:extLst>
              <a:ext uri="{FF2B5EF4-FFF2-40B4-BE49-F238E27FC236}">
                <a16:creationId xmlns:a16="http://schemas.microsoft.com/office/drawing/2014/main" id="{FD32875F-114F-4ABE-98E6-CC9455B305AF}"/>
              </a:ext>
            </a:extLst>
          </p:cNvPr>
          <p:cNvSpPr txBox="1"/>
          <p:nvPr/>
        </p:nvSpPr>
        <p:spPr>
          <a:xfrm>
            <a:off x="1569163" y="3282098"/>
            <a:ext cx="28675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Desenvolver um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Roadmap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 com análise de Cenários 1, 10, 100 e 1000 MW na produção de gás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H</a:t>
            </a:r>
            <a:r>
              <a:rPr kumimoji="0" lang="pt-BR" sz="12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Arial"/>
            </a:endParaRPr>
          </a:p>
        </p:txBody>
      </p:sp>
      <p:sp>
        <p:nvSpPr>
          <p:cNvPr id="112" name="CaixaDeTexto 111">
            <a:extLst>
              <a:ext uri="{FF2B5EF4-FFF2-40B4-BE49-F238E27FC236}">
                <a16:creationId xmlns:a16="http://schemas.microsoft.com/office/drawing/2014/main" id="{9A886BAF-68C2-47D6-A8DE-E66716ED8483}"/>
              </a:ext>
            </a:extLst>
          </p:cNvPr>
          <p:cNvSpPr txBox="1"/>
          <p:nvPr/>
        </p:nvSpPr>
        <p:spPr>
          <a:xfrm>
            <a:off x="7627298" y="2298713"/>
            <a:ext cx="30142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Implantar Projeto Piloto em escala de MW considerando todos os elos a jusante e montante da  produção de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H</a:t>
            </a:r>
            <a:r>
              <a:rPr kumimoji="0" lang="pt-BR" sz="12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Arial"/>
            </a:endParaRPr>
          </a:p>
        </p:txBody>
      </p:sp>
      <p:sp>
        <p:nvSpPr>
          <p:cNvPr id="119" name="Rectangle 31">
            <a:extLst>
              <a:ext uri="{FF2B5EF4-FFF2-40B4-BE49-F238E27FC236}">
                <a16:creationId xmlns:a16="http://schemas.microsoft.com/office/drawing/2014/main" id="{E5EEDCBF-5B65-4607-90FC-9FB2FBE032B8}"/>
              </a:ext>
            </a:extLst>
          </p:cNvPr>
          <p:cNvSpPr/>
          <p:nvPr/>
        </p:nvSpPr>
        <p:spPr>
          <a:xfrm rot="1557117">
            <a:off x="5830660" y="3639645"/>
            <a:ext cx="2454348" cy="296623"/>
          </a:xfrm>
          <a:prstGeom prst="rect">
            <a:avLst/>
          </a:prstGeom>
          <a:solidFill>
            <a:srgbClr val="6D32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15" name="CaixaDeTexto 114">
            <a:extLst>
              <a:ext uri="{FF2B5EF4-FFF2-40B4-BE49-F238E27FC236}">
                <a16:creationId xmlns:a16="http://schemas.microsoft.com/office/drawing/2014/main" id="{C21F7492-DE5F-422E-9D47-F4E0E5CD6597}"/>
              </a:ext>
            </a:extLst>
          </p:cNvPr>
          <p:cNvSpPr txBox="1"/>
          <p:nvPr/>
        </p:nvSpPr>
        <p:spPr>
          <a:xfrm>
            <a:off x="8770246" y="4566169"/>
            <a:ext cx="3014274" cy="736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BUSINESS STRATEGY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Produzir a 1°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H</a:t>
            </a:r>
            <a:r>
              <a:rPr kumimoji="0" lang="pt-BR" sz="12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 Verde no HUB do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Pecém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 em dez/22</a:t>
            </a:r>
          </a:p>
        </p:txBody>
      </p:sp>
      <p:grpSp>
        <p:nvGrpSpPr>
          <p:cNvPr id="91" name="Group 30">
            <a:extLst>
              <a:ext uri="{FF2B5EF4-FFF2-40B4-BE49-F238E27FC236}">
                <a16:creationId xmlns:a16="http://schemas.microsoft.com/office/drawing/2014/main" id="{61275CC0-E068-4810-BF9E-EF7BA2741052}"/>
              </a:ext>
            </a:extLst>
          </p:cNvPr>
          <p:cNvGrpSpPr/>
          <p:nvPr/>
        </p:nvGrpSpPr>
        <p:grpSpPr>
          <a:xfrm>
            <a:off x="6010784" y="2497993"/>
            <a:ext cx="1014209" cy="832603"/>
            <a:chOff x="6010784" y="3315255"/>
            <a:chExt cx="1014209" cy="832603"/>
          </a:xfrm>
        </p:grpSpPr>
        <p:sp>
          <p:nvSpPr>
            <p:cNvPr id="92" name="Freeform 233">
              <a:extLst>
                <a:ext uri="{FF2B5EF4-FFF2-40B4-BE49-F238E27FC236}">
                  <a16:creationId xmlns:a16="http://schemas.microsoft.com/office/drawing/2014/main" id="{8AFF39BC-9E38-4DC4-91B9-6584A4304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164" y="3315255"/>
              <a:ext cx="349246" cy="463798"/>
            </a:xfrm>
            <a:custGeom>
              <a:avLst/>
              <a:gdLst>
                <a:gd name="T0" fmla="*/ 0 w 249"/>
                <a:gd name="T1" fmla="*/ 332 h 332"/>
                <a:gd name="T2" fmla="*/ 24 w 249"/>
                <a:gd name="T3" fmla="*/ 178 h 332"/>
                <a:gd name="T4" fmla="*/ 249 w 249"/>
                <a:gd name="T5" fmla="*/ 0 h 332"/>
                <a:gd name="T6" fmla="*/ 221 w 249"/>
                <a:gd name="T7" fmla="*/ 208 h 332"/>
                <a:gd name="T8" fmla="*/ 0 w 249"/>
                <a:gd name="T9" fmla="*/ 33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9" h="332">
                  <a:moveTo>
                    <a:pt x="0" y="332"/>
                  </a:moveTo>
                  <a:lnTo>
                    <a:pt x="24" y="178"/>
                  </a:lnTo>
                  <a:lnTo>
                    <a:pt x="249" y="0"/>
                  </a:lnTo>
                  <a:lnTo>
                    <a:pt x="221" y="208"/>
                  </a:lnTo>
                  <a:lnTo>
                    <a:pt x="0" y="332"/>
                  </a:lnTo>
                  <a:close/>
                </a:path>
              </a:pathLst>
            </a:custGeom>
            <a:solidFill>
              <a:srgbClr val="6D3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endParaRPr>
            </a:p>
          </p:txBody>
        </p:sp>
        <p:sp>
          <p:nvSpPr>
            <p:cNvPr id="93" name="Freeform 234">
              <a:extLst>
                <a:ext uri="{FF2B5EF4-FFF2-40B4-BE49-F238E27FC236}">
                  <a16:creationId xmlns:a16="http://schemas.microsoft.com/office/drawing/2014/main" id="{E03C2F5D-F16A-409C-B823-E813CEE80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8400" y="3834932"/>
              <a:ext cx="296160" cy="301748"/>
            </a:xfrm>
            <a:custGeom>
              <a:avLst/>
              <a:gdLst>
                <a:gd name="T0" fmla="*/ 6 w 213"/>
                <a:gd name="T1" fmla="*/ 78 h 215"/>
                <a:gd name="T2" fmla="*/ 0 w 213"/>
                <a:gd name="T3" fmla="*/ 173 h 215"/>
                <a:gd name="T4" fmla="*/ 178 w 213"/>
                <a:gd name="T5" fmla="*/ 215 h 215"/>
                <a:gd name="T6" fmla="*/ 213 w 213"/>
                <a:gd name="T7" fmla="*/ 0 h 215"/>
                <a:gd name="T8" fmla="*/ 6 w 213"/>
                <a:gd name="T9" fmla="*/ 7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" h="215">
                  <a:moveTo>
                    <a:pt x="6" y="78"/>
                  </a:moveTo>
                  <a:lnTo>
                    <a:pt x="0" y="173"/>
                  </a:lnTo>
                  <a:lnTo>
                    <a:pt x="178" y="215"/>
                  </a:lnTo>
                  <a:lnTo>
                    <a:pt x="213" y="0"/>
                  </a:lnTo>
                  <a:lnTo>
                    <a:pt x="6" y="78"/>
                  </a:lnTo>
                  <a:close/>
                </a:path>
              </a:pathLst>
            </a:custGeom>
            <a:solidFill>
              <a:srgbClr val="6D3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endParaRPr>
            </a:p>
          </p:txBody>
        </p:sp>
        <p:sp>
          <p:nvSpPr>
            <p:cNvPr id="94" name="Freeform 235">
              <a:extLst>
                <a:ext uri="{FF2B5EF4-FFF2-40B4-BE49-F238E27FC236}">
                  <a16:creationId xmlns:a16="http://schemas.microsoft.com/office/drawing/2014/main" id="{D3E3B96E-C488-49E6-86C1-C78E28E68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5295" y="3315255"/>
              <a:ext cx="64262" cy="290572"/>
            </a:xfrm>
            <a:custGeom>
              <a:avLst/>
              <a:gdLst>
                <a:gd name="T0" fmla="*/ 28 w 47"/>
                <a:gd name="T1" fmla="*/ 0 h 208"/>
                <a:gd name="T2" fmla="*/ 47 w 47"/>
                <a:gd name="T3" fmla="*/ 3 h 208"/>
                <a:gd name="T4" fmla="*/ 21 w 47"/>
                <a:gd name="T5" fmla="*/ 203 h 208"/>
                <a:gd name="T6" fmla="*/ 0 w 47"/>
                <a:gd name="T7" fmla="*/ 208 h 208"/>
                <a:gd name="T8" fmla="*/ 28 w 47"/>
                <a:gd name="T9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208">
                  <a:moveTo>
                    <a:pt x="28" y="0"/>
                  </a:moveTo>
                  <a:lnTo>
                    <a:pt x="47" y="3"/>
                  </a:lnTo>
                  <a:lnTo>
                    <a:pt x="21" y="203"/>
                  </a:lnTo>
                  <a:lnTo>
                    <a:pt x="0" y="208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44546A">
                <a:lumMod val="40000"/>
                <a:lumOff val="6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endParaRPr>
            </a:p>
          </p:txBody>
        </p:sp>
        <p:sp>
          <p:nvSpPr>
            <p:cNvPr id="95" name="Freeform 236">
              <a:extLst>
                <a:ext uri="{FF2B5EF4-FFF2-40B4-BE49-F238E27FC236}">
                  <a16:creationId xmlns:a16="http://schemas.microsoft.com/office/drawing/2014/main" id="{28ECD4E7-C4EF-40F7-BCD1-226F8CB53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7064" y="3826551"/>
              <a:ext cx="69850" cy="312924"/>
            </a:xfrm>
            <a:custGeom>
              <a:avLst/>
              <a:gdLst>
                <a:gd name="T0" fmla="*/ 35 w 51"/>
                <a:gd name="T1" fmla="*/ 6 h 223"/>
                <a:gd name="T2" fmla="*/ 0 w 51"/>
                <a:gd name="T3" fmla="*/ 221 h 223"/>
                <a:gd name="T4" fmla="*/ 15 w 51"/>
                <a:gd name="T5" fmla="*/ 223 h 223"/>
                <a:gd name="T6" fmla="*/ 51 w 51"/>
                <a:gd name="T7" fmla="*/ 0 h 223"/>
                <a:gd name="T8" fmla="*/ 49 w 51"/>
                <a:gd name="T9" fmla="*/ 0 h 223"/>
                <a:gd name="T10" fmla="*/ 35 w 51"/>
                <a:gd name="T11" fmla="*/ 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223">
                  <a:moveTo>
                    <a:pt x="35" y="6"/>
                  </a:moveTo>
                  <a:lnTo>
                    <a:pt x="0" y="221"/>
                  </a:lnTo>
                  <a:lnTo>
                    <a:pt x="15" y="223"/>
                  </a:lnTo>
                  <a:lnTo>
                    <a:pt x="51" y="0"/>
                  </a:lnTo>
                  <a:lnTo>
                    <a:pt x="49" y="0"/>
                  </a:lnTo>
                  <a:lnTo>
                    <a:pt x="35" y="6"/>
                  </a:lnTo>
                  <a:close/>
                </a:path>
              </a:pathLst>
            </a:custGeom>
            <a:solidFill>
              <a:srgbClr val="44546A">
                <a:lumMod val="40000"/>
                <a:lumOff val="6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endParaRPr>
            </a:p>
          </p:txBody>
        </p:sp>
        <p:sp>
          <p:nvSpPr>
            <p:cNvPr id="96" name="Freeform 237">
              <a:extLst>
                <a:ext uri="{FF2B5EF4-FFF2-40B4-BE49-F238E27FC236}">
                  <a16:creationId xmlns:a16="http://schemas.microsoft.com/office/drawing/2014/main" id="{AC96F788-917C-43EF-A21B-3A080FD2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0784" y="3597446"/>
              <a:ext cx="938771" cy="550412"/>
            </a:xfrm>
            <a:custGeom>
              <a:avLst/>
              <a:gdLst>
                <a:gd name="T0" fmla="*/ 671 w 671"/>
                <a:gd name="T1" fmla="*/ 150 h 394"/>
                <a:gd name="T2" fmla="*/ 629 w 671"/>
                <a:gd name="T3" fmla="*/ 0 h 394"/>
                <a:gd name="T4" fmla="*/ 23 w 671"/>
                <a:gd name="T5" fmla="*/ 331 h 394"/>
                <a:gd name="T6" fmla="*/ 23 w 671"/>
                <a:gd name="T7" fmla="*/ 331 h 394"/>
                <a:gd name="T8" fmla="*/ 14 w 671"/>
                <a:gd name="T9" fmla="*/ 335 h 394"/>
                <a:gd name="T10" fmla="*/ 8 w 671"/>
                <a:gd name="T11" fmla="*/ 341 h 394"/>
                <a:gd name="T12" fmla="*/ 2 w 671"/>
                <a:gd name="T13" fmla="*/ 348 h 394"/>
                <a:gd name="T14" fmla="*/ 1 w 671"/>
                <a:gd name="T15" fmla="*/ 351 h 394"/>
                <a:gd name="T16" fmla="*/ 0 w 671"/>
                <a:gd name="T17" fmla="*/ 356 h 394"/>
                <a:gd name="T18" fmla="*/ 0 w 671"/>
                <a:gd name="T19" fmla="*/ 356 h 394"/>
                <a:gd name="T20" fmla="*/ 0 w 671"/>
                <a:gd name="T21" fmla="*/ 362 h 394"/>
                <a:gd name="T22" fmla="*/ 0 w 671"/>
                <a:gd name="T23" fmla="*/ 369 h 394"/>
                <a:gd name="T24" fmla="*/ 2 w 671"/>
                <a:gd name="T25" fmla="*/ 374 h 394"/>
                <a:gd name="T26" fmla="*/ 6 w 671"/>
                <a:gd name="T27" fmla="*/ 380 h 394"/>
                <a:gd name="T28" fmla="*/ 9 w 671"/>
                <a:gd name="T29" fmla="*/ 385 h 394"/>
                <a:gd name="T30" fmla="*/ 14 w 671"/>
                <a:gd name="T31" fmla="*/ 389 h 394"/>
                <a:gd name="T32" fmla="*/ 20 w 671"/>
                <a:gd name="T33" fmla="*/ 391 h 394"/>
                <a:gd name="T34" fmla="*/ 26 w 671"/>
                <a:gd name="T35" fmla="*/ 394 h 394"/>
                <a:gd name="T36" fmla="*/ 26 w 671"/>
                <a:gd name="T37" fmla="*/ 394 h 394"/>
                <a:gd name="T38" fmla="*/ 33 w 671"/>
                <a:gd name="T39" fmla="*/ 392 h 394"/>
                <a:gd name="T40" fmla="*/ 41 w 671"/>
                <a:gd name="T41" fmla="*/ 391 h 394"/>
                <a:gd name="T42" fmla="*/ 49 w 671"/>
                <a:gd name="T43" fmla="*/ 389 h 394"/>
                <a:gd name="T44" fmla="*/ 671 w 671"/>
                <a:gd name="T45" fmla="*/ 15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1" h="394">
                  <a:moveTo>
                    <a:pt x="671" y="150"/>
                  </a:moveTo>
                  <a:lnTo>
                    <a:pt x="629" y="0"/>
                  </a:lnTo>
                  <a:lnTo>
                    <a:pt x="23" y="331"/>
                  </a:lnTo>
                  <a:lnTo>
                    <a:pt x="23" y="331"/>
                  </a:lnTo>
                  <a:lnTo>
                    <a:pt x="14" y="335"/>
                  </a:lnTo>
                  <a:lnTo>
                    <a:pt x="8" y="341"/>
                  </a:lnTo>
                  <a:lnTo>
                    <a:pt x="2" y="348"/>
                  </a:lnTo>
                  <a:lnTo>
                    <a:pt x="1" y="351"/>
                  </a:lnTo>
                  <a:lnTo>
                    <a:pt x="0" y="356"/>
                  </a:lnTo>
                  <a:lnTo>
                    <a:pt x="0" y="356"/>
                  </a:lnTo>
                  <a:lnTo>
                    <a:pt x="0" y="362"/>
                  </a:lnTo>
                  <a:lnTo>
                    <a:pt x="0" y="369"/>
                  </a:lnTo>
                  <a:lnTo>
                    <a:pt x="2" y="374"/>
                  </a:lnTo>
                  <a:lnTo>
                    <a:pt x="6" y="380"/>
                  </a:lnTo>
                  <a:lnTo>
                    <a:pt x="9" y="385"/>
                  </a:lnTo>
                  <a:lnTo>
                    <a:pt x="14" y="389"/>
                  </a:lnTo>
                  <a:lnTo>
                    <a:pt x="20" y="391"/>
                  </a:lnTo>
                  <a:lnTo>
                    <a:pt x="26" y="394"/>
                  </a:lnTo>
                  <a:lnTo>
                    <a:pt x="26" y="394"/>
                  </a:lnTo>
                  <a:lnTo>
                    <a:pt x="33" y="392"/>
                  </a:lnTo>
                  <a:lnTo>
                    <a:pt x="41" y="391"/>
                  </a:lnTo>
                  <a:lnTo>
                    <a:pt x="49" y="389"/>
                  </a:lnTo>
                  <a:lnTo>
                    <a:pt x="671" y="150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endParaRPr>
            </a:p>
          </p:txBody>
        </p:sp>
        <p:sp>
          <p:nvSpPr>
            <p:cNvPr id="97" name="Freeform 238">
              <a:extLst>
                <a:ext uri="{FF2B5EF4-FFF2-40B4-BE49-F238E27FC236}">
                  <a16:creationId xmlns:a16="http://schemas.microsoft.com/office/drawing/2014/main" id="{8E24508F-7137-4132-B79D-01721023E1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7797" y="3589064"/>
              <a:ext cx="187196" cy="223517"/>
            </a:xfrm>
            <a:custGeom>
              <a:avLst/>
              <a:gdLst>
                <a:gd name="T0" fmla="*/ 133 w 133"/>
                <a:gd name="T1" fmla="*/ 77 h 160"/>
                <a:gd name="T2" fmla="*/ 133 w 133"/>
                <a:gd name="T3" fmla="*/ 77 h 160"/>
                <a:gd name="T4" fmla="*/ 132 w 133"/>
                <a:gd name="T5" fmla="*/ 94 h 160"/>
                <a:gd name="T6" fmla="*/ 129 w 133"/>
                <a:gd name="T7" fmla="*/ 108 h 160"/>
                <a:gd name="T8" fmla="*/ 123 w 133"/>
                <a:gd name="T9" fmla="*/ 122 h 160"/>
                <a:gd name="T10" fmla="*/ 115 w 133"/>
                <a:gd name="T11" fmla="*/ 135 h 160"/>
                <a:gd name="T12" fmla="*/ 106 w 133"/>
                <a:gd name="T13" fmla="*/ 144 h 160"/>
                <a:gd name="T14" fmla="*/ 95 w 133"/>
                <a:gd name="T15" fmla="*/ 153 h 160"/>
                <a:gd name="T16" fmla="*/ 89 w 133"/>
                <a:gd name="T17" fmla="*/ 155 h 160"/>
                <a:gd name="T18" fmla="*/ 83 w 133"/>
                <a:gd name="T19" fmla="*/ 157 h 160"/>
                <a:gd name="T20" fmla="*/ 76 w 133"/>
                <a:gd name="T21" fmla="*/ 159 h 160"/>
                <a:gd name="T22" fmla="*/ 70 w 133"/>
                <a:gd name="T23" fmla="*/ 160 h 160"/>
                <a:gd name="T24" fmla="*/ 70 w 133"/>
                <a:gd name="T25" fmla="*/ 160 h 160"/>
                <a:gd name="T26" fmla="*/ 62 w 133"/>
                <a:gd name="T27" fmla="*/ 159 h 160"/>
                <a:gd name="T28" fmla="*/ 56 w 133"/>
                <a:gd name="T29" fmla="*/ 159 h 160"/>
                <a:gd name="T30" fmla="*/ 49 w 133"/>
                <a:gd name="T31" fmla="*/ 156 h 160"/>
                <a:gd name="T32" fmla="*/ 43 w 133"/>
                <a:gd name="T33" fmla="*/ 154 h 160"/>
                <a:gd name="T34" fmla="*/ 32 w 133"/>
                <a:gd name="T35" fmla="*/ 147 h 160"/>
                <a:gd name="T36" fmla="*/ 21 w 133"/>
                <a:gd name="T37" fmla="*/ 138 h 160"/>
                <a:gd name="T38" fmla="*/ 13 w 133"/>
                <a:gd name="T39" fmla="*/ 126 h 160"/>
                <a:gd name="T40" fmla="*/ 6 w 133"/>
                <a:gd name="T41" fmla="*/ 113 h 160"/>
                <a:gd name="T42" fmla="*/ 2 w 133"/>
                <a:gd name="T43" fmla="*/ 98 h 160"/>
                <a:gd name="T44" fmla="*/ 0 w 133"/>
                <a:gd name="T45" fmla="*/ 82 h 160"/>
                <a:gd name="T46" fmla="*/ 0 w 133"/>
                <a:gd name="T47" fmla="*/ 82 h 160"/>
                <a:gd name="T48" fmla="*/ 1 w 133"/>
                <a:gd name="T49" fmla="*/ 66 h 160"/>
                <a:gd name="T50" fmla="*/ 5 w 133"/>
                <a:gd name="T51" fmla="*/ 50 h 160"/>
                <a:gd name="T52" fmla="*/ 9 w 133"/>
                <a:gd name="T53" fmla="*/ 37 h 160"/>
                <a:gd name="T54" fmla="*/ 18 w 133"/>
                <a:gd name="T55" fmla="*/ 25 h 160"/>
                <a:gd name="T56" fmla="*/ 26 w 133"/>
                <a:gd name="T57" fmla="*/ 14 h 160"/>
                <a:gd name="T58" fmla="*/ 38 w 133"/>
                <a:gd name="T59" fmla="*/ 7 h 160"/>
                <a:gd name="T60" fmla="*/ 44 w 133"/>
                <a:gd name="T61" fmla="*/ 5 h 160"/>
                <a:gd name="T62" fmla="*/ 50 w 133"/>
                <a:gd name="T63" fmla="*/ 2 h 160"/>
                <a:gd name="T64" fmla="*/ 56 w 133"/>
                <a:gd name="T65" fmla="*/ 1 h 160"/>
                <a:gd name="T66" fmla="*/ 64 w 133"/>
                <a:gd name="T67" fmla="*/ 0 h 160"/>
                <a:gd name="T68" fmla="*/ 64 w 133"/>
                <a:gd name="T69" fmla="*/ 0 h 160"/>
                <a:gd name="T70" fmla="*/ 71 w 133"/>
                <a:gd name="T71" fmla="*/ 0 h 160"/>
                <a:gd name="T72" fmla="*/ 77 w 133"/>
                <a:gd name="T73" fmla="*/ 1 h 160"/>
                <a:gd name="T74" fmla="*/ 83 w 133"/>
                <a:gd name="T75" fmla="*/ 2 h 160"/>
                <a:gd name="T76" fmla="*/ 90 w 133"/>
                <a:gd name="T77" fmla="*/ 5 h 160"/>
                <a:gd name="T78" fmla="*/ 101 w 133"/>
                <a:gd name="T79" fmla="*/ 12 h 160"/>
                <a:gd name="T80" fmla="*/ 112 w 133"/>
                <a:gd name="T81" fmla="*/ 21 h 160"/>
                <a:gd name="T82" fmla="*/ 120 w 133"/>
                <a:gd name="T83" fmla="*/ 33 h 160"/>
                <a:gd name="T84" fmla="*/ 126 w 133"/>
                <a:gd name="T85" fmla="*/ 47 h 160"/>
                <a:gd name="T86" fmla="*/ 131 w 133"/>
                <a:gd name="T87" fmla="*/ 61 h 160"/>
                <a:gd name="T88" fmla="*/ 133 w 133"/>
                <a:gd name="T89" fmla="*/ 77 h 160"/>
                <a:gd name="T90" fmla="*/ 133 w 133"/>
                <a:gd name="T91" fmla="*/ 7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60">
                  <a:moveTo>
                    <a:pt x="133" y="77"/>
                  </a:moveTo>
                  <a:lnTo>
                    <a:pt x="133" y="77"/>
                  </a:lnTo>
                  <a:lnTo>
                    <a:pt x="132" y="94"/>
                  </a:lnTo>
                  <a:lnTo>
                    <a:pt x="129" y="108"/>
                  </a:lnTo>
                  <a:lnTo>
                    <a:pt x="123" y="122"/>
                  </a:lnTo>
                  <a:lnTo>
                    <a:pt x="115" y="135"/>
                  </a:lnTo>
                  <a:lnTo>
                    <a:pt x="106" y="144"/>
                  </a:lnTo>
                  <a:lnTo>
                    <a:pt x="95" y="153"/>
                  </a:lnTo>
                  <a:lnTo>
                    <a:pt x="89" y="155"/>
                  </a:lnTo>
                  <a:lnTo>
                    <a:pt x="83" y="157"/>
                  </a:lnTo>
                  <a:lnTo>
                    <a:pt x="76" y="159"/>
                  </a:lnTo>
                  <a:lnTo>
                    <a:pt x="70" y="160"/>
                  </a:lnTo>
                  <a:lnTo>
                    <a:pt x="70" y="160"/>
                  </a:lnTo>
                  <a:lnTo>
                    <a:pt x="62" y="159"/>
                  </a:lnTo>
                  <a:lnTo>
                    <a:pt x="56" y="159"/>
                  </a:lnTo>
                  <a:lnTo>
                    <a:pt x="49" y="156"/>
                  </a:lnTo>
                  <a:lnTo>
                    <a:pt x="43" y="154"/>
                  </a:lnTo>
                  <a:lnTo>
                    <a:pt x="32" y="147"/>
                  </a:lnTo>
                  <a:lnTo>
                    <a:pt x="21" y="138"/>
                  </a:lnTo>
                  <a:lnTo>
                    <a:pt x="13" y="126"/>
                  </a:lnTo>
                  <a:lnTo>
                    <a:pt x="6" y="113"/>
                  </a:lnTo>
                  <a:lnTo>
                    <a:pt x="2" y="98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1" y="66"/>
                  </a:lnTo>
                  <a:lnTo>
                    <a:pt x="5" y="50"/>
                  </a:lnTo>
                  <a:lnTo>
                    <a:pt x="9" y="37"/>
                  </a:lnTo>
                  <a:lnTo>
                    <a:pt x="18" y="25"/>
                  </a:lnTo>
                  <a:lnTo>
                    <a:pt x="26" y="14"/>
                  </a:lnTo>
                  <a:lnTo>
                    <a:pt x="38" y="7"/>
                  </a:lnTo>
                  <a:lnTo>
                    <a:pt x="44" y="5"/>
                  </a:lnTo>
                  <a:lnTo>
                    <a:pt x="50" y="2"/>
                  </a:lnTo>
                  <a:lnTo>
                    <a:pt x="56" y="1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71" y="0"/>
                  </a:lnTo>
                  <a:lnTo>
                    <a:pt x="77" y="1"/>
                  </a:lnTo>
                  <a:lnTo>
                    <a:pt x="83" y="2"/>
                  </a:lnTo>
                  <a:lnTo>
                    <a:pt x="90" y="5"/>
                  </a:lnTo>
                  <a:lnTo>
                    <a:pt x="101" y="12"/>
                  </a:lnTo>
                  <a:lnTo>
                    <a:pt x="112" y="21"/>
                  </a:lnTo>
                  <a:lnTo>
                    <a:pt x="120" y="33"/>
                  </a:lnTo>
                  <a:lnTo>
                    <a:pt x="126" y="47"/>
                  </a:lnTo>
                  <a:lnTo>
                    <a:pt x="131" y="61"/>
                  </a:lnTo>
                  <a:lnTo>
                    <a:pt x="133" y="77"/>
                  </a:lnTo>
                  <a:lnTo>
                    <a:pt x="133" y="77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endParaRPr>
            </a:p>
          </p:txBody>
        </p:sp>
      </p:grpSp>
      <p:sp>
        <p:nvSpPr>
          <p:cNvPr id="120" name="Rectangle 31">
            <a:extLst>
              <a:ext uri="{FF2B5EF4-FFF2-40B4-BE49-F238E27FC236}">
                <a16:creationId xmlns:a16="http://schemas.microsoft.com/office/drawing/2014/main" id="{7EAD87C1-4771-4818-8761-5A6FA20507C7}"/>
              </a:ext>
            </a:extLst>
          </p:cNvPr>
          <p:cNvSpPr/>
          <p:nvPr/>
        </p:nvSpPr>
        <p:spPr>
          <a:xfrm>
            <a:off x="8091561" y="4126863"/>
            <a:ext cx="4448350" cy="332621"/>
          </a:xfrm>
          <a:prstGeom prst="rect">
            <a:avLst/>
          </a:prstGeom>
          <a:solidFill>
            <a:srgbClr val="6D32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14" name="Rectangle 50">
            <a:extLst>
              <a:ext uri="{FF2B5EF4-FFF2-40B4-BE49-F238E27FC236}">
                <a16:creationId xmlns:a16="http://schemas.microsoft.com/office/drawing/2014/main" id="{92408EC6-A927-4C76-8E4D-50B6EC165D87}"/>
              </a:ext>
            </a:extLst>
          </p:cNvPr>
          <p:cNvSpPr/>
          <p:nvPr/>
        </p:nvSpPr>
        <p:spPr>
          <a:xfrm>
            <a:off x="8789296" y="4149191"/>
            <a:ext cx="21373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H</a:t>
            </a:r>
            <a:r>
              <a:rPr kumimoji="0" lang="pt-BR" sz="1400" b="1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V n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cém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1" name="Freeform 226">
            <a:extLst>
              <a:ext uri="{FF2B5EF4-FFF2-40B4-BE49-F238E27FC236}">
                <a16:creationId xmlns:a16="http://schemas.microsoft.com/office/drawing/2014/main" id="{4F6E982A-6BFF-4D31-9E47-AC6FA352B51F}"/>
              </a:ext>
            </a:extLst>
          </p:cNvPr>
          <p:cNvSpPr>
            <a:spLocks/>
          </p:cNvSpPr>
          <p:nvPr/>
        </p:nvSpPr>
        <p:spPr bwMode="auto">
          <a:xfrm rot="8100000">
            <a:off x="8407586" y="4192052"/>
            <a:ext cx="220324" cy="222058"/>
          </a:xfrm>
          <a:custGeom>
            <a:avLst/>
            <a:gdLst>
              <a:gd name="T0" fmla="*/ 168 w 255"/>
              <a:gd name="T1" fmla="*/ 24 h 256"/>
              <a:gd name="T2" fmla="*/ 9 w 255"/>
              <a:gd name="T3" fmla="*/ 0 h 256"/>
              <a:gd name="T4" fmla="*/ 9 w 255"/>
              <a:gd name="T5" fmla="*/ 0 h 256"/>
              <a:gd name="T6" fmla="*/ 5 w 255"/>
              <a:gd name="T7" fmla="*/ 0 h 256"/>
              <a:gd name="T8" fmla="*/ 1 w 255"/>
              <a:gd name="T9" fmla="*/ 1 h 256"/>
              <a:gd name="T10" fmla="*/ 0 w 255"/>
              <a:gd name="T11" fmla="*/ 5 h 256"/>
              <a:gd name="T12" fmla="*/ 0 w 255"/>
              <a:gd name="T13" fmla="*/ 10 h 256"/>
              <a:gd name="T14" fmla="*/ 24 w 255"/>
              <a:gd name="T15" fmla="*/ 168 h 256"/>
              <a:gd name="T16" fmla="*/ 24 w 255"/>
              <a:gd name="T17" fmla="*/ 168 h 256"/>
              <a:gd name="T18" fmla="*/ 25 w 255"/>
              <a:gd name="T19" fmla="*/ 172 h 256"/>
              <a:gd name="T20" fmla="*/ 27 w 255"/>
              <a:gd name="T21" fmla="*/ 177 h 256"/>
              <a:gd name="T22" fmla="*/ 27 w 255"/>
              <a:gd name="T23" fmla="*/ 177 h 256"/>
              <a:gd name="T24" fmla="*/ 32 w 255"/>
              <a:gd name="T25" fmla="*/ 180 h 256"/>
              <a:gd name="T26" fmla="*/ 37 w 255"/>
              <a:gd name="T27" fmla="*/ 183 h 256"/>
              <a:gd name="T28" fmla="*/ 77 w 255"/>
              <a:gd name="T29" fmla="*/ 143 h 256"/>
              <a:gd name="T30" fmla="*/ 190 w 255"/>
              <a:gd name="T31" fmla="*/ 256 h 256"/>
              <a:gd name="T32" fmla="*/ 255 w 255"/>
              <a:gd name="T33" fmla="*/ 190 h 256"/>
              <a:gd name="T34" fmla="*/ 143 w 255"/>
              <a:gd name="T35" fmla="*/ 77 h 256"/>
              <a:gd name="T36" fmla="*/ 181 w 255"/>
              <a:gd name="T37" fmla="*/ 38 h 256"/>
              <a:gd name="T38" fmla="*/ 181 w 255"/>
              <a:gd name="T39" fmla="*/ 38 h 256"/>
              <a:gd name="T40" fmla="*/ 180 w 255"/>
              <a:gd name="T41" fmla="*/ 32 h 256"/>
              <a:gd name="T42" fmla="*/ 177 w 255"/>
              <a:gd name="T43" fmla="*/ 29 h 256"/>
              <a:gd name="T44" fmla="*/ 173 w 255"/>
              <a:gd name="T45" fmla="*/ 25 h 256"/>
              <a:gd name="T46" fmla="*/ 168 w 255"/>
              <a:gd name="T47" fmla="*/ 24 h 256"/>
              <a:gd name="T48" fmla="*/ 168 w 255"/>
              <a:gd name="T49" fmla="*/ 24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5" h="256">
                <a:moveTo>
                  <a:pt x="168" y="24"/>
                </a:moveTo>
                <a:lnTo>
                  <a:pt x="9" y="0"/>
                </a:lnTo>
                <a:lnTo>
                  <a:pt x="9" y="0"/>
                </a:lnTo>
                <a:lnTo>
                  <a:pt x="5" y="0"/>
                </a:lnTo>
                <a:lnTo>
                  <a:pt x="1" y="1"/>
                </a:lnTo>
                <a:lnTo>
                  <a:pt x="0" y="5"/>
                </a:lnTo>
                <a:lnTo>
                  <a:pt x="0" y="10"/>
                </a:lnTo>
                <a:lnTo>
                  <a:pt x="24" y="168"/>
                </a:lnTo>
                <a:lnTo>
                  <a:pt x="24" y="168"/>
                </a:lnTo>
                <a:lnTo>
                  <a:pt x="25" y="172"/>
                </a:lnTo>
                <a:lnTo>
                  <a:pt x="27" y="177"/>
                </a:lnTo>
                <a:lnTo>
                  <a:pt x="27" y="177"/>
                </a:lnTo>
                <a:lnTo>
                  <a:pt x="32" y="180"/>
                </a:lnTo>
                <a:lnTo>
                  <a:pt x="37" y="183"/>
                </a:lnTo>
                <a:lnTo>
                  <a:pt x="77" y="143"/>
                </a:lnTo>
                <a:lnTo>
                  <a:pt x="190" y="256"/>
                </a:lnTo>
                <a:lnTo>
                  <a:pt x="255" y="190"/>
                </a:lnTo>
                <a:lnTo>
                  <a:pt x="143" y="77"/>
                </a:lnTo>
                <a:lnTo>
                  <a:pt x="181" y="38"/>
                </a:lnTo>
                <a:lnTo>
                  <a:pt x="181" y="38"/>
                </a:lnTo>
                <a:lnTo>
                  <a:pt x="180" y="32"/>
                </a:lnTo>
                <a:lnTo>
                  <a:pt x="177" y="29"/>
                </a:lnTo>
                <a:lnTo>
                  <a:pt x="173" y="25"/>
                </a:lnTo>
                <a:lnTo>
                  <a:pt x="168" y="24"/>
                </a:lnTo>
                <a:lnTo>
                  <a:pt x="168" y="24"/>
                </a:lnTo>
                <a:close/>
              </a:path>
            </a:pathLst>
          </a:custGeom>
          <a:solidFill>
            <a:srgbClr val="212E3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36A6C824-831A-8A74-2505-99BD67D7149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35000"/>
                    </a14:imgEffect>
                    <a14:imgEffect>
                      <a14:brightnessContrast bright="94000" contrast="100000"/>
                    </a14:imgEffect>
                  </a14:imgLayer>
                </a14:imgProps>
              </a:ext>
            </a:extLst>
          </a:blip>
          <a:srcRect t="24975" b="45757"/>
          <a:stretch/>
        </p:blipFill>
        <p:spPr>
          <a:xfrm>
            <a:off x="9982140" y="6115806"/>
            <a:ext cx="2128897" cy="619125"/>
          </a:xfrm>
          <a:prstGeom prst="rect">
            <a:avLst/>
          </a:prstGeom>
        </p:spPr>
      </p:pic>
      <p:pic>
        <p:nvPicPr>
          <p:cNvPr id="4" name="Picture 15">
            <a:extLst>
              <a:ext uri="{FF2B5EF4-FFF2-40B4-BE49-F238E27FC236}">
                <a16:creationId xmlns:a16="http://schemas.microsoft.com/office/drawing/2014/main" id="{7B461049-6B3A-C077-179D-E17F39894459}"/>
              </a:ext>
            </a:extLst>
          </p:cNvPr>
          <p:cNvPicPr>
            <a:picLocks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3" y="175551"/>
            <a:ext cx="889594" cy="32496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C2C5121-A5E3-87BE-25B2-C1E57A2FA2E3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10234127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28FF52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Objetivo geral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prstClr val="white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P&amp;D Geração</a:t>
            </a:r>
          </a:p>
        </p:txBody>
      </p:sp>
    </p:spTree>
    <p:extLst>
      <p:ext uri="{BB962C8B-B14F-4D97-AF65-F5344CB8AC3E}">
        <p14:creationId xmlns:p14="http://schemas.microsoft.com/office/powerpoint/2010/main" val="189375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44731"/>
    </mc:Choice>
    <mc:Fallback xmlns="">
      <p:transition advTm="4473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áfico 24">
            <a:extLst>
              <a:ext uri="{FF2B5EF4-FFF2-40B4-BE49-F238E27FC236}">
                <a16:creationId xmlns:a16="http://schemas.microsoft.com/office/drawing/2014/main" id="{00849EEF-1934-4F42-B17F-4E9580FB12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0646" y="1665131"/>
            <a:ext cx="2152718" cy="2152718"/>
          </a:xfrm>
          <a:prstGeom prst="rect">
            <a:avLst/>
          </a:prstGeom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</p:pic>
      <p:pic>
        <p:nvPicPr>
          <p:cNvPr id="33" name="Gráfico 32">
            <a:extLst>
              <a:ext uri="{FF2B5EF4-FFF2-40B4-BE49-F238E27FC236}">
                <a16:creationId xmlns:a16="http://schemas.microsoft.com/office/drawing/2014/main" id="{1C227D4D-6792-4523-ACA5-980FADF9F7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8355" y="2138397"/>
            <a:ext cx="1257300" cy="125730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24" name="Gráfico 24">
            <a:extLst>
              <a:ext uri="{FF2B5EF4-FFF2-40B4-BE49-F238E27FC236}">
                <a16:creationId xmlns:a16="http://schemas.microsoft.com/office/drawing/2014/main" id="{00849EEF-1934-4F42-B17F-4E9580FB12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94248" y="1626321"/>
            <a:ext cx="2152718" cy="2152718"/>
          </a:xfrm>
          <a:prstGeom prst="rect">
            <a:avLst/>
          </a:prstGeom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</p:pic>
      <p:pic>
        <p:nvPicPr>
          <p:cNvPr id="28" name="Gráfico 88">
            <a:extLst>
              <a:ext uri="{FF2B5EF4-FFF2-40B4-BE49-F238E27FC236}">
                <a16:creationId xmlns:a16="http://schemas.microsoft.com/office/drawing/2014/main" id="{2F193556-1A1E-47B6-BB29-3C8C76EFF5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14456" y="1609327"/>
            <a:ext cx="2152718" cy="2152718"/>
          </a:xfrm>
          <a:prstGeom prst="rect">
            <a:avLst/>
          </a:prstGeom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</p:pic>
      <p:pic>
        <p:nvPicPr>
          <p:cNvPr id="26" name="Gráfico 32">
            <a:extLst>
              <a:ext uri="{FF2B5EF4-FFF2-40B4-BE49-F238E27FC236}">
                <a16:creationId xmlns:a16="http://schemas.microsoft.com/office/drawing/2014/main" id="{1C227D4D-6792-4523-ACA5-980FADF9F7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41957" y="2099587"/>
            <a:ext cx="1257300" cy="125730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30" name="Gráfico 90">
            <a:extLst>
              <a:ext uri="{FF2B5EF4-FFF2-40B4-BE49-F238E27FC236}">
                <a16:creationId xmlns:a16="http://schemas.microsoft.com/office/drawing/2014/main" id="{5EBBCDEC-2794-45F1-83B3-47A4E0D265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62164" y="2083430"/>
            <a:ext cx="1257300" cy="125730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89" name="Gráfico 88">
            <a:extLst>
              <a:ext uri="{FF2B5EF4-FFF2-40B4-BE49-F238E27FC236}">
                <a16:creationId xmlns:a16="http://schemas.microsoft.com/office/drawing/2014/main" id="{2F193556-1A1E-47B6-BB29-3C8C76EFF5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455522" y="1648137"/>
            <a:ext cx="2152718" cy="2152718"/>
          </a:xfrm>
          <a:prstGeom prst="rect">
            <a:avLst/>
          </a:prstGeom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</p:pic>
      <p:pic>
        <p:nvPicPr>
          <p:cNvPr id="91" name="Gráfico 90">
            <a:extLst>
              <a:ext uri="{FF2B5EF4-FFF2-40B4-BE49-F238E27FC236}">
                <a16:creationId xmlns:a16="http://schemas.microsoft.com/office/drawing/2014/main" id="{5EBBCDEC-2794-45F1-83B3-47A4E0D265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03230" y="2122240"/>
            <a:ext cx="1257300" cy="1257300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88" name="Gráfico 87">
            <a:extLst>
              <a:ext uri="{FF2B5EF4-FFF2-40B4-BE49-F238E27FC236}">
                <a16:creationId xmlns:a16="http://schemas.microsoft.com/office/drawing/2014/main" id="{8694A2DE-A858-4707-A2BB-34ADC8AA7E5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0" y="2784504"/>
            <a:ext cx="12192000" cy="4073495"/>
          </a:xfrm>
          <a:prstGeom prst="rect">
            <a:avLst/>
          </a:prstGeom>
        </p:spPr>
      </p:pic>
      <p:grpSp>
        <p:nvGrpSpPr>
          <p:cNvPr id="13" name="Agrupar 12">
            <a:extLst>
              <a:ext uri="{FF2B5EF4-FFF2-40B4-BE49-F238E27FC236}">
                <a16:creationId xmlns:a16="http://schemas.microsoft.com/office/drawing/2014/main" id="{7723A728-333C-CBDB-3D4A-45768C1DAE5D}"/>
              </a:ext>
            </a:extLst>
          </p:cNvPr>
          <p:cNvGrpSpPr/>
          <p:nvPr/>
        </p:nvGrpSpPr>
        <p:grpSpPr>
          <a:xfrm>
            <a:off x="3271761" y="3105946"/>
            <a:ext cx="2594901" cy="2991512"/>
            <a:chOff x="810679" y="2909778"/>
            <a:chExt cx="2594901" cy="2991512"/>
          </a:xfrm>
        </p:grpSpPr>
        <p:pic>
          <p:nvPicPr>
            <p:cNvPr id="19" name="Gráfico 18">
              <a:extLst>
                <a:ext uri="{FF2B5EF4-FFF2-40B4-BE49-F238E27FC236}">
                  <a16:creationId xmlns:a16="http://schemas.microsoft.com/office/drawing/2014/main" id="{7C745C41-5078-4FD7-8634-F657144B8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333177" y="2909778"/>
              <a:ext cx="1415050" cy="584887"/>
            </a:xfrm>
            <a:prstGeom prst="rect">
              <a:avLst/>
            </a:prstGeom>
          </p:spPr>
        </p:pic>
        <p:sp>
          <p:nvSpPr>
            <p:cNvPr id="100" name="CaixaDeTexto 99">
              <a:extLst>
                <a:ext uri="{FF2B5EF4-FFF2-40B4-BE49-F238E27FC236}">
                  <a16:creationId xmlns:a16="http://schemas.microsoft.com/office/drawing/2014/main" id="{97B03F91-D7FD-4EBE-A015-00A60B6F6DD5}"/>
                </a:ext>
              </a:extLst>
            </p:cNvPr>
            <p:cNvSpPr txBox="1"/>
            <p:nvPr/>
          </p:nvSpPr>
          <p:spPr>
            <a:xfrm>
              <a:off x="810679" y="4137987"/>
              <a:ext cx="2594901" cy="17633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  <a:t>Plataforma de simulação </a:t>
              </a:r>
              <a:b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</a:b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  <a:t>para avaliação de cenários </a:t>
              </a:r>
              <a:b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</a:b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  <a:t>da escalabilidade </a:t>
              </a:r>
              <a:b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</a:b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  <a:t>da produção de H₂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  <a:t>Novo </a:t>
              </a: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  <a:t>modelo de negócio </a:t>
              </a:r>
              <a:b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</a:b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  <a:t>com abrangência </a:t>
              </a:r>
              <a:b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</a:b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  <a:t>e expansão do mercado </a:t>
              </a:r>
              <a:b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</a:br>
              <a:r>
                <a:rPr kumimoji="0" lang="pt-B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+mn-ea"/>
                  <a:cs typeface="Arial"/>
                </a:rPr>
                <a:t>de H2 nacional e internacional</a:t>
              </a:r>
            </a:p>
          </p:txBody>
        </p:sp>
        <p:sp>
          <p:nvSpPr>
            <p:cNvPr id="101" name="Rectangle 50">
              <a:extLst>
                <a:ext uri="{FF2B5EF4-FFF2-40B4-BE49-F238E27FC236}">
                  <a16:creationId xmlns:a16="http://schemas.microsoft.com/office/drawing/2014/main" id="{C38EAA9E-6F10-42D8-BCC8-7B056FAB7E5E}"/>
                </a:ext>
              </a:extLst>
            </p:cNvPr>
            <p:cNvSpPr/>
            <p:nvPr/>
          </p:nvSpPr>
          <p:spPr>
            <a:xfrm>
              <a:off x="810679" y="3583017"/>
              <a:ext cx="259490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24848"/>
                </a:buClr>
                <a:buSzTx/>
                <a:buFontTx/>
                <a:buNone/>
                <a:tabLst/>
                <a:defRPr/>
              </a:pPr>
              <a:r>
                <a:rPr kumimoji="0" lang="pt-B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abilidade econômica, setorial e mercadológica</a:t>
              </a:r>
            </a:p>
          </p:txBody>
        </p:sp>
      </p:grpSp>
      <p:pic>
        <p:nvPicPr>
          <p:cNvPr id="21" name="Gráfico 20">
            <a:extLst>
              <a:ext uri="{FF2B5EF4-FFF2-40B4-BE49-F238E27FC236}">
                <a16:creationId xmlns:a16="http://schemas.microsoft.com/office/drawing/2014/main" id="{53BB3568-C7B4-4747-A02F-7D91C2DF5CE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712864" y="3143678"/>
            <a:ext cx="1600556" cy="461610"/>
          </a:xfrm>
          <a:prstGeom prst="rect">
            <a:avLst/>
          </a:prstGeom>
        </p:spPr>
      </p:pic>
      <p:sp>
        <p:nvSpPr>
          <p:cNvPr id="34" name="CaixaDeTexto 33">
            <a:extLst>
              <a:ext uri="{FF2B5EF4-FFF2-40B4-BE49-F238E27FC236}">
                <a16:creationId xmlns:a16="http://schemas.microsoft.com/office/drawing/2014/main" id="{97B03F91-D7FD-4EBE-A015-00A60B6F6DD5}"/>
              </a:ext>
            </a:extLst>
          </p:cNvPr>
          <p:cNvSpPr txBox="1"/>
          <p:nvPr/>
        </p:nvSpPr>
        <p:spPr>
          <a:xfrm>
            <a:off x="6189960" y="4326918"/>
            <a:ext cx="2673901" cy="1933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3515" marR="0" lvl="0" indent="-1714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101600" algn="l"/>
              </a:tabLst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Sistema de controle de chama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para aplicações industriais</a:t>
            </a:r>
          </a:p>
          <a:p>
            <a:pPr marL="183515" marR="0" lvl="0" indent="-1714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Avaliação de equipamento de 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armazenamento de H₂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 tecnologia mais leve </a:t>
            </a:r>
            <a:b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e resistente</a:t>
            </a:r>
          </a:p>
          <a:p>
            <a:pPr marL="183515" marR="0" lvl="0" indent="-1714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101600" algn="l"/>
              </a:tabLst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Índice de avaliação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ergética </a:t>
            </a:r>
            <a:b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e um respectivo Selo de Sustentabilidade</a:t>
            </a:r>
          </a:p>
        </p:txBody>
      </p:sp>
      <p:sp>
        <p:nvSpPr>
          <p:cNvPr id="35" name="Rectangle 50">
            <a:extLst>
              <a:ext uri="{FF2B5EF4-FFF2-40B4-BE49-F238E27FC236}">
                <a16:creationId xmlns:a16="http://schemas.microsoft.com/office/drawing/2014/main" id="{C38EAA9E-6F10-42D8-BCC8-7B056FAB7E5E}"/>
              </a:ext>
            </a:extLst>
          </p:cNvPr>
          <p:cNvSpPr/>
          <p:nvPr/>
        </p:nvSpPr>
        <p:spPr>
          <a:xfrm>
            <a:off x="6229460" y="3784244"/>
            <a:ext cx="25949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Viabilidade técnica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97B03F91-D7FD-4EBE-A015-00A60B6F6DD5}"/>
              </a:ext>
            </a:extLst>
          </p:cNvPr>
          <p:cNvSpPr txBox="1"/>
          <p:nvPr/>
        </p:nvSpPr>
        <p:spPr>
          <a:xfrm>
            <a:off x="326312" y="4336041"/>
            <a:ext cx="2152718" cy="11054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3515" marR="0" lvl="0" indent="-1714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Projeto e construção </a:t>
            </a:r>
            <a:b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</a:b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de 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usina fotovoltaica </a:t>
            </a:r>
            <a:b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</a:b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de 3MWp</a:t>
            </a:r>
          </a:p>
          <a:p>
            <a:pPr marL="183515" marR="0" lvl="0" indent="-1714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101600" algn="l"/>
              </a:tabLst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Conexão da UFV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à </a:t>
            </a:r>
            <a:b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</a:b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UTE Pecém</a:t>
            </a:r>
          </a:p>
        </p:txBody>
      </p:sp>
      <p:sp>
        <p:nvSpPr>
          <p:cNvPr id="43" name="Rectangle 50">
            <a:extLst>
              <a:ext uri="{FF2B5EF4-FFF2-40B4-BE49-F238E27FC236}">
                <a16:creationId xmlns:a16="http://schemas.microsoft.com/office/drawing/2014/main" id="{C38EAA9E-6F10-42D8-BCC8-7B056FAB7E5E}"/>
              </a:ext>
            </a:extLst>
          </p:cNvPr>
          <p:cNvSpPr/>
          <p:nvPr/>
        </p:nvSpPr>
        <p:spPr>
          <a:xfrm>
            <a:off x="105221" y="3775535"/>
            <a:ext cx="25949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Fornecedo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Usin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Fotovoltaic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T Base Book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" name="Picture 2" descr="Agência Nacional de Energia Elétrica – Wikipédia, a enciclopédia livre">
            <a:extLst>
              <a:ext uri="{FF2B5EF4-FFF2-40B4-BE49-F238E27FC236}">
                <a16:creationId xmlns:a16="http://schemas.microsoft.com/office/drawing/2014/main" id="{F6C0C686-E613-EBE8-FD5D-5CE7FED3A7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5897" y="6086631"/>
            <a:ext cx="1768043" cy="66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CaixaDeTexto 35">
            <a:extLst>
              <a:ext uri="{FF2B5EF4-FFF2-40B4-BE49-F238E27FC236}">
                <a16:creationId xmlns:a16="http://schemas.microsoft.com/office/drawing/2014/main" id="{97B03F91-D7FD-4EBE-A015-00A60B6F6DD5}"/>
              </a:ext>
            </a:extLst>
          </p:cNvPr>
          <p:cNvSpPr txBox="1">
            <a:spLocks/>
          </p:cNvSpPr>
          <p:nvPr/>
        </p:nvSpPr>
        <p:spPr>
          <a:xfrm>
            <a:off x="9614454" y="4332336"/>
            <a:ext cx="2152718" cy="551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3515" marR="0" lvl="0" indent="-1714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101600" algn="l"/>
              </a:tabLst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Eletrólise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1,25 MW</a:t>
            </a:r>
          </a:p>
          <a:p>
            <a:pPr marL="183515" marR="0" lvl="0" indent="-17145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101600" algn="l"/>
              </a:tabLst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Parcerias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estratégicas</a:t>
            </a:r>
          </a:p>
        </p:txBody>
      </p:sp>
      <p:sp>
        <p:nvSpPr>
          <p:cNvPr id="41" name="Rectangle 50">
            <a:extLst>
              <a:ext uri="{FF2B5EF4-FFF2-40B4-BE49-F238E27FC236}">
                <a16:creationId xmlns:a16="http://schemas.microsoft.com/office/drawing/2014/main" id="{C38EAA9E-6F10-42D8-BCC8-7B056FAB7E5E}"/>
              </a:ext>
            </a:extLst>
          </p:cNvPr>
          <p:cNvSpPr/>
          <p:nvPr/>
        </p:nvSpPr>
        <p:spPr>
          <a:xfrm>
            <a:off x="9393363" y="3777002"/>
            <a:ext cx="25949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Fornecedo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Eletrólis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FT Base Book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6DAF2518-ADE7-4CE7-951B-2397C07EA31A}"/>
              </a:ext>
            </a:extLst>
          </p:cNvPr>
          <p:cNvGrpSpPr/>
          <p:nvPr/>
        </p:nvGrpSpPr>
        <p:grpSpPr>
          <a:xfrm>
            <a:off x="9811070" y="3105947"/>
            <a:ext cx="1759488" cy="626240"/>
            <a:chOff x="6692378" y="2978417"/>
            <a:chExt cx="1405640" cy="500299"/>
          </a:xfrm>
        </p:grpSpPr>
        <p:pic>
          <p:nvPicPr>
            <p:cNvPr id="23" name="Imagem 22" descr="Logotipo&#10;&#10;Descrição gerada automaticamente">
              <a:extLst>
                <a:ext uri="{FF2B5EF4-FFF2-40B4-BE49-F238E27FC236}">
                  <a16:creationId xmlns:a16="http://schemas.microsoft.com/office/drawing/2014/main" id="{1DB4BEC6-850C-437B-9925-1DDE6A192D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67" t="52189" r="9092" b="8181"/>
            <a:stretch/>
          </p:blipFill>
          <p:spPr>
            <a:xfrm>
              <a:off x="7110732" y="3026081"/>
              <a:ext cx="987286" cy="452635"/>
            </a:xfrm>
            <a:prstGeom prst="rect">
              <a:avLst/>
            </a:prstGeom>
          </p:spPr>
        </p:pic>
        <p:pic>
          <p:nvPicPr>
            <p:cNvPr id="8" name="Imagem 7" descr="Logotipo&#10;&#10;Descrição gerada automaticamente">
              <a:extLst>
                <a:ext uri="{FF2B5EF4-FFF2-40B4-BE49-F238E27FC236}">
                  <a16:creationId xmlns:a16="http://schemas.microsoft.com/office/drawing/2014/main" id="{F49D0446-EEF3-E6B6-B11F-307DCA1CB7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712" t="14968" r="30926" b="47617"/>
            <a:stretch/>
          </p:blipFill>
          <p:spPr>
            <a:xfrm>
              <a:off x="6692378" y="2978417"/>
              <a:ext cx="438150" cy="427323"/>
            </a:xfrm>
            <a:prstGeom prst="rect">
              <a:avLst/>
            </a:prstGeom>
          </p:spPr>
        </p:pic>
      </p:grpSp>
      <p:pic>
        <p:nvPicPr>
          <p:cNvPr id="11" name="Imagem 10">
            <a:extLst>
              <a:ext uri="{FF2B5EF4-FFF2-40B4-BE49-F238E27FC236}">
                <a16:creationId xmlns:a16="http://schemas.microsoft.com/office/drawing/2014/main" id="{D3D11537-0124-0FE1-989A-91E0137C8C89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t="24975" b="45757"/>
          <a:stretch/>
        </p:blipFill>
        <p:spPr>
          <a:xfrm>
            <a:off x="9982140" y="6115806"/>
            <a:ext cx="2128897" cy="619125"/>
          </a:xfrm>
          <a:prstGeom prst="rect">
            <a:avLst/>
          </a:prstGeom>
        </p:spPr>
      </p:pic>
      <p:grpSp>
        <p:nvGrpSpPr>
          <p:cNvPr id="20" name="Agrupar 19">
            <a:extLst>
              <a:ext uri="{FF2B5EF4-FFF2-40B4-BE49-F238E27FC236}">
                <a16:creationId xmlns:a16="http://schemas.microsoft.com/office/drawing/2014/main" id="{37B84553-AA05-9C93-E0E7-3EF41F2849D6}"/>
              </a:ext>
            </a:extLst>
          </p:cNvPr>
          <p:cNvGrpSpPr/>
          <p:nvPr/>
        </p:nvGrpSpPr>
        <p:grpSpPr>
          <a:xfrm>
            <a:off x="653537" y="3076916"/>
            <a:ext cx="1382118" cy="647780"/>
            <a:chOff x="419119" y="2894845"/>
            <a:chExt cx="1382118" cy="647780"/>
          </a:xfrm>
        </p:grpSpPr>
        <p:pic>
          <p:nvPicPr>
            <p:cNvPr id="2" name="Imagem 1" descr="Logotipo&#10;&#10;Descrição gerada automaticamente">
              <a:extLst>
                <a:ext uri="{FF2B5EF4-FFF2-40B4-BE49-F238E27FC236}">
                  <a16:creationId xmlns:a16="http://schemas.microsoft.com/office/drawing/2014/main" id="{CDDE8E7E-92E3-8489-5227-F0B5139410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877"/>
            <a:stretch/>
          </p:blipFill>
          <p:spPr>
            <a:xfrm>
              <a:off x="419119" y="2894845"/>
              <a:ext cx="616271" cy="605594"/>
            </a:xfrm>
            <a:prstGeom prst="rect">
              <a:avLst/>
            </a:prstGeom>
          </p:spPr>
        </p:pic>
        <p:pic>
          <p:nvPicPr>
            <p:cNvPr id="17" name="Imagem 16" descr="Logotipo&#10;&#10;Descrição gerada automaticamente">
              <a:extLst>
                <a:ext uri="{FF2B5EF4-FFF2-40B4-BE49-F238E27FC236}">
                  <a16:creationId xmlns:a16="http://schemas.microsoft.com/office/drawing/2014/main" id="{C52F770B-F28B-0DD4-F1CE-B5D61ECDD1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932"/>
            <a:stretch/>
          </p:blipFill>
          <p:spPr>
            <a:xfrm>
              <a:off x="1144361" y="2939203"/>
              <a:ext cx="656876" cy="423784"/>
            </a:xfrm>
            <a:prstGeom prst="rect">
              <a:avLst/>
            </a:prstGeom>
          </p:spPr>
        </p:pic>
        <p:sp>
          <p:nvSpPr>
            <p:cNvPr id="18" name="Rectangle 50">
              <a:extLst>
                <a:ext uri="{FF2B5EF4-FFF2-40B4-BE49-F238E27FC236}">
                  <a16:creationId xmlns:a16="http://schemas.microsoft.com/office/drawing/2014/main" id="{936FA744-4775-4787-B9A0-88682B6598D1}"/>
                </a:ext>
              </a:extLst>
            </p:cNvPr>
            <p:cNvSpPr/>
            <p:nvPr/>
          </p:nvSpPr>
          <p:spPr>
            <a:xfrm>
              <a:off x="1144361" y="3265626"/>
              <a:ext cx="656876" cy="276999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24848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mart</a:t>
              </a:r>
            </a:p>
          </p:txBody>
        </p:sp>
      </p:grpSp>
      <p:pic>
        <p:nvPicPr>
          <p:cNvPr id="5" name="Picture 15">
            <a:extLst>
              <a:ext uri="{FF2B5EF4-FFF2-40B4-BE49-F238E27FC236}">
                <a16:creationId xmlns:a16="http://schemas.microsoft.com/office/drawing/2014/main" id="{AA330CC1-B4F0-7C27-4A3F-3B62F0BD0736}"/>
              </a:ext>
            </a:extLst>
          </p:cNvPr>
          <p:cNvPicPr>
            <a:picLocks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3" y="175551"/>
            <a:ext cx="889594" cy="32496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CF51E18-7C85-D7FB-88E7-71F8318D9421}"/>
              </a:ext>
            </a:extLst>
          </p:cNvPr>
          <p:cNvSpPr txBox="1">
            <a:spLocks/>
          </p:cNvSpPr>
          <p:nvPr/>
        </p:nvSpPr>
        <p:spPr>
          <a:xfrm>
            <a:off x="533401" y="219608"/>
            <a:ext cx="7249632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28FF52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Estrutura Geral e Entrega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prstClr val="white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RISE – Rede de Inovação do Setor Elétrico</a:t>
            </a:r>
          </a:p>
        </p:txBody>
      </p:sp>
    </p:spTree>
    <p:extLst>
      <p:ext uri="{BB962C8B-B14F-4D97-AF65-F5344CB8AC3E}">
        <p14:creationId xmlns:p14="http://schemas.microsoft.com/office/powerpoint/2010/main" val="3435432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62262"/>
    </mc:Choice>
    <mc:Fallback xmlns="">
      <p:transition advTm="62262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áfico 2">
            <a:extLst>
              <a:ext uri="{FF2B5EF4-FFF2-40B4-BE49-F238E27FC236}">
                <a16:creationId xmlns:a16="http://schemas.microsoft.com/office/drawing/2014/main" id="{5216DB31-395A-2BBC-D9EC-6D20CF20D6B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63664" y="611641"/>
            <a:ext cx="11321512" cy="7816850"/>
          </a:xfrm>
          <a:prstGeom prst="rect">
            <a:avLst/>
          </a:prstGeom>
        </p:spPr>
      </p:pic>
      <p:sp>
        <p:nvSpPr>
          <p:cNvPr id="21" name="Retângulo: Cantos Arredondados 20">
            <a:extLst>
              <a:ext uri="{FF2B5EF4-FFF2-40B4-BE49-F238E27FC236}">
                <a16:creationId xmlns:a16="http://schemas.microsoft.com/office/drawing/2014/main" id="{E03D7B7D-F59C-4330-AE3B-07F32ACB676F}"/>
              </a:ext>
            </a:extLst>
          </p:cNvPr>
          <p:cNvSpPr/>
          <p:nvPr/>
        </p:nvSpPr>
        <p:spPr>
          <a:xfrm>
            <a:off x="5462588" y="5539591"/>
            <a:ext cx="5000625" cy="29063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4" name="TextBox 12">
            <a:extLst>
              <a:ext uri="{FF2B5EF4-FFF2-40B4-BE49-F238E27FC236}">
                <a16:creationId xmlns:a16="http://schemas.microsoft.com/office/drawing/2014/main" id="{8DE81767-2178-4708-A94C-8108FBEA50ED}"/>
              </a:ext>
            </a:extLst>
          </p:cNvPr>
          <p:cNvSpPr txBox="1"/>
          <p:nvPr/>
        </p:nvSpPr>
        <p:spPr>
          <a:xfrm>
            <a:off x="695112" y="3949339"/>
            <a:ext cx="5077254" cy="2355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641985" marR="5080" lvl="0" indent="-621030" algn="l" defTabSz="914400" rtl="0" eaLnBrk="1" fontAlgn="auto" latinLnBrk="0" hangingPunct="1">
              <a:lnSpc>
                <a:spcPct val="100800"/>
              </a:lnSpc>
              <a:spcBef>
                <a:spcPts val="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Frentes tecnológica de projeto</a:t>
            </a: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FA5D4AA0-941F-401D-BE99-DBDEF7C0426D}"/>
              </a:ext>
            </a:extLst>
          </p:cNvPr>
          <p:cNvSpPr txBox="1"/>
          <p:nvPr/>
        </p:nvSpPr>
        <p:spPr>
          <a:xfrm>
            <a:off x="695112" y="2851336"/>
            <a:ext cx="3192220" cy="9848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Corrente tecnológica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212E3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11" name="CaixaDeTexto 110">
            <a:extLst>
              <a:ext uri="{FF2B5EF4-FFF2-40B4-BE49-F238E27FC236}">
                <a16:creationId xmlns:a16="http://schemas.microsoft.com/office/drawing/2014/main" id="{FD32875F-114F-4ABE-98E6-CC9455B305AF}"/>
              </a:ext>
            </a:extLst>
          </p:cNvPr>
          <p:cNvSpPr txBox="1"/>
          <p:nvPr/>
        </p:nvSpPr>
        <p:spPr>
          <a:xfrm>
            <a:off x="4448525" y="3334768"/>
            <a:ext cx="172465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U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tilizar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 e verificar os impactos do gás H₂ em escala industrial na </a:t>
            </a:r>
            <a:r>
              <a:rPr kumimoji="0" lang="pt-BR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co-queima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 com óleo diesel e carvão mineral,  nas instalações da UTE Pecém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 para aumento da energético na caldeira. </a:t>
            </a:r>
          </a:p>
        </p:txBody>
      </p:sp>
      <p:sp>
        <p:nvSpPr>
          <p:cNvPr id="46" name="Rectangle 50">
            <a:extLst>
              <a:ext uri="{FF2B5EF4-FFF2-40B4-BE49-F238E27FC236}">
                <a16:creationId xmlns:a16="http://schemas.microsoft.com/office/drawing/2014/main" id="{5DDD5D79-9F12-458D-B549-88D3F2BEC4AD}"/>
              </a:ext>
            </a:extLst>
          </p:cNvPr>
          <p:cNvSpPr/>
          <p:nvPr/>
        </p:nvSpPr>
        <p:spPr>
          <a:xfrm>
            <a:off x="4496738" y="2525536"/>
            <a:ext cx="150905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-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eim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12E3E"/>
              </a:solidFill>
              <a:effectLst/>
              <a:uLnTx/>
              <a:uFillTx/>
              <a:latin typeface="FT Base Book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E4136F04-02EF-4D8A-901E-3094FED5E05F}"/>
              </a:ext>
            </a:extLst>
          </p:cNvPr>
          <p:cNvSpPr txBox="1"/>
          <p:nvPr/>
        </p:nvSpPr>
        <p:spPr>
          <a:xfrm>
            <a:off x="8124263" y="3334768"/>
            <a:ext cx="171327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Avaliação das melhores tecnologias voltadas para o 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armazenamento e transporte do H2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 de acordo com a escalabilidade de produção</a:t>
            </a:r>
          </a:p>
        </p:txBody>
      </p:sp>
      <p:sp>
        <p:nvSpPr>
          <p:cNvPr id="50" name="Rectangle 50">
            <a:extLst>
              <a:ext uri="{FF2B5EF4-FFF2-40B4-BE49-F238E27FC236}">
                <a16:creationId xmlns:a16="http://schemas.microsoft.com/office/drawing/2014/main" id="{A32B70DC-5289-4436-84BE-801E50004CA7}"/>
              </a:ext>
            </a:extLst>
          </p:cNvPr>
          <p:cNvSpPr/>
          <p:nvPr/>
        </p:nvSpPr>
        <p:spPr>
          <a:xfrm>
            <a:off x="8124264" y="2501995"/>
            <a:ext cx="17132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Armazenamento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12E3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transport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12E3E"/>
              </a:solidFill>
              <a:effectLst/>
              <a:uLnTx/>
              <a:uFillTx/>
              <a:latin typeface="FT Base Book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4EB463C0-70BD-4313-8FD2-B9EE63A6F5E8}"/>
              </a:ext>
            </a:extLst>
          </p:cNvPr>
          <p:cNvSpPr txBox="1"/>
          <p:nvPr/>
        </p:nvSpPr>
        <p:spPr>
          <a:xfrm>
            <a:off x="9942371" y="3334768"/>
            <a:ext cx="16942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Desenvolvimento de um índice para correlacionar questões técnicas e econômicas</a:t>
            </a:r>
          </a:p>
        </p:txBody>
      </p:sp>
      <p:sp>
        <p:nvSpPr>
          <p:cNvPr id="69" name="Rectangle 50">
            <a:extLst>
              <a:ext uri="{FF2B5EF4-FFF2-40B4-BE49-F238E27FC236}">
                <a16:creationId xmlns:a16="http://schemas.microsoft.com/office/drawing/2014/main" id="{E9FF2A6E-20D4-42F8-BE39-FADFDCABC190}"/>
              </a:ext>
            </a:extLst>
          </p:cNvPr>
          <p:cNvSpPr/>
          <p:nvPr/>
        </p:nvSpPr>
        <p:spPr>
          <a:xfrm>
            <a:off x="9801753" y="2474918"/>
            <a:ext cx="19754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Índices </a:t>
            </a:r>
            <a:b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 eficiência técnica/econômica </a:t>
            </a: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id="{C10CB1BD-D16B-4BD1-B35B-A4CBE86996EC}"/>
              </a:ext>
            </a:extLst>
          </p:cNvPr>
          <p:cNvSpPr txBox="1"/>
          <p:nvPr/>
        </p:nvSpPr>
        <p:spPr>
          <a:xfrm>
            <a:off x="6264891" y="3334768"/>
            <a:ext cx="17545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ctr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Avaliar a utilização do H₂ em escala industrial os estudos em 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aplicações em indústrias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 cimenteiras e siderúrgicas em combinações/mistura com combustíveis convencionais</a:t>
            </a:r>
          </a:p>
        </p:txBody>
      </p:sp>
      <p:sp>
        <p:nvSpPr>
          <p:cNvPr id="71" name="Rectangle 50">
            <a:extLst>
              <a:ext uri="{FF2B5EF4-FFF2-40B4-BE49-F238E27FC236}">
                <a16:creationId xmlns:a16="http://schemas.microsoft.com/office/drawing/2014/main" id="{E8914C66-FEC4-4443-8309-B6F0374BE3D7}"/>
              </a:ext>
            </a:extLst>
          </p:cNvPr>
          <p:cNvSpPr/>
          <p:nvPr/>
        </p:nvSpPr>
        <p:spPr>
          <a:xfrm>
            <a:off x="6457381" y="2494760"/>
            <a:ext cx="13380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4848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Uso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ndustrial</a:t>
            </a:r>
          </a:p>
        </p:txBody>
      </p:sp>
      <p:pic>
        <p:nvPicPr>
          <p:cNvPr id="16" name="Gráfico 15">
            <a:extLst>
              <a:ext uri="{FF2B5EF4-FFF2-40B4-BE49-F238E27FC236}">
                <a16:creationId xmlns:a16="http://schemas.microsoft.com/office/drawing/2014/main" id="{48846925-CD5A-45A2-89D3-FEF7449C42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32142" y="870679"/>
            <a:ext cx="459757" cy="533911"/>
          </a:xfrm>
          <a:prstGeom prst="rect">
            <a:avLst/>
          </a:prstGeom>
        </p:spPr>
      </p:pic>
      <p:pic>
        <p:nvPicPr>
          <p:cNvPr id="18" name="Gráfico 17">
            <a:extLst>
              <a:ext uri="{FF2B5EF4-FFF2-40B4-BE49-F238E27FC236}">
                <a16:creationId xmlns:a16="http://schemas.microsoft.com/office/drawing/2014/main" id="{569B4091-6BE9-4051-8933-0C390746AA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62713" y="854200"/>
            <a:ext cx="506847" cy="506847"/>
          </a:xfrm>
          <a:prstGeom prst="rect">
            <a:avLst/>
          </a:prstGeom>
        </p:spPr>
      </p:pic>
      <p:pic>
        <p:nvPicPr>
          <p:cNvPr id="20" name="Gráfico 19">
            <a:extLst>
              <a:ext uri="{FF2B5EF4-FFF2-40B4-BE49-F238E27FC236}">
                <a16:creationId xmlns:a16="http://schemas.microsoft.com/office/drawing/2014/main" id="{50816182-0F91-4BC7-898D-C7FC2A57F8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94762" y="791954"/>
            <a:ext cx="532898" cy="532898"/>
          </a:xfrm>
          <a:prstGeom prst="rect">
            <a:avLst/>
          </a:prstGeom>
        </p:spPr>
      </p:pic>
      <p:sp>
        <p:nvSpPr>
          <p:cNvPr id="81" name="TextBox 12">
            <a:extLst>
              <a:ext uri="{FF2B5EF4-FFF2-40B4-BE49-F238E27FC236}">
                <a16:creationId xmlns:a16="http://schemas.microsoft.com/office/drawing/2014/main" id="{CAF09B0C-7FA8-4C67-8F81-4A059280BEF8}"/>
              </a:ext>
            </a:extLst>
          </p:cNvPr>
          <p:cNvSpPr txBox="1"/>
          <p:nvPr/>
        </p:nvSpPr>
        <p:spPr>
          <a:xfrm>
            <a:off x="5473877" y="5567783"/>
            <a:ext cx="4902092" cy="2355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641985" marR="5080" lvl="0" indent="-621030" algn="ctr" defTabSz="914400" rtl="0" eaLnBrk="1" fontAlgn="auto" latinLnBrk="0" hangingPunct="1">
              <a:lnSpc>
                <a:spcPct val="100800"/>
              </a:lnSpc>
              <a:spcBef>
                <a:spcPts val="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3E8078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Vertentes tecnológicas propostas pelo projeto</a:t>
            </a:r>
          </a:p>
        </p:txBody>
      </p:sp>
      <p:sp>
        <p:nvSpPr>
          <p:cNvPr id="5" name="Freeform: Shape 190">
            <a:extLst>
              <a:ext uri="{FF2B5EF4-FFF2-40B4-BE49-F238E27FC236}">
                <a16:creationId xmlns:a16="http://schemas.microsoft.com/office/drawing/2014/main" id="{9E9AE6DC-DDF2-048F-D7AE-106FDF1FE155}"/>
              </a:ext>
            </a:extLst>
          </p:cNvPr>
          <p:cNvSpPr/>
          <p:nvPr/>
        </p:nvSpPr>
        <p:spPr>
          <a:xfrm>
            <a:off x="5144832" y="829341"/>
            <a:ext cx="379116" cy="531706"/>
          </a:xfrm>
          <a:custGeom>
            <a:avLst/>
            <a:gdLst>
              <a:gd name="connsiteX0" fmla="*/ 145923 w 467582"/>
              <a:gd name="connsiteY0" fmla="*/ 935 h 655778"/>
              <a:gd name="connsiteX1" fmla="*/ 131826 w 467582"/>
              <a:gd name="connsiteY1" fmla="*/ 3697 h 655778"/>
              <a:gd name="connsiteX2" fmla="*/ 128492 w 467582"/>
              <a:gd name="connsiteY2" fmla="*/ 17604 h 655778"/>
              <a:gd name="connsiteX3" fmla="*/ 101918 w 467582"/>
              <a:gd name="connsiteY3" fmla="*/ 183720 h 655778"/>
              <a:gd name="connsiteX4" fmla="*/ 69914 w 467582"/>
              <a:gd name="connsiteY4" fmla="*/ 230392 h 655778"/>
              <a:gd name="connsiteX5" fmla="*/ 0 w 467582"/>
              <a:gd name="connsiteY5" fmla="*/ 431560 h 655778"/>
              <a:gd name="connsiteX6" fmla="*/ 229648 w 467582"/>
              <a:gd name="connsiteY6" fmla="*/ 655779 h 655778"/>
              <a:gd name="connsiteX7" fmla="*/ 467582 w 467582"/>
              <a:gd name="connsiteY7" fmla="*/ 417177 h 655778"/>
              <a:gd name="connsiteX8" fmla="*/ 145923 w 467582"/>
              <a:gd name="connsiteY8" fmla="*/ 935 h 655778"/>
              <a:gd name="connsiteX9" fmla="*/ 113348 w 467582"/>
              <a:gd name="connsiteY9" fmla="*/ 593485 h 655778"/>
              <a:gd name="connsiteX10" fmla="*/ 116967 w 467582"/>
              <a:gd name="connsiteY10" fmla="*/ 502331 h 655778"/>
              <a:gd name="connsiteX11" fmla="*/ 204121 w 467582"/>
              <a:gd name="connsiteY11" fmla="*/ 376410 h 655778"/>
              <a:gd name="connsiteX12" fmla="*/ 242697 w 467582"/>
              <a:gd name="connsiteY12" fmla="*/ 464517 h 655778"/>
              <a:gd name="connsiteX13" fmla="*/ 250317 w 467582"/>
              <a:gd name="connsiteY13" fmla="*/ 471660 h 655778"/>
              <a:gd name="connsiteX14" fmla="*/ 260699 w 467582"/>
              <a:gd name="connsiteY14" fmla="*/ 471089 h 655778"/>
              <a:gd name="connsiteX15" fmla="*/ 338804 w 467582"/>
              <a:gd name="connsiteY15" fmla="*/ 432703 h 655778"/>
              <a:gd name="connsiteX16" fmla="*/ 340233 w 467582"/>
              <a:gd name="connsiteY16" fmla="*/ 600248 h 655778"/>
              <a:gd name="connsiteX17" fmla="*/ 229743 w 467582"/>
              <a:gd name="connsiteY17" fmla="*/ 629299 h 655778"/>
              <a:gd name="connsiteX18" fmla="*/ 113443 w 467582"/>
              <a:gd name="connsiteY18" fmla="*/ 593485 h 655778"/>
              <a:gd name="connsiteX19" fmla="*/ 366427 w 467582"/>
              <a:gd name="connsiteY19" fmla="*/ 582246 h 655778"/>
              <a:gd name="connsiteX20" fmla="*/ 364998 w 467582"/>
              <a:gd name="connsiteY20" fmla="*/ 411462 h 655778"/>
              <a:gd name="connsiteX21" fmla="*/ 358712 w 467582"/>
              <a:gd name="connsiteY21" fmla="*/ 400318 h 655778"/>
              <a:gd name="connsiteX22" fmla="*/ 345948 w 467582"/>
              <a:gd name="connsiteY22" fmla="*/ 399747 h 655778"/>
              <a:gd name="connsiteX23" fmla="*/ 261461 w 467582"/>
              <a:gd name="connsiteY23" fmla="*/ 441276 h 655778"/>
              <a:gd name="connsiteX24" fmla="*/ 212789 w 467582"/>
              <a:gd name="connsiteY24" fmla="*/ 345740 h 655778"/>
              <a:gd name="connsiteX25" fmla="*/ 205073 w 467582"/>
              <a:gd name="connsiteY25" fmla="*/ 346693 h 655778"/>
              <a:gd name="connsiteX26" fmla="*/ 85344 w 467582"/>
              <a:gd name="connsiteY26" fmla="*/ 570625 h 655778"/>
              <a:gd name="connsiteX27" fmla="*/ 26479 w 467582"/>
              <a:gd name="connsiteY27" fmla="*/ 431655 h 655778"/>
              <a:gd name="connsiteX28" fmla="*/ 91345 w 467582"/>
              <a:gd name="connsiteY28" fmla="*/ 246108 h 655778"/>
              <a:gd name="connsiteX29" fmla="*/ 124397 w 467582"/>
              <a:gd name="connsiteY29" fmla="*/ 197817 h 655778"/>
              <a:gd name="connsiteX30" fmla="*/ 159639 w 467582"/>
              <a:gd name="connsiteY30" fmla="*/ 36558 h 655778"/>
              <a:gd name="connsiteX31" fmla="*/ 441008 w 467582"/>
              <a:gd name="connsiteY31" fmla="*/ 417368 h 655778"/>
              <a:gd name="connsiteX32" fmla="*/ 366332 w 467582"/>
              <a:gd name="connsiteY32" fmla="*/ 582436 h 655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467582" h="655778">
                <a:moveTo>
                  <a:pt x="145923" y="935"/>
                </a:moveTo>
                <a:cubicBezTo>
                  <a:pt x="141161" y="-970"/>
                  <a:pt x="135636" y="78"/>
                  <a:pt x="131826" y="3697"/>
                </a:cubicBezTo>
                <a:cubicBezTo>
                  <a:pt x="128111" y="7317"/>
                  <a:pt x="126778" y="12746"/>
                  <a:pt x="128492" y="17604"/>
                </a:cubicBezTo>
                <a:cubicBezTo>
                  <a:pt x="128778" y="18366"/>
                  <a:pt x="155543" y="96947"/>
                  <a:pt x="101918" y="183720"/>
                </a:cubicBezTo>
                <a:cubicBezTo>
                  <a:pt x="91345" y="200865"/>
                  <a:pt x="80391" y="215914"/>
                  <a:pt x="69914" y="230392"/>
                </a:cubicBezTo>
                <a:cubicBezTo>
                  <a:pt x="33909" y="280017"/>
                  <a:pt x="0" y="326880"/>
                  <a:pt x="0" y="431560"/>
                </a:cubicBezTo>
                <a:cubicBezTo>
                  <a:pt x="0" y="555195"/>
                  <a:pt x="103061" y="655779"/>
                  <a:pt x="229648" y="655779"/>
                </a:cubicBezTo>
                <a:cubicBezTo>
                  <a:pt x="347853" y="655779"/>
                  <a:pt x="467582" y="573769"/>
                  <a:pt x="467582" y="417177"/>
                </a:cubicBezTo>
                <a:cubicBezTo>
                  <a:pt x="467678" y="131904"/>
                  <a:pt x="149162" y="2268"/>
                  <a:pt x="145923" y="935"/>
                </a:cubicBezTo>
                <a:close/>
                <a:moveTo>
                  <a:pt x="113348" y="593485"/>
                </a:moveTo>
                <a:cubicBezTo>
                  <a:pt x="112300" y="585675"/>
                  <a:pt x="108109" y="546622"/>
                  <a:pt x="116967" y="502331"/>
                </a:cubicBezTo>
                <a:cubicBezTo>
                  <a:pt x="128873" y="442990"/>
                  <a:pt x="158115" y="400795"/>
                  <a:pt x="204121" y="376410"/>
                </a:cubicBezTo>
                <a:cubicBezTo>
                  <a:pt x="212979" y="396127"/>
                  <a:pt x="230791" y="437085"/>
                  <a:pt x="242697" y="464517"/>
                </a:cubicBezTo>
                <a:cubicBezTo>
                  <a:pt x="244126" y="467850"/>
                  <a:pt x="246888" y="470422"/>
                  <a:pt x="250317" y="471660"/>
                </a:cubicBezTo>
                <a:cubicBezTo>
                  <a:pt x="253746" y="472899"/>
                  <a:pt x="257461" y="472708"/>
                  <a:pt x="260699" y="471089"/>
                </a:cubicBezTo>
                <a:lnTo>
                  <a:pt x="338804" y="432703"/>
                </a:lnTo>
                <a:lnTo>
                  <a:pt x="340233" y="600248"/>
                </a:lnTo>
                <a:cubicBezTo>
                  <a:pt x="306705" y="619393"/>
                  <a:pt x="268129" y="629299"/>
                  <a:pt x="229743" y="629299"/>
                </a:cubicBezTo>
                <a:cubicBezTo>
                  <a:pt x="186500" y="629299"/>
                  <a:pt x="146399" y="615964"/>
                  <a:pt x="113443" y="593485"/>
                </a:cubicBezTo>
                <a:close/>
                <a:moveTo>
                  <a:pt x="366427" y="582246"/>
                </a:moveTo>
                <a:lnTo>
                  <a:pt x="364998" y="411462"/>
                </a:lnTo>
                <a:cubicBezTo>
                  <a:pt x="364998" y="406891"/>
                  <a:pt x="362617" y="402699"/>
                  <a:pt x="358712" y="400318"/>
                </a:cubicBezTo>
                <a:cubicBezTo>
                  <a:pt x="354806" y="397937"/>
                  <a:pt x="350044" y="397747"/>
                  <a:pt x="345948" y="399747"/>
                </a:cubicBezTo>
                <a:lnTo>
                  <a:pt x="261461" y="441276"/>
                </a:lnTo>
                <a:cubicBezTo>
                  <a:pt x="220694" y="347169"/>
                  <a:pt x="220409" y="347073"/>
                  <a:pt x="212789" y="345740"/>
                </a:cubicBezTo>
                <a:cubicBezTo>
                  <a:pt x="210217" y="345264"/>
                  <a:pt x="207550" y="345549"/>
                  <a:pt x="205073" y="346693"/>
                </a:cubicBezTo>
                <a:cubicBezTo>
                  <a:pt x="94298" y="395270"/>
                  <a:pt x="83915" y="515475"/>
                  <a:pt x="85344" y="570625"/>
                </a:cubicBezTo>
                <a:cubicBezTo>
                  <a:pt x="49054" y="534907"/>
                  <a:pt x="26479" y="485757"/>
                  <a:pt x="26479" y="431655"/>
                </a:cubicBezTo>
                <a:cubicBezTo>
                  <a:pt x="26479" y="335644"/>
                  <a:pt x="55150" y="296115"/>
                  <a:pt x="91345" y="246108"/>
                </a:cubicBezTo>
                <a:cubicBezTo>
                  <a:pt x="102203" y="231154"/>
                  <a:pt x="113348" y="215724"/>
                  <a:pt x="124397" y="197817"/>
                </a:cubicBezTo>
                <a:cubicBezTo>
                  <a:pt x="165164" y="131999"/>
                  <a:pt x="164687" y="70563"/>
                  <a:pt x="159639" y="36558"/>
                </a:cubicBezTo>
                <a:cubicBezTo>
                  <a:pt x="231267" y="71896"/>
                  <a:pt x="441008" y="194388"/>
                  <a:pt x="441008" y="417368"/>
                </a:cubicBezTo>
                <a:cubicBezTo>
                  <a:pt x="441008" y="491663"/>
                  <a:pt x="410528" y="546908"/>
                  <a:pt x="366332" y="582436"/>
                </a:cubicBezTo>
                <a:close/>
              </a:path>
            </a:pathLst>
          </a:custGeom>
          <a:solidFill>
            <a:srgbClr val="33333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21E12A7-07D9-E63B-C5CC-C32B8C20B76B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35000"/>
                    </a14:imgEffect>
                    <a14:imgEffect>
                      <a14:brightnessContrast bright="94000" contrast="100000"/>
                    </a14:imgEffect>
                  </a14:imgLayer>
                </a14:imgProps>
              </a:ext>
            </a:extLst>
          </a:blip>
          <a:srcRect t="24975" b="45757"/>
          <a:stretch/>
        </p:blipFill>
        <p:spPr>
          <a:xfrm>
            <a:off x="9982140" y="6115806"/>
            <a:ext cx="2128897" cy="619125"/>
          </a:xfrm>
          <a:prstGeom prst="rect">
            <a:avLst/>
          </a:prstGeom>
        </p:spPr>
      </p:pic>
      <p:pic>
        <p:nvPicPr>
          <p:cNvPr id="2" name="Picture 28" descr="Logo&#10;&#10;Description automatically generated">
            <a:extLst>
              <a:ext uri="{FF2B5EF4-FFF2-40B4-BE49-F238E27FC236}">
                <a16:creationId xmlns:a16="http://schemas.microsoft.com/office/drawing/2014/main" id="{E791CE78-0621-5E06-874D-55C4CE23D99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9785" y="176458"/>
            <a:ext cx="936107" cy="34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93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7533"/>
    </mc:Choice>
    <mc:Fallback xmlns="">
      <p:transition advTm="37533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áfico 24">
            <a:extLst>
              <a:ext uri="{FF2B5EF4-FFF2-40B4-BE49-F238E27FC236}">
                <a16:creationId xmlns:a16="http://schemas.microsoft.com/office/drawing/2014/main" id="{374B3A48-D566-4E5E-A8BE-BA661BB79B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123825"/>
            <a:ext cx="6553200" cy="7058025"/>
          </a:xfrm>
          <a:prstGeom prst="rect">
            <a:avLst/>
          </a:prstGeom>
        </p:spPr>
      </p:pic>
      <p:sp>
        <p:nvSpPr>
          <p:cNvPr id="9" name="TextBox 10">
            <a:extLst>
              <a:ext uri="{FF2B5EF4-FFF2-40B4-BE49-F238E27FC236}">
                <a16:creationId xmlns:a16="http://schemas.microsoft.com/office/drawing/2014/main" id="{FA5D4AA0-941F-401D-BE99-DBDEF7C0426D}"/>
              </a:ext>
            </a:extLst>
          </p:cNvPr>
          <p:cNvSpPr txBox="1"/>
          <p:nvPr/>
        </p:nvSpPr>
        <p:spPr>
          <a:xfrm>
            <a:off x="741906" y="495992"/>
            <a:ext cx="3960723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Tecnologia de produção e abastecimento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A95A5F85-5C99-4040-89BA-3E263591EE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80219" y="246199"/>
            <a:ext cx="933450" cy="619125"/>
          </a:xfrm>
          <a:prstGeom prst="rect">
            <a:avLst/>
          </a:prstGeom>
        </p:spPr>
      </p:pic>
      <p:sp>
        <p:nvSpPr>
          <p:cNvPr id="102" name="TextBox 12">
            <a:extLst>
              <a:ext uri="{FF2B5EF4-FFF2-40B4-BE49-F238E27FC236}">
                <a16:creationId xmlns:a16="http://schemas.microsoft.com/office/drawing/2014/main" id="{764D2EFB-DCA1-4CC1-8DEA-3DDC6E3555A8}"/>
              </a:ext>
            </a:extLst>
          </p:cNvPr>
          <p:cNvSpPr txBox="1"/>
          <p:nvPr/>
        </p:nvSpPr>
        <p:spPr>
          <a:xfrm>
            <a:off x="703225" y="1274832"/>
            <a:ext cx="5077254" cy="2355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641985" marR="5080" lvl="0" indent="-621030" algn="l" defTabSz="914400" rtl="0" eaLnBrk="1" fontAlgn="auto" latinLnBrk="0" hangingPunct="1">
              <a:lnSpc>
                <a:spcPct val="100800"/>
              </a:lnSpc>
              <a:spcBef>
                <a:spcPts val="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28FF52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UFV 3MW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DF64C0D-7981-4AA2-B0EA-18B1B87AFC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5614" y="2119131"/>
            <a:ext cx="4716948" cy="37504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2C077B61-796B-4570-9B98-77D860327AD6}"/>
              </a:ext>
            </a:extLst>
          </p:cNvPr>
          <p:cNvSpPr txBox="1"/>
          <p:nvPr/>
        </p:nvSpPr>
        <p:spPr>
          <a:xfrm>
            <a:off x="8644262" y="168424"/>
            <a:ext cx="285309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Estrutura: 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Tracker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Potência instalada: 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3MW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Suprimento Energia Eletrólise: 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Dedicação exclusiva para o eletrolisador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Sinergia entre empresas do grupo EDP</a:t>
            </a:r>
          </a:p>
        </p:txBody>
      </p:sp>
      <p:pic>
        <p:nvPicPr>
          <p:cNvPr id="18" name="Picture 31">
            <a:extLst>
              <a:ext uri="{FF2B5EF4-FFF2-40B4-BE49-F238E27FC236}">
                <a16:creationId xmlns:a16="http://schemas.microsoft.com/office/drawing/2014/main" id="{57EE662E-CD25-4CE2-AC6D-F644D274C4D3}"/>
              </a:ext>
            </a:extLst>
          </p:cNvPr>
          <p:cNvPicPr/>
          <p:nvPr/>
        </p:nvPicPr>
        <p:blipFill rotWithShape="1">
          <a:blip r:embed="rId8"/>
          <a:srcRect l="34711" r="27461" b="36691"/>
          <a:stretch/>
        </p:blipFill>
        <p:spPr>
          <a:xfrm>
            <a:off x="893184" y="1961005"/>
            <a:ext cx="936000" cy="936000"/>
          </a:xfrm>
          <a:prstGeom prst="ellipse">
            <a:avLst/>
          </a:prstGeom>
          <a:blipFill>
            <a:blip r:embed="rId9"/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Freeform 46">
            <a:extLst>
              <a:ext uri="{FF2B5EF4-FFF2-40B4-BE49-F238E27FC236}">
                <a16:creationId xmlns:a16="http://schemas.microsoft.com/office/drawing/2014/main" id="{550CC74E-41F3-4493-A1A9-BDAEE04FA1DA}"/>
              </a:ext>
            </a:extLst>
          </p:cNvPr>
          <p:cNvSpPr>
            <a:spLocks/>
          </p:cNvSpPr>
          <p:nvPr/>
        </p:nvSpPr>
        <p:spPr bwMode="auto">
          <a:xfrm>
            <a:off x="644639" y="1624106"/>
            <a:ext cx="727578" cy="756178"/>
          </a:xfrm>
          <a:custGeom>
            <a:avLst/>
            <a:gdLst>
              <a:gd name="T0" fmla="*/ 227 w 636"/>
              <a:gd name="T1" fmla="*/ 41 h 661"/>
              <a:gd name="T2" fmla="*/ 251 w 636"/>
              <a:gd name="T3" fmla="*/ 64 h 661"/>
              <a:gd name="T4" fmla="*/ 270 w 636"/>
              <a:gd name="T5" fmla="*/ 53 h 661"/>
              <a:gd name="T6" fmla="*/ 294 w 636"/>
              <a:gd name="T7" fmla="*/ 50 h 661"/>
              <a:gd name="T8" fmla="*/ 305 w 636"/>
              <a:gd name="T9" fmla="*/ 43 h 661"/>
              <a:gd name="T10" fmla="*/ 331 w 636"/>
              <a:gd name="T11" fmla="*/ 45 h 661"/>
              <a:gd name="T12" fmla="*/ 353 w 636"/>
              <a:gd name="T13" fmla="*/ 31 h 661"/>
              <a:gd name="T14" fmla="*/ 381 w 636"/>
              <a:gd name="T15" fmla="*/ 53 h 661"/>
              <a:gd name="T16" fmla="*/ 383 w 636"/>
              <a:gd name="T17" fmla="*/ 86 h 661"/>
              <a:gd name="T18" fmla="*/ 445 w 636"/>
              <a:gd name="T19" fmla="*/ 100 h 661"/>
              <a:gd name="T20" fmla="*/ 495 w 636"/>
              <a:gd name="T21" fmla="*/ 121 h 661"/>
              <a:gd name="T22" fmla="*/ 596 w 636"/>
              <a:gd name="T23" fmla="*/ 161 h 661"/>
              <a:gd name="T24" fmla="*/ 634 w 636"/>
              <a:gd name="T25" fmla="*/ 192 h 661"/>
              <a:gd name="T26" fmla="*/ 599 w 636"/>
              <a:gd name="T27" fmla="*/ 263 h 661"/>
              <a:gd name="T28" fmla="*/ 568 w 636"/>
              <a:gd name="T29" fmla="*/ 308 h 661"/>
              <a:gd name="T30" fmla="*/ 558 w 636"/>
              <a:gd name="T31" fmla="*/ 382 h 661"/>
              <a:gd name="T32" fmla="*/ 523 w 636"/>
              <a:gd name="T33" fmla="*/ 453 h 661"/>
              <a:gd name="T34" fmla="*/ 464 w 636"/>
              <a:gd name="T35" fmla="*/ 479 h 661"/>
              <a:gd name="T36" fmla="*/ 409 w 636"/>
              <a:gd name="T37" fmla="*/ 528 h 661"/>
              <a:gd name="T38" fmla="*/ 395 w 636"/>
              <a:gd name="T39" fmla="*/ 576 h 661"/>
              <a:gd name="T40" fmla="*/ 346 w 636"/>
              <a:gd name="T41" fmla="*/ 651 h 661"/>
              <a:gd name="T42" fmla="*/ 327 w 636"/>
              <a:gd name="T43" fmla="*/ 628 h 661"/>
              <a:gd name="T44" fmla="*/ 275 w 636"/>
              <a:gd name="T45" fmla="*/ 592 h 661"/>
              <a:gd name="T46" fmla="*/ 317 w 636"/>
              <a:gd name="T47" fmla="*/ 545 h 661"/>
              <a:gd name="T48" fmla="*/ 315 w 636"/>
              <a:gd name="T49" fmla="*/ 512 h 661"/>
              <a:gd name="T50" fmla="*/ 312 w 636"/>
              <a:gd name="T51" fmla="*/ 479 h 661"/>
              <a:gd name="T52" fmla="*/ 298 w 636"/>
              <a:gd name="T53" fmla="*/ 460 h 661"/>
              <a:gd name="T54" fmla="*/ 260 w 636"/>
              <a:gd name="T55" fmla="*/ 448 h 661"/>
              <a:gd name="T56" fmla="*/ 260 w 636"/>
              <a:gd name="T57" fmla="*/ 403 h 661"/>
              <a:gd name="T58" fmla="*/ 256 w 636"/>
              <a:gd name="T59" fmla="*/ 365 h 661"/>
              <a:gd name="T60" fmla="*/ 218 w 636"/>
              <a:gd name="T61" fmla="*/ 329 h 661"/>
              <a:gd name="T62" fmla="*/ 218 w 636"/>
              <a:gd name="T63" fmla="*/ 308 h 661"/>
              <a:gd name="T64" fmla="*/ 182 w 636"/>
              <a:gd name="T65" fmla="*/ 294 h 661"/>
              <a:gd name="T66" fmla="*/ 140 w 636"/>
              <a:gd name="T67" fmla="*/ 261 h 661"/>
              <a:gd name="T68" fmla="*/ 111 w 636"/>
              <a:gd name="T69" fmla="*/ 251 h 661"/>
              <a:gd name="T70" fmla="*/ 74 w 636"/>
              <a:gd name="T71" fmla="*/ 261 h 661"/>
              <a:gd name="T72" fmla="*/ 45 w 636"/>
              <a:gd name="T73" fmla="*/ 247 h 661"/>
              <a:gd name="T74" fmla="*/ 17 w 636"/>
              <a:gd name="T75" fmla="*/ 230 h 661"/>
              <a:gd name="T76" fmla="*/ 5 w 636"/>
              <a:gd name="T77" fmla="*/ 197 h 661"/>
              <a:gd name="T78" fmla="*/ 19 w 636"/>
              <a:gd name="T79" fmla="*/ 169 h 661"/>
              <a:gd name="T80" fmla="*/ 66 w 636"/>
              <a:gd name="T81" fmla="*/ 154 h 661"/>
              <a:gd name="T82" fmla="*/ 64 w 636"/>
              <a:gd name="T83" fmla="*/ 88 h 661"/>
              <a:gd name="T84" fmla="*/ 78 w 636"/>
              <a:gd name="T85" fmla="*/ 67 h 661"/>
              <a:gd name="T86" fmla="*/ 104 w 636"/>
              <a:gd name="T87" fmla="*/ 50 h 661"/>
              <a:gd name="T88" fmla="*/ 126 w 636"/>
              <a:gd name="T89" fmla="*/ 71 h 661"/>
              <a:gd name="T90" fmla="*/ 159 w 636"/>
              <a:gd name="T91" fmla="*/ 60 h 661"/>
              <a:gd name="T92" fmla="*/ 159 w 636"/>
              <a:gd name="T93" fmla="*/ 43 h 661"/>
              <a:gd name="T94" fmla="*/ 152 w 636"/>
              <a:gd name="T95" fmla="*/ 17 h 661"/>
              <a:gd name="T96" fmla="*/ 194 w 636"/>
              <a:gd name="T97" fmla="*/ 17 h 661"/>
              <a:gd name="T98" fmla="*/ 223 w 636"/>
              <a:gd name="T99" fmla="*/ 0 h 661"/>
              <a:gd name="T100" fmla="*/ 234 w 636"/>
              <a:gd name="T101" fmla="*/ 19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36" h="661">
                <a:moveTo>
                  <a:pt x="234" y="19"/>
                </a:moveTo>
                <a:lnTo>
                  <a:pt x="234" y="19"/>
                </a:lnTo>
                <a:lnTo>
                  <a:pt x="230" y="24"/>
                </a:lnTo>
                <a:lnTo>
                  <a:pt x="227" y="41"/>
                </a:lnTo>
                <a:lnTo>
                  <a:pt x="232" y="48"/>
                </a:lnTo>
                <a:lnTo>
                  <a:pt x="232" y="55"/>
                </a:lnTo>
                <a:lnTo>
                  <a:pt x="244" y="62"/>
                </a:lnTo>
                <a:lnTo>
                  <a:pt x="251" y="64"/>
                </a:lnTo>
                <a:lnTo>
                  <a:pt x="253" y="60"/>
                </a:lnTo>
                <a:lnTo>
                  <a:pt x="258" y="60"/>
                </a:lnTo>
                <a:lnTo>
                  <a:pt x="265" y="57"/>
                </a:lnTo>
                <a:lnTo>
                  <a:pt x="270" y="53"/>
                </a:lnTo>
                <a:lnTo>
                  <a:pt x="279" y="55"/>
                </a:lnTo>
                <a:lnTo>
                  <a:pt x="284" y="53"/>
                </a:lnTo>
                <a:lnTo>
                  <a:pt x="291" y="55"/>
                </a:lnTo>
                <a:lnTo>
                  <a:pt x="294" y="50"/>
                </a:lnTo>
                <a:lnTo>
                  <a:pt x="291" y="48"/>
                </a:lnTo>
                <a:lnTo>
                  <a:pt x="294" y="43"/>
                </a:lnTo>
                <a:lnTo>
                  <a:pt x="298" y="45"/>
                </a:lnTo>
                <a:lnTo>
                  <a:pt x="305" y="43"/>
                </a:lnTo>
                <a:lnTo>
                  <a:pt x="315" y="45"/>
                </a:lnTo>
                <a:lnTo>
                  <a:pt x="324" y="50"/>
                </a:lnTo>
                <a:lnTo>
                  <a:pt x="327" y="45"/>
                </a:lnTo>
                <a:lnTo>
                  <a:pt x="331" y="45"/>
                </a:lnTo>
                <a:lnTo>
                  <a:pt x="334" y="50"/>
                </a:lnTo>
                <a:lnTo>
                  <a:pt x="341" y="50"/>
                </a:lnTo>
                <a:lnTo>
                  <a:pt x="348" y="43"/>
                </a:lnTo>
                <a:lnTo>
                  <a:pt x="353" y="31"/>
                </a:lnTo>
                <a:lnTo>
                  <a:pt x="362" y="17"/>
                </a:lnTo>
                <a:lnTo>
                  <a:pt x="367" y="17"/>
                </a:lnTo>
                <a:lnTo>
                  <a:pt x="372" y="24"/>
                </a:lnTo>
                <a:lnTo>
                  <a:pt x="381" y="53"/>
                </a:lnTo>
                <a:lnTo>
                  <a:pt x="390" y="55"/>
                </a:lnTo>
                <a:lnTo>
                  <a:pt x="390" y="67"/>
                </a:lnTo>
                <a:lnTo>
                  <a:pt x="379" y="81"/>
                </a:lnTo>
                <a:lnTo>
                  <a:pt x="383" y="86"/>
                </a:lnTo>
                <a:lnTo>
                  <a:pt x="412" y="88"/>
                </a:lnTo>
                <a:lnTo>
                  <a:pt x="412" y="105"/>
                </a:lnTo>
                <a:lnTo>
                  <a:pt x="424" y="93"/>
                </a:lnTo>
                <a:lnTo>
                  <a:pt x="445" y="100"/>
                </a:lnTo>
                <a:lnTo>
                  <a:pt x="471" y="109"/>
                </a:lnTo>
                <a:lnTo>
                  <a:pt x="480" y="119"/>
                </a:lnTo>
                <a:lnTo>
                  <a:pt x="476" y="128"/>
                </a:lnTo>
                <a:lnTo>
                  <a:pt x="495" y="121"/>
                </a:lnTo>
                <a:lnTo>
                  <a:pt x="528" y="131"/>
                </a:lnTo>
                <a:lnTo>
                  <a:pt x="551" y="131"/>
                </a:lnTo>
                <a:lnTo>
                  <a:pt x="575" y="143"/>
                </a:lnTo>
                <a:lnTo>
                  <a:pt x="596" y="161"/>
                </a:lnTo>
                <a:lnTo>
                  <a:pt x="608" y="166"/>
                </a:lnTo>
                <a:lnTo>
                  <a:pt x="622" y="166"/>
                </a:lnTo>
                <a:lnTo>
                  <a:pt x="627" y="173"/>
                </a:lnTo>
                <a:lnTo>
                  <a:pt x="634" y="192"/>
                </a:lnTo>
                <a:lnTo>
                  <a:pt x="636" y="202"/>
                </a:lnTo>
                <a:lnTo>
                  <a:pt x="629" y="230"/>
                </a:lnTo>
                <a:lnTo>
                  <a:pt x="622" y="240"/>
                </a:lnTo>
                <a:lnTo>
                  <a:pt x="599" y="263"/>
                </a:lnTo>
                <a:lnTo>
                  <a:pt x="589" y="282"/>
                </a:lnTo>
                <a:lnTo>
                  <a:pt x="577" y="296"/>
                </a:lnTo>
                <a:lnTo>
                  <a:pt x="573" y="296"/>
                </a:lnTo>
                <a:lnTo>
                  <a:pt x="568" y="308"/>
                </a:lnTo>
                <a:lnTo>
                  <a:pt x="568" y="339"/>
                </a:lnTo>
                <a:lnTo>
                  <a:pt x="566" y="365"/>
                </a:lnTo>
                <a:lnTo>
                  <a:pt x="563" y="377"/>
                </a:lnTo>
                <a:lnTo>
                  <a:pt x="558" y="382"/>
                </a:lnTo>
                <a:lnTo>
                  <a:pt x="554" y="405"/>
                </a:lnTo>
                <a:lnTo>
                  <a:pt x="540" y="429"/>
                </a:lnTo>
                <a:lnTo>
                  <a:pt x="535" y="445"/>
                </a:lnTo>
                <a:lnTo>
                  <a:pt x="523" y="453"/>
                </a:lnTo>
                <a:lnTo>
                  <a:pt x="518" y="464"/>
                </a:lnTo>
                <a:lnTo>
                  <a:pt x="502" y="464"/>
                </a:lnTo>
                <a:lnTo>
                  <a:pt x="476" y="472"/>
                </a:lnTo>
                <a:lnTo>
                  <a:pt x="464" y="479"/>
                </a:lnTo>
                <a:lnTo>
                  <a:pt x="445" y="483"/>
                </a:lnTo>
                <a:lnTo>
                  <a:pt x="426" y="498"/>
                </a:lnTo>
                <a:lnTo>
                  <a:pt x="414" y="516"/>
                </a:lnTo>
                <a:lnTo>
                  <a:pt x="409" y="528"/>
                </a:lnTo>
                <a:lnTo>
                  <a:pt x="414" y="538"/>
                </a:lnTo>
                <a:lnTo>
                  <a:pt x="409" y="557"/>
                </a:lnTo>
                <a:lnTo>
                  <a:pt x="407" y="566"/>
                </a:lnTo>
                <a:lnTo>
                  <a:pt x="395" y="576"/>
                </a:lnTo>
                <a:lnTo>
                  <a:pt x="379" y="609"/>
                </a:lnTo>
                <a:lnTo>
                  <a:pt x="362" y="623"/>
                </a:lnTo>
                <a:lnTo>
                  <a:pt x="353" y="632"/>
                </a:lnTo>
                <a:lnTo>
                  <a:pt x="346" y="651"/>
                </a:lnTo>
                <a:lnTo>
                  <a:pt x="334" y="661"/>
                </a:lnTo>
                <a:lnTo>
                  <a:pt x="329" y="651"/>
                </a:lnTo>
                <a:lnTo>
                  <a:pt x="336" y="642"/>
                </a:lnTo>
                <a:lnTo>
                  <a:pt x="327" y="628"/>
                </a:lnTo>
                <a:lnTo>
                  <a:pt x="315" y="618"/>
                </a:lnTo>
                <a:lnTo>
                  <a:pt x="298" y="606"/>
                </a:lnTo>
                <a:lnTo>
                  <a:pt x="294" y="606"/>
                </a:lnTo>
                <a:lnTo>
                  <a:pt x="275" y="592"/>
                </a:lnTo>
                <a:lnTo>
                  <a:pt x="265" y="595"/>
                </a:lnTo>
                <a:lnTo>
                  <a:pt x="286" y="569"/>
                </a:lnTo>
                <a:lnTo>
                  <a:pt x="305" y="552"/>
                </a:lnTo>
                <a:lnTo>
                  <a:pt x="317" y="545"/>
                </a:lnTo>
                <a:lnTo>
                  <a:pt x="329" y="533"/>
                </a:lnTo>
                <a:lnTo>
                  <a:pt x="329" y="519"/>
                </a:lnTo>
                <a:lnTo>
                  <a:pt x="322" y="509"/>
                </a:lnTo>
                <a:lnTo>
                  <a:pt x="315" y="512"/>
                </a:lnTo>
                <a:lnTo>
                  <a:pt x="317" y="502"/>
                </a:lnTo>
                <a:lnTo>
                  <a:pt x="320" y="493"/>
                </a:lnTo>
                <a:lnTo>
                  <a:pt x="320" y="481"/>
                </a:lnTo>
                <a:lnTo>
                  <a:pt x="312" y="479"/>
                </a:lnTo>
                <a:lnTo>
                  <a:pt x="308" y="481"/>
                </a:lnTo>
                <a:lnTo>
                  <a:pt x="301" y="481"/>
                </a:lnTo>
                <a:lnTo>
                  <a:pt x="298" y="474"/>
                </a:lnTo>
                <a:lnTo>
                  <a:pt x="298" y="460"/>
                </a:lnTo>
                <a:lnTo>
                  <a:pt x="296" y="453"/>
                </a:lnTo>
                <a:lnTo>
                  <a:pt x="284" y="448"/>
                </a:lnTo>
                <a:lnTo>
                  <a:pt x="277" y="453"/>
                </a:lnTo>
                <a:lnTo>
                  <a:pt x="260" y="448"/>
                </a:lnTo>
                <a:lnTo>
                  <a:pt x="263" y="424"/>
                </a:lnTo>
                <a:lnTo>
                  <a:pt x="256" y="415"/>
                </a:lnTo>
                <a:lnTo>
                  <a:pt x="263" y="412"/>
                </a:lnTo>
                <a:lnTo>
                  <a:pt x="260" y="403"/>
                </a:lnTo>
                <a:lnTo>
                  <a:pt x="265" y="393"/>
                </a:lnTo>
                <a:lnTo>
                  <a:pt x="267" y="382"/>
                </a:lnTo>
                <a:lnTo>
                  <a:pt x="263" y="372"/>
                </a:lnTo>
                <a:lnTo>
                  <a:pt x="256" y="365"/>
                </a:lnTo>
                <a:lnTo>
                  <a:pt x="253" y="360"/>
                </a:lnTo>
                <a:lnTo>
                  <a:pt x="256" y="351"/>
                </a:lnTo>
                <a:lnTo>
                  <a:pt x="225" y="351"/>
                </a:lnTo>
                <a:lnTo>
                  <a:pt x="218" y="329"/>
                </a:lnTo>
                <a:lnTo>
                  <a:pt x="223" y="329"/>
                </a:lnTo>
                <a:lnTo>
                  <a:pt x="223" y="322"/>
                </a:lnTo>
                <a:lnTo>
                  <a:pt x="220" y="318"/>
                </a:lnTo>
                <a:lnTo>
                  <a:pt x="218" y="308"/>
                </a:lnTo>
                <a:lnTo>
                  <a:pt x="211" y="303"/>
                </a:lnTo>
                <a:lnTo>
                  <a:pt x="199" y="303"/>
                </a:lnTo>
                <a:lnTo>
                  <a:pt x="192" y="299"/>
                </a:lnTo>
                <a:lnTo>
                  <a:pt x="182" y="294"/>
                </a:lnTo>
                <a:lnTo>
                  <a:pt x="175" y="289"/>
                </a:lnTo>
                <a:lnTo>
                  <a:pt x="156" y="285"/>
                </a:lnTo>
                <a:lnTo>
                  <a:pt x="140" y="270"/>
                </a:lnTo>
                <a:lnTo>
                  <a:pt x="140" y="261"/>
                </a:lnTo>
                <a:lnTo>
                  <a:pt x="137" y="254"/>
                </a:lnTo>
                <a:lnTo>
                  <a:pt x="140" y="242"/>
                </a:lnTo>
                <a:lnTo>
                  <a:pt x="118" y="244"/>
                </a:lnTo>
                <a:lnTo>
                  <a:pt x="111" y="251"/>
                </a:lnTo>
                <a:lnTo>
                  <a:pt x="97" y="258"/>
                </a:lnTo>
                <a:lnTo>
                  <a:pt x="92" y="263"/>
                </a:lnTo>
                <a:lnTo>
                  <a:pt x="85" y="263"/>
                </a:lnTo>
                <a:lnTo>
                  <a:pt x="74" y="261"/>
                </a:lnTo>
                <a:lnTo>
                  <a:pt x="64" y="263"/>
                </a:lnTo>
                <a:lnTo>
                  <a:pt x="57" y="263"/>
                </a:lnTo>
                <a:lnTo>
                  <a:pt x="57" y="237"/>
                </a:lnTo>
                <a:lnTo>
                  <a:pt x="45" y="247"/>
                </a:lnTo>
                <a:lnTo>
                  <a:pt x="29" y="247"/>
                </a:lnTo>
                <a:lnTo>
                  <a:pt x="24" y="237"/>
                </a:lnTo>
                <a:lnTo>
                  <a:pt x="12" y="237"/>
                </a:lnTo>
                <a:lnTo>
                  <a:pt x="17" y="230"/>
                </a:lnTo>
                <a:lnTo>
                  <a:pt x="7" y="221"/>
                </a:lnTo>
                <a:lnTo>
                  <a:pt x="0" y="206"/>
                </a:lnTo>
                <a:lnTo>
                  <a:pt x="5" y="202"/>
                </a:lnTo>
                <a:lnTo>
                  <a:pt x="5" y="197"/>
                </a:lnTo>
                <a:lnTo>
                  <a:pt x="14" y="192"/>
                </a:lnTo>
                <a:lnTo>
                  <a:pt x="12" y="183"/>
                </a:lnTo>
                <a:lnTo>
                  <a:pt x="17" y="176"/>
                </a:lnTo>
                <a:lnTo>
                  <a:pt x="19" y="169"/>
                </a:lnTo>
                <a:lnTo>
                  <a:pt x="36" y="157"/>
                </a:lnTo>
                <a:lnTo>
                  <a:pt x="50" y="154"/>
                </a:lnTo>
                <a:lnTo>
                  <a:pt x="52" y="152"/>
                </a:lnTo>
                <a:lnTo>
                  <a:pt x="66" y="154"/>
                </a:lnTo>
                <a:lnTo>
                  <a:pt x="74" y="109"/>
                </a:lnTo>
                <a:lnTo>
                  <a:pt x="74" y="102"/>
                </a:lnTo>
                <a:lnTo>
                  <a:pt x="71" y="93"/>
                </a:lnTo>
                <a:lnTo>
                  <a:pt x="64" y="88"/>
                </a:lnTo>
                <a:lnTo>
                  <a:pt x="64" y="74"/>
                </a:lnTo>
                <a:lnTo>
                  <a:pt x="74" y="71"/>
                </a:lnTo>
                <a:lnTo>
                  <a:pt x="78" y="74"/>
                </a:lnTo>
                <a:lnTo>
                  <a:pt x="78" y="67"/>
                </a:lnTo>
                <a:lnTo>
                  <a:pt x="69" y="67"/>
                </a:lnTo>
                <a:lnTo>
                  <a:pt x="69" y="55"/>
                </a:lnTo>
                <a:lnTo>
                  <a:pt x="100" y="57"/>
                </a:lnTo>
                <a:lnTo>
                  <a:pt x="104" y="50"/>
                </a:lnTo>
                <a:lnTo>
                  <a:pt x="109" y="55"/>
                </a:lnTo>
                <a:lnTo>
                  <a:pt x="111" y="67"/>
                </a:lnTo>
                <a:lnTo>
                  <a:pt x="116" y="64"/>
                </a:lnTo>
                <a:lnTo>
                  <a:pt x="126" y="71"/>
                </a:lnTo>
                <a:lnTo>
                  <a:pt x="137" y="71"/>
                </a:lnTo>
                <a:lnTo>
                  <a:pt x="140" y="67"/>
                </a:lnTo>
                <a:lnTo>
                  <a:pt x="152" y="62"/>
                </a:lnTo>
                <a:lnTo>
                  <a:pt x="159" y="60"/>
                </a:lnTo>
                <a:lnTo>
                  <a:pt x="161" y="53"/>
                </a:lnTo>
                <a:lnTo>
                  <a:pt x="173" y="48"/>
                </a:lnTo>
                <a:lnTo>
                  <a:pt x="171" y="45"/>
                </a:lnTo>
                <a:lnTo>
                  <a:pt x="159" y="43"/>
                </a:lnTo>
                <a:lnTo>
                  <a:pt x="156" y="34"/>
                </a:lnTo>
                <a:lnTo>
                  <a:pt x="156" y="24"/>
                </a:lnTo>
                <a:lnTo>
                  <a:pt x="149" y="19"/>
                </a:lnTo>
                <a:lnTo>
                  <a:pt x="152" y="17"/>
                </a:lnTo>
                <a:lnTo>
                  <a:pt x="163" y="19"/>
                </a:lnTo>
                <a:lnTo>
                  <a:pt x="178" y="24"/>
                </a:lnTo>
                <a:lnTo>
                  <a:pt x="182" y="19"/>
                </a:lnTo>
                <a:lnTo>
                  <a:pt x="194" y="17"/>
                </a:lnTo>
                <a:lnTo>
                  <a:pt x="211" y="10"/>
                </a:lnTo>
                <a:lnTo>
                  <a:pt x="218" y="5"/>
                </a:lnTo>
                <a:lnTo>
                  <a:pt x="215" y="0"/>
                </a:lnTo>
                <a:lnTo>
                  <a:pt x="223" y="0"/>
                </a:lnTo>
                <a:lnTo>
                  <a:pt x="227" y="3"/>
                </a:lnTo>
                <a:lnTo>
                  <a:pt x="225" y="10"/>
                </a:lnTo>
                <a:lnTo>
                  <a:pt x="230" y="12"/>
                </a:lnTo>
                <a:lnTo>
                  <a:pt x="234" y="19"/>
                </a:lnTo>
                <a:lnTo>
                  <a:pt x="234" y="19"/>
                </a:lnTo>
                <a:lnTo>
                  <a:pt x="234" y="19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solidFill>
              <a:schemeClr val="bg1"/>
            </a:solidFill>
            <a:round/>
            <a:headEnd/>
            <a:tailEnd/>
          </a:ln>
        </p:spPr>
        <p:txBody>
          <a:bodyPr rIns="13716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宋体" pitchFamily="2" charset="-122"/>
              <a:cs typeface="+mn-cs"/>
            </a:endParaRPr>
          </a:p>
        </p:txBody>
      </p:sp>
      <p:pic>
        <p:nvPicPr>
          <p:cNvPr id="22" name="Gráfico 13" descr="Marcador">
            <a:extLst>
              <a:ext uri="{FF2B5EF4-FFF2-40B4-BE49-F238E27FC236}">
                <a16:creationId xmlns:a16="http://schemas.microsoft.com/office/drawing/2014/main" id="{17ED7E0B-7356-4045-8D02-ACA5E4D4C8E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0780" y="1472894"/>
            <a:ext cx="369030" cy="3690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DBBB3C7A-3BD5-42D8-9921-1173EC57B88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34219" t="1" r="30267" b="60170"/>
          <a:stretch/>
        </p:blipFill>
        <p:spPr>
          <a:xfrm>
            <a:off x="7767203" y="4202760"/>
            <a:ext cx="3324469" cy="1739254"/>
          </a:xfrm>
          <a:prstGeom prst="rect">
            <a:avLst/>
          </a:prstGeom>
        </p:spPr>
      </p:pic>
      <p:pic>
        <p:nvPicPr>
          <p:cNvPr id="24" name="Imagem 23" descr="Cidade vista de cima de uma superfície de madeira&#10;&#10;Descrição gerada automaticamente com confiança média">
            <a:extLst>
              <a:ext uri="{FF2B5EF4-FFF2-40B4-BE49-F238E27FC236}">
                <a16:creationId xmlns:a16="http://schemas.microsoft.com/office/drawing/2014/main" id="{D6FC9272-6923-422A-82B0-9C07861CC6C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196" y="1295275"/>
            <a:ext cx="4843736" cy="27148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7" name="Agrupar 6">
            <a:extLst>
              <a:ext uri="{FF2B5EF4-FFF2-40B4-BE49-F238E27FC236}">
                <a16:creationId xmlns:a16="http://schemas.microsoft.com/office/drawing/2014/main" id="{5FA6D530-C9FB-2F35-425E-D8ECAE5FEACA}"/>
              </a:ext>
            </a:extLst>
          </p:cNvPr>
          <p:cNvGrpSpPr/>
          <p:nvPr/>
        </p:nvGrpSpPr>
        <p:grpSpPr>
          <a:xfrm>
            <a:off x="7076144" y="286799"/>
            <a:ext cx="1382118" cy="647780"/>
            <a:chOff x="419119" y="2894845"/>
            <a:chExt cx="1382118" cy="647780"/>
          </a:xfrm>
        </p:grpSpPr>
        <p:pic>
          <p:nvPicPr>
            <p:cNvPr id="8" name="Imagem 7" descr="Logotipo&#10;&#10;Descrição gerada automaticamente">
              <a:extLst>
                <a:ext uri="{FF2B5EF4-FFF2-40B4-BE49-F238E27FC236}">
                  <a16:creationId xmlns:a16="http://schemas.microsoft.com/office/drawing/2014/main" id="{F26547D5-8389-C544-862D-38C2B248BB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877"/>
            <a:stretch/>
          </p:blipFill>
          <p:spPr>
            <a:xfrm>
              <a:off x="419119" y="2894845"/>
              <a:ext cx="616271" cy="605594"/>
            </a:xfrm>
            <a:prstGeom prst="rect">
              <a:avLst/>
            </a:prstGeom>
          </p:spPr>
        </p:pic>
        <p:pic>
          <p:nvPicPr>
            <p:cNvPr id="10" name="Imagem 9" descr="Logotipo&#10;&#10;Descrição gerada automaticamente">
              <a:extLst>
                <a:ext uri="{FF2B5EF4-FFF2-40B4-BE49-F238E27FC236}">
                  <a16:creationId xmlns:a16="http://schemas.microsoft.com/office/drawing/2014/main" id="{BB9A00BC-C548-2898-DB7B-8139D51B5D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932"/>
            <a:stretch/>
          </p:blipFill>
          <p:spPr>
            <a:xfrm>
              <a:off x="1144361" y="2939203"/>
              <a:ext cx="656876" cy="423784"/>
            </a:xfrm>
            <a:prstGeom prst="rect">
              <a:avLst/>
            </a:prstGeom>
          </p:spPr>
        </p:pic>
        <p:sp>
          <p:nvSpPr>
            <p:cNvPr id="11" name="Rectangle 50">
              <a:extLst>
                <a:ext uri="{FF2B5EF4-FFF2-40B4-BE49-F238E27FC236}">
                  <a16:creationId xmlns:a16="http://schemas.microsoft.com/office/drawing/2014/main" id="{CCDC87C9-45A3-8223-60AA-5C17D66AA157}"/>
                </a:ext>
              </a:extLst>
            </p:cNvPr>
            <p:cNvSpPr/>
            <p:nvPr/>
          </p:nvSpPr>
          <p:spPr>
            <a:xfrm>
              <a:off x="1144361" y="3265626"/>
              <a:ext cx="656876" cy="276999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24848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FT Base Book" pitchFamily="2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mart</a:t>
              </a:r>
            </a:p>
          </p:txBody>
        </p:sp>
      </p:grpSp>
      <p:pic>
        <p:nvPicPr>
          <p:cNvPr id="2" name="Imagem 1">
            <a:extLst>
              <a:ext uri="{FF2B5EF4-FFF2-40B4-BE49-F238E27FC236}">
                <a16:creationId xmlns:a16="http://schemas.microsoft.com/office/drawing/2014/main" id="{01D84EAE-0EFF-62AC-ECCF-D3D4928D69FE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24975" b="45757"/>
          <a:stretch/>
        </p:blipFill>
        <p:spPr>
          <a:xfrm>
            <a:off x="9982140" y="6115806"/>
            <a:ext cx="2128897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229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20907"/>
    </mc:Choice>
    <mc:Fallback xmlns="">
      <p:transition advTm="20907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áfico 13">
            <a:extLst>
              <a:ext uri="{FF2B5EF4-FFF2-40B4-BE49-F238E27FC236}">
                <a16:creationId xmlns:a16="http://schemas.microsoft.com/office/drawing/2014/main" id="{4C1F78A2-D52A-41AD-986D-01A39F1C03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123825"/>
            <a:ext cx="6553200" cy="7058025"/>
          </a:xfrm>
          <a:prstGeom prst="rect">
            <a:avLst/>
          </a:prstGeom>
        </p:spPr>
      </p:pic>
      <p:sp>
        <p:nvSpPr>
          <p:cNvPr id="9" name="TextBox 10">
            <a:extLst>
              <a:ext uri="{FF2B5EF4-FFF2-40B4-BE49-F238E27FC236}">
                <a16:creationId xmlns:a16="http://schemas.microsoft.com/office/drawing/2014/main" id="{FA5D4AA0-941F-401D-BE99-DBDEF7C0426D}"/>
              </a:ext>
            </a:extLst>
          </p:cNvPr>
          <p:cNvSpPr txBox="1"/>
          <p:nvPr/>
        </p:nvSpPr>
        <p:spPr>
          <a:xfrm>
            <a:off x="741906" y="495992"/>
            <a:ext cx="3960723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Tecnologia de produção e abastecimento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A95A5F85-5C99-4040-89BA-3E263591EE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67602" y="246199"/>
            <a:ext cx="933450" cy="619125"/>
          </a:xfrm>
          <a:prstGeom prst="rect">
            <a:avLst/>
          </a:prstGeom>
        </p:spPr>
      </p:pic>
      <p:pic>
        <p:nvPicPr>
          <p:cNvPr id="23" name="Imagem 22" descr="Logotipo&#10;&#10;Descrição gerada automaticamente">
            <a:extLst>
              <a:ext uri="{FF2B5EF4-FFF2-40B4-BE49-F238E27FC236}">
                <a16:creationId xmlns:a16="http://schemas.microsoft.com/office/drawing/2014/main" id="{1DB4BEC6-850C-437B-9925-1DDE6A192D7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7" t="12752" r="9092" b="8181"/>
          <a:stretch/>
        </p:blipFill>
        <p:spPr>
          <a:xfrm>
            <a:off x="7071091" y="146578"/>
            <a:ext cx="1100189" cy="1006335"/>
          </a:xfrm>
          <a:prstGeom prst="rect">
            <a:avLst/>
          </a:prstGeom>
        </p:spPr>
      </p:pic>
      <p:sp>
        <p:nvSpPr>
          <p:cNvPr id="102" name="TextBox 12">
            <a:extLst>
              <a:ext uri="{FF2B5EF4-FFF2-40B4-BE49-F238E27FC236}">
                <a16:creationId xmlns:a16="http://schemas.microsoft.com/office/drawing/2014/main" id="{764D2EFB-DCA1-4CC1-8DEA-3DDC6E3555A8}"/>
              </a:ext>
            </a:extLst>
          </p:cNvPr>
          <p:cNvSpPr txBox="1"/>
          <p:nvPr/>
        </p:nvSpPr>
        <p:spPr>
          <a:xfrm>
            <a:off x="703225" y="1274832"/>
            <a:ext cx="5077254" cy="2355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641985" marR="5080" lvl="0" indent="-621030" algn="l" defTabSz="914400" rtl="0" eaLnBrk="1" fontAlgn="auto" latinLnBrk="0" hangingPunct="1">
              <a:lnSpc>
                <a:spcPct val="100800"/>
              </a:lnSpc>
              <a:spcBef>
                <a:spcPts val="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28FF52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Eletrolisador de 1,25 MW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6BBA5D39-9754-4D8E-824F-03756ECA31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49196" y="4290467"/>
            <a:ext cx="5077256" cy="1772694"/>
          </a:xfrm>
          <a:prstGeom prst="rect">
            <a:avLst/>
          </a:prstGeom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70AC3652-C071-49C9-A670-3ED82CD459DD}"/>
              </a:ext>
            </a:extLst>
          </p:cNvPr>
          <p:cNvSpPr txBox="1"/>
          <p:nvPr/>
        </p:nvSpPr>
        <p:spPr>
          <a:xfrm>
            <a:off x="8259350" y="243840"/>
            <a:ext cx="603212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Modelo: 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HyPEM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Potência instalada: 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1,25 MW (modular)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Produção de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H</a:t>
            </a:r>
            <a:r>
              <a:rPr kumimoji="0" lang="pt-BR" sz="1100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kumimoji="0" lang="pt-BR" sz="1100" b="0" i="0" u="none" strike="noStrike" kern="1200" cap="none" spc="0" normalizeH="0" baseline="-25000" noProof="0" dirty="0">
                <a:ln>
                  <a:noFill/>
                </a:ln>
                <a:solidFill>
                  <a:srgbClr val="606060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: 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22.3 kg/h ou 250 Nm3/h 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Eficiência: 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75%</a:t>
            </a:r>
          </a:p>
          <a:p>
            <a:pPr marL="120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600" algn="l"/>
              </a:tabLst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Eletrolisador: </a:t>
            </a: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Arial"/>
              </a:rPr>
              <a:t>membrana (PEM) – livre de cáusticos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24EC1877-AC07-42DE-9A8D-93259C57CD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5614" y="2119131"/>
            <a:ext cx="4716948" cy="37504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31">
            <a:extLst>
              <a:ext uri="{FF2B5EF4-FFF2-40B4-BE49-F238E27FC236}">
                <a16:creationId xmlns:a16="http://schemas.microsoft.com/office/drawing/2014/main" id="{9EB6533C-12B1-4AD7-95E4-8AF48A993C8E}"/>
              </a:ext>
            </a:extLst>
          </p:cNvPr>
          <p:cNvPicPr/>
          <p:nvPr/>
        </p:nvPicPr>
        <p:blipFill rotWithShape="1">
          <a:blip r:embed="rId10"/>
          <a:srcRect l="34711" r="27461" b="36691"/>
          <a:stretch/>
        </p:blipFill>
        <p:spPr>
          <a:xfrm>
            <a:off x="893184" y="1961005"/>
            <a:ext cx="936000" cy="936000"/>
          </a:xfrm>
          <a:prstGeom prst="ellipse">
            <a:avLst/>
          </a:prstGeom>
          <a:blipFill>
            <a:blip r:embed="rId11"/>
            <a:srcRect/>
            <a:stretch>
              <a:fillRect/>
            </a:stretch>
          </a:blip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Freeform 46">
            <a:extLst>
              <a:ext uri="{FF2B5EF4-FFF2-40B4-BE49-F238E27FC236}">
                <a16:creationId xmlns:a16="http://schemas.microsoft.com/office/drawing/2014/main" id="{5ED3E87B-EE1D-4513-886D-35319F72CD26}"/>
              </a:ext>
            </a:extLst>
          </p:cNvPr>
          <p:cNvSpPr>
            <a:spLocks/>
          </p:cNvSpPr>
          <p:nvPr/>
        </p:nvSpPr>
        <p:spPr bwMode="auto">
          <a:xfrm>
            <a:off x="644639" y="1624106"/>
            <a:ext cx="727578" cy="756178"/>
          </a:xfrm>
          <a:custGeom>
            <a:avLst/>
            <a:gdLst>
              <a:gd name="T0" fmla="*/ 227 w 636"/>
              <a:gd name="T1" fmla="*/ 41 h 661"/>
              <a:gd name="T2" fmla="*/ 251 w 636"/>
              <a:gd name="T3" fmla="*/ 64 h 661"/>
              <a:gd name="T4" fmla="*/ 270 w 636"/>
              <a:gd name="T5" fmla="*/ 53 h 661"/>
              <a:gd name="T6" fmla="*/ 294 w 636"/>
              <a:gd name="T7" fmla="*/ 50 h 661"/>
              <a:gd name="T8" fmla="*/ 305 w 636"/>
              <a:gd name="T9" fmla="*/ 43 h 661"/>
              <a:gd name="T10" fmla="*/ 331 w 636"/>
              <a:gd name="T11" fmla="*/ 45 h 661"/>
              <a:gd name="T12" fmla="*/ 353 w 636"/>
              <a:gd name="T13" fmla="*/ 31 h 661"/>
              <a:gd name="T14" fmla="*/ 381 w 636"/>
              <a:gd name="T15" fmla="*/ 53 h 661"/>
              <a:gd name="T16" fmla="*/ 383 w 636"/>
              <a:gd name="T17" fmla="*/ 86 h 661"/>
              <a:gd name="T18" fmla="*/ 445 w 636"/>
              <a:gd name="T19" fmla="*/ 100 h 661"/>
              <a:gd name="T20" fmla="*/ 495 w 636"/>
              <a:gd name="T21" fmla="*/ 121 h 661"/>
              <a:gd name="T22" fmla="*/ 596 w 636"/>
              <a:gd name="T23" fmla="*/ 161 h 661"/>
              <a:gd name="T24" fmla="*/ 634 w 636"/>
              <a:gd name="T25" fmla="*/ 192 h 661"/>
              <a:gd name="T26" fmla="*/ 599 w 636"/>
              <a:gd name="T27" fmla="*/ 263 h 661"/>
              <a:gd name="T28" fmla="*/ 568 w 636"/>
              <a:gd name="T29" fmla="*/ 308 h 661"/>
              <a:gd name="T30" fmla="*/ 558 w 636"/>
              <a:gd name="T31" fmla="*/ 382 h 661"/>
              <a:gd name="T32" fmla="*/ 523 w 636"/>
              <a:gd name="T33" fmla="*/ 453 h 661"/>
              <a:gd name="T34" fmla="*/ 464 w 636"/>
              <a:gd name="T35" fmla="*/ 479 h 661"/>
              <a:gd name="T36" fmla="*/ 409 w 636"/>
              <a:gd name="T37" fmla="*/ 528 h 661"/>
              <a:gd name="T38" fmla="*/ 395 w 636"/>
              <a:gd name="T39" fmla="*/ 576 h 661"/>
              <a:gd name="T40" fmla="*/ 346 w 636"/>
              <a:gd name="T41" fmla="*/ 651 h 661"/>
              <a:gd name="T42" fmla="*/ 327 w 636"/>
              <a:gd name="T43" fmla="*/ 628 h 661"/>
              <a:gd name="T44" fmla="*/ 275 w 636"/>
              <a:gd name="T45" fmla="*/ 592 h 661"/>
              <a:gd name="T46" fmla="*/ 317 w 636"/>
              <a:gd name="T47" fmla="*/ 545 h 661"/>
              <a:gd name="T48" fmla="*/ 315 w 636"/>
              <a:gd name="T49" fmla="*/ 512 h 661"/>
              <a:gd name="T50" fmla="*/ 312 w 636"/>
              <a:gd name="T51" fmla="*/ 479 h 661"/>
              <a:gd name="T52" fmla="*/ 298 w 636"/>
              <a:gd name="T53" fmla="*/ 460 h 661"/>
              <a:gd name="T54" fmla="*/ 260 w 636"/>
              <a:gd name="T55" fmla="*/ 448 h 661"/>
              <a:gd name="T56" fmla="*/ 260 w 636"/>
              <a:gd name="T57" fmla="*/ 403 h 661"/>
              <a:gd name="T58" fmla="*/ 256 w 636"/>
              <a:gd name="T59" fmla="*/ 365 h 661"/>
              <a:gd name="T60" fmla="*/ 218 w 636"/>
              <a:gd name="T61" fmla="*/ 329 h 661"/>
              <a:gd name="T62" fmla="*/ 218 w 636"/>
              <a:gd name="T63" fmla="*/ 308 h 661"/>
              <a:gd name="T64" fmla="*/ 182 w 636"/>
              <a:gd name="T65" fmla="*/ 294 h 661"/>
              <a:gd name="T66" fmla="*/ 140 w 636"/>
              <a:gd name="T67" fmla="*/ 261 h 661"/>
              <a:gd name="T68" fmla="*/ 111 w 636"/>
              <a:gd name="T69" fmla="*/ 251 h 661"/>
              <a:gd name="T70" fmla="*/ 74 w 636"/>
              <a:gd name="T71" fmla="*/ 261 h 661"/>
              <a:gd name="T72" fmla="*/ 45 w 636"/>
              <a:gd name="T73" fmla="*/ 247 h 661"/>
              <a:gd name="T74" fmla="*/ 17 w 636"/>
              <a:gd name="T75" fmla="*/ 230 h 661"/>
              <a:gd name="T76" fmla="*/ 5 w 636"/>
              <a:gd name="T77" fmla="*/ 197 h 661"/>
              <a:gd name="T78" fmla="*/ 19 w 636"/>
              <a:gd name="T79" fmla="*/ 169 h 661"/>
              <a:gd name="T80" fmla="*/ 66 w 636"/>
              <a:gd name="T81" fmla="*/ 154 h 661"/>
              <a:gd name="T82" fmla="*/ 64 w 636"/>
              <a:gd name="T83" fmla="*/ 88 h 661"/>
              <a:gd name="T84" fmla="*/ 78 w 636"/>
              <a:gd name="T85" fmla="*/ 67 h 661"/>
              <a:gd name="T86" fmla="*/ 104 w 636"/>
              <a:gd name="T87" fmla="*/ 50 h 661"/>
              <a:gd name="T88" fmla="*/ 126 w 636"/>
              <a:gd name="T89" fmla="*/ 71 h 661"/>
              <a:gd name="T90" fmla="*/ 159 w 636"/>
              <a:gd name="T91" fmla="*/ 60 h 661"/>
              <a:gd name="T92" fmla="*/ 159 w 636"/>
              <a:gd name="T93" fmla="*/ 43 h 661"/>
              <a:gd name="T94" fmla="*/ 152 w 636"/>
              <a:gd name="T95" fmla="*/ 17 h 661"/>
              <a:gd name="T96" fmla="*/ 194 w 636"/>
              <a:gd name="T97" fmla="*/ 17 h 661"/>
              <a:gd name="T98" fmla="*/ 223 w 636"/>
              <a:gd name="T99" fmla="*/ 0 h 661"/>
              <a:gd name="T100" fmla="*/ 234 w 636"/>
              <a:gd name="T101" fmla="*/ 19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36" h="661">
                <a:moveTo>
                  <a:pt x="234" y="19"/>
                </a:moveTo>
                <a:lnTo>
                  <a:pt x="234" y="19"/>
                </a:lnTo>
                <a:lnTo>
                  <a:pt x="230" y="24"/>
                </a:lnTo>
                <a:lnTo>
                  <a:pt x="227" y="41"/>
                </a:lnTo>
                <a:lnTo>
                  <a:pt x="232" y="48"/>
                </a:lnTo>
                <a:lnTo>
                  <a:pt x="232" y="55"/>
                </a:lnTo>
                <a:lnTo>
                  <a:pt x="244" y="62"/>
                </a:lnTo>
                <a:lnTo>
                  <a:pt x="251" y="64"/>
                </a:lnTo>
                <a:lnTo>
                  <a:pt x="253" y="60"/>
                </a:lnTo>
                <a:lnTo>
                  <a:pt x="258" y="60"/>
                </a:lnTo>
                <a:lnTo>
                  <a:pt x="265" y="57"/>
                </a:lnTo>
                <a:lnTo>
                  <a:pt x="270" y="53"/>
                </a:lnTo>
                <a:lnTo>
                  <a:pt x="279" y="55"/>
                </a:lnTo>
                <a:lnTo>
                  <a:pt x="284" y="53"/>
                </a:lnTo>
                <a:lnTo>
                  <a:pt x="291" y="55"/>
                </a:lnTo>
                <a:lnTo>
                  <a:pt x="294" y="50"/>
                </a:lnTo>
                <a:lnTo>
                  <a:pt x="291" y="48"/>
                </a:lnTo>
                <a:lnTo>
                  <a:pt x="294" y="43"/>
                </a:lnTo>
                <a:lnTo>
                  <a:pt x="298" y="45"/>
                </a:lnTo>
                <a:lnTo>
                  <a:pt x="305" y="43"/>
                </a:lnTo>
                <a:lnTo>
                  <a:pt x="315" y="45"/>
                </a:lnTo>
                <a:lnTo>
                  <a:pt x="324" y="50"/>
                </a:lnTo>
                <a:lnTo>
                  <a:pt x="327" y="45"/>
                </a:lnTo>
                <a:lnTo>
                  <a:pt x="331" y="45"/>
                </a:lnTo>
                <a:lnTo>
                  <a:pt x="334" y="50"/>
                </a:lnTo>
                <a:lnTo>
                  <a:pt x="341" y="50"/>
                </a:lnTo>
                <a:lnTo>
                  <a:pt x="348" y="43"/>
                </a:lnTo>
                <a:lnTo>
                  <a:pt x="353" y="31"/>
                </a:lnTo>
                <a:lnTo>
                  <a:pt x="362" y="17"/>
                </a:lnTo>
                <a:lnTo>
                  <a:pt x="367" y="17"/>
                </a:lnTo>
                <a:lnTo>
                  <a:pt x="372" y="24"/>
                </a:lnTo>
                <a:lnTo>
                  <a:pt x="381" y="53"/>
                </a:lnTo>
                <a:lnTo>
                  <a:pt x="390" y="55"/>
                </a:lnTo>
                <a:lnTo>
                  <a:pt x="390" y="67"/>
                </a:lnTo>
                <a:lnTo>
                  <a:pt x="379" y="81"/>
                </a:lnTo>
                <a:lnTo>
                  <a:pt x="383" y="86"/>
                </a:lnTo>
                <a:lnTo>
                  <a:pt x="412" y="88"/>
                </a:lnTo>
                <a:lnTo>
                  <a:pt x="412" y="105"/>
                </a:lnTo>
                <a:lnTo>
                  <a:pt x="424" y="93"/>
                </a:lnTo>
                <a:lnTo>
                  <a:pt x="445" y="100"/>
                </a:lnTo>
                <a:lnTo>
                  <a:pt x="471" y="109"/>
                </a:lnTo>
                <a:lnTo>
                  <a:pt x="480" y="119"/>
                </a:lnTo>
                <a:lnTo>
                  <a:pt x="476" y="128"/>
                </a:lnTo>
                <a:lnTo>
                  <a:pt x="495" y="121"/>
                </a:lnTo>
                <a:lnTo>
                  <a:pt x="528" y="131"/>
                </a:lnTo>
                <a:lnTo>
                  <a:pt x="551" y="131"/>
                </a:lnTo>
                <a:lnTo>
                  <a:pt x="575" y="143"/>
                </a:lnTo>
                <a:lnTo>
                  <a:pt x="596" y="161"/>
                </a:lnTo>
                <a:lnTo>
                  <a:pt x="608" y="166"/>
                </a:lnTo>
                <a:lnTo>
                  <a:pt x="622" y="166"/>
                </a:lnTo>
                <a:lnTo>
                  <a:pt x="627" y="173"/>
                </a:lnTo>
                <a:lnTo>
                  <a:pt x="634" y="192"/>
                </a:lnTo>
                <a:lnTo>
                  <a:pt x="636" y="202"/>
                </a:lnTo>
                <a:lnTo>
                  <a:pt x="629" y="230"/>
                </a:lnTo>
                <a:lnTo>
                  <a:pt x="622" y="240"/>
                </a:lnTo>
                <a:lnTo>
                  <a:pt x="599" y="263"/>
                </a:lnTo>
                <a:lnTo>
                  <a:pt x="589" y="282"/>
                </a:lnTo>
                <a:lnTo>
                  <a:pt x="577" y="296"/>
                </a:lnTo>
                <a:lnTo>
                  <a:pt x="573" y="296"/>
                </a:lnTo>
                <a:lnTo>
                  <a:pt x="568" y="308"/>
                </a:lnTo>
                <a:lnTo>
                  <a:pt x="568" y="339"/>
                </a:lnTo>
                <a:lnTo>
                  <a:pt x="566" y="365"/>
                </a:lnTo>
                <a:lnTo>
                  <a:pt x="563" y="377"/>
                </a:lnTo>
                <a:lnTo>
                  <a:pt x="558" y="382"/>
                </a:lnTo>
                <a:lnTo>
                  <a:pt x="554" y="405"/>
                </a:lnTo>
                <a:lnTo>
                  <a:pt x="540" y="429"/>
                </a:lnTo>
                <a:lnTo>
                  <a:pt x="535" y="445"/>
                </a:lnTo>
                <a:lnTo>
                  <a:pt x="523" y="453"/>
                </a:lnTo>
                <a:lnTo>
                  <a:pt x="518" y="464"/>
                </a:lnTo>
                <a:lnTo>
                  <a:pt x="502" y="464"/>
                </a:lnTo>
                <a:lnTo>
                  <a:pt x="476" y="472"/>
                </a:lnTo>
                <a:lnTo>
                  <a:pt x="464" y="479"/>
                </a:lnTo>
                <a:lnTo>
                  <a:pt x="445" y="483"/>
                </a:lnTo>
                <a:lnTo>
                  <a:pt x="426" y="498"/>
                </a:lnTo>
                <a:lnTo>
                  <a:pt x="414" y="516"/>
                </a:lnTo>
                <a:lnTo>
                  <a:pt x="409" y="528"/>
                </a:lnTo>
                <a:lnTo>
                  <a:pt x="414" y="538"/>
                </a:lnTo>
                <a:lnTo>
                  <a:pt x="409" y="557"/>
                </a:lnTo>
                <a:lnTo>
                  <a:pt x="407" y="566"/>
                </a:lnTo>
                <a:lnTo>
                  <a:pt x="395" y="576"/>
                </a:lnTo>
                <a:lnTo>
                  <a:pt x="379" y="609"/>
                </a:lnTo>
                <a:lnTo>
                  <a:pt x="362" y="623"/>
                </a:lnTo>
                <a:lnTo>
                  <a:pt x="353" y="632"/>
                </a:lnTo>
                <a:lnTo>
                  <a:pt x="346" y="651"/>
                </a:lnTo>
                <a:lnTo>
                  <a:pt x="334" y="661"/>
                </a:lnTo>
                <a:lnTo>
                  <a:pt x="329" y="651"/>
                </a:lnTo>
                <a:lnTo>
                  <a:pt x="336" y="642"/>
                </a:lnTo>
                <a:lnTo>
                  <a:pt x="327" y="628"/>
                </a:lnTo>
                <a:lnTo>
                  <a:pt x="315" y="618"/>
                </a:lnTo>
                <a:lnTo>
                  <a:pt x="298" y="606"/>
                </a:lnTo>
                <a:lnTo>
                  <a:pt x="294" y="606"/>
                </a:lnTo>
                <a:lnTo>
                  <a:pt x="275" y="592"/>
                </a:lnTo>
                <a:lnTo>
                  <a:pt x="265" y="595"/>
                </a:lnTo>
                <a:lnTo>
                  <a:pt x="286" y="569"/>
                </a:lnTo>
                <a:lnTo>
                  <a:pt x="305" y="552"/>
                </a:lnTo>
                <a:lnTo>
                  <a:pt x="317" y="545"/>
                </a:lnTo>
                <a:lnTo>
                  <a:pt x="329" y="533"/>
                </a:lnTo>
                <a:lnTo>
                  <a:pt x="329" y="519"/>
                </a:lnTo>
                <a:lnTo>
                  <a:pt x="322" y="509"/>
                </a:lnTo>
                <a:lnTo>
                  <a:pt x="315" y="512"/>
                </a:lnTo>
                <a:lnTo>
                  <a:pt x="317" y="502"/>
                </a:lnTo>
                <a:lnTo>
                  <a:pt x="320" y="493"/>
                </a:lnTo>
                <a:lnTo>
                  <a:pt x="320" y="481"/>
                </a:lnTo>
                <a:lnTo>
                  <a:pt x="312" y="479"/>
                </a:lnTo>
                <a:lnTo>
                  <a:pt x="308" y="481"/>
                </a:lnTo>
                <a:lnTo>
                  <a:pt x="301" y="481"/>
                </a:lnTo>
                <a:lnTo>
                  <a:pt x="298" y="474"/>
                </a:lnTo>
                <a:lnTo>
                  <a:pt x="298" y="460"/>
                </a:lnTo>
                <a:lnTo>
                  <a:pt x="296" y="453"/>
                </a:lnTo>
                <a:lnTo>
                  <a:pt x="284" y="448"/>
                </a:lnTo>
                <a:lnTo>
                  <a:pt x="277" y="453"/>
                </a:lnTo>
                <a:lnTo>
                  <a:pt x="260" y="448"/>
                </a:lnTo>
                <a:lnTo>
                  <a:pt x="263" y="424"/>
                </a:lnTo>
                <a:lnTo>
                  <a:pt x="256" y="415"/>
                </a:lnTo>
                <a:lnTo>
                  <a:pt x="263" y="412"/>
                </a:lnTo>
                <a:lnTo>
                  <a:pt x="260" y="403"/>
                </a:lnTo>
                <a:lnTo>
                  <a:pt x="265" y="393"/>
                </a:lnTo>
                <a:lnTo>
                  <a:pt x="267" y="382"/>
                </a:lnTo>
                <a:lnTo>
                  <a:pt x="263" y="372"/>
                </a:lnTo>
                <a:lnTo>
                  <a:pt x="256" y="365"/>
                </a:lnTo>
                <a:lnTo>
                  <a:pt x="253" y="360"/>
                </a:lnTo>
                <a:lnTo>
                  <a:pt x="256" y="351"/>
                </a:lnTo>
                <a:lnTo>
                  <a:pt x="225" y="351"/>
                </a:lnTo>
                <a:lnTo>
                  <a:pt x="218" y="329"/>
                </a:lnTo>
                <a:lnTo>
                  <a:pt x="223" y="329"/>
                </a:lnTo>
                <a:lnTo>
                  <a:pt x="223" y="322"/>
                </a:lnTo>
                <a:lnTo>
                  <a:pt x="220" y="318"/>
                </a:lnTo>
                <a:lnTo>
                  <a:pt x="218" y="308"/>
                </a:lnTo>
                <a:lnTo>
                  <a:pt x="211" y="303"/>
                </a:lnTo>
                <a:lnTo>
                  <a:pt x="199" y="303"/>
                </a:lnTo>
                <a:lnTo>
                  <a:pt x="192" y="299"/>
                </a:lnTo>
                <a:lnTo>
                  <a:pt x="182" y="294"/>
                </a:lnTo>
                <a:lnTo>
                  <a:pt x="175" y="289"/>
                </a:lnTo>
                <a:lnTo>
                  <a:pt x="156" y="285"/>
                </a:lnTo>
                <a:lnTo>
                  <a:pt x="140" y="270"/>
                </a:lnTo>
                <a:lnTo>
                  <a:pt x="140" y="261"/>
                </a:lnTo>
                <a:lnTo>
                  <a:pt x="137" y="254"/>
                </a:lnTo>
                <a:lnTo>
                  <a:pt x="140" y="242"/>
                </a:lnTo>
                <a:lnTo>
                  <a:pt x="118" y="244"/>
                </a:lnTo>
                <a:lnTo>
                  <a:pt x="111" y="251"/>
                </a:lnTo>
                <a:lnTo>
                  <a:pt x="97" y="258"/>
                </a:lnTo>
                <a:lnTo>
                  <a:pt x="92" y="263"/>
                </a:lnTo>
                <a:lnTo>
                  <a:pt x="85" y="263"/>
                </a:lnTo>
                <a:lnTo>
                  <a:pt x="74" y="261"/>
                </a:lnTo>
                <a:lnTo>
                  <a:pt x="64" y="263"/>
                </a:lnTo>
                <a:lnTo>
                  <a:pt x="57" y="263"/>
                </a:lnTo>
                <a:lnTo>
                  <a:pt x="57" y="237"/>
                </a:lnTo>
                <a:lnTo>
                  <a:pt x="45" y="247"/>
                </a:lnTo>
                <a:lnTo>
                  <a:pt x="29" y="247"/>
                </a:lnTo>
                <a:lnTo>
                  <a:pt x="24" y="237"/>
                </a:lnTo>
                <a:lnTo>
                  <a:pt x="12" y="237"/>
                </a:lnTo>
                <a:lnTo>
                  <a:pt x="17" y="230"/>
                </a:lnTo>
                <a:lnTo>
                  <a:pt x="7" y="221"/>
                </a:lnTo>
                <a:lnTo>
                  <a:pt x="0" y="206"/>
                </a:lnTo>
                <a:lnTo>
                  <a:pt x="5" y="202"/>
                </a:lnTo>
                <a:lnTo>
                  <a:pt x="5" y="197"/>
                </a:lnTo>
                <a:lnTo>
                  <a:pt x="14" y="192"/>
                </a:lnTo>
                <a:lnTo>
                  <a:pt x="12" y="183"/>
                </a:lnTo>
                <a:lnTo>
                  <a:pt x="17" y="176"/>
                </a:lnTo>
                <a:lnTo>
                  <a:pt x="19" y="169"/>
                </a:lnTo>
                <a:lnTo>
                  <a:pt x="36" y="157"/>
                </a:lnTo>
                <a:lnTo>
                  <a:pt x="50" y="154"/>
                </a:lnTo>
                <a:lnTo>
                  <a:pt x="52" y="152"/>
                </a:lnTo>
                <a:lnTo>
                  <a:pt x="66" y="154"/>
                </a:lnTo>
                <a:lnTo>
                  <a:pt x="74" y="109"/>
                </a:lnTo>
                <a:lnTo>
                  <a:pt x="74" y="102"/>
                </a:lnTo>
                <a:lnTo>
                  <a:pt x="71" y="93"/>
                </a:lnTo>
                <a:lnTo>
                  <a:pt x="64" y="88"/>
                </a:lnTo>
                <a:lnTo>
                  <a:pt x="64" y="74"/>
                </a:lnTo>
                <a:lnTo>
                  <a:pt x="74" y="71"/>
                </a:lnTo>
                <a:lnTo>
                  <a:pt x="78" y="74"/>
                </a:lnTo>
                <a:lnTo>
                  <a:pt x="78" y="67"/>
                </a:lnTo>
                <a:lnTo>
                  <a:pt x="69" y="67"/>
                </a:lnTo>
                <a:lnTo>
                  <a:pt x="69" y="55"/>
                </a:lnTo>
                <a:lnTo>
                  <a:pt x="100" y="57"/>
                </a:lnTo>
                <a:lnTo>
                  <a:pt x="104" y="50"/>
                </a:lnTo>
                <a:lnTo>
                  <a:pt x="109" y="55"/>
                </a:lnTo>
                <a:lnTo>
                  <a:pt x="111" y="67"/>
                </a:lnTo>
                <a:lnTo>
                  <a:pt x="116" y="64"/>
                </a:lnTo>
                <a:lnTo>
                  <a:pt x="126" y="71"/>
                </a:lnTo>
                <a:lnTo>
                  <a:pt x="137" y="71"/>
                </a:lnTo>
                <a:lnTo>
                  <a:pt x="140" y="67"/>
                </a:lnTo>
                <a:lnTo>
                  <a:pt x="152" y="62"/>
                </a:lnTo>
                <a:lnTo>
                  <a:pt x="159" y="60"/>
                </a:lnTo>
                <a:lnTo>
                  <a:pt x="161" y="53"/>
                </a:lnTo>
                <a:lnTo>
                  <a:pt x="173" y="48"/>
                </a:lnTo>
                <a:lnTo>
                  <a:pt x="171" y="45"/>
                </a:lnTo>
                <a:lnTo>
                  <a:pt x="159" y="43"/>
                </a:lnTo>
                <a:lnTo>
                  <a:pt x="156" y="34"/>
                </a:lnTo>
                <a:lnTo>
                  <a:pt x="156" y="24"/>
                </a:lnTo>
                <a:lnTo>
                  <a:pt x="149" y="19"/>
                </a:lnTo>
                <a:lnTo>
                  <a:pt x="152" y="17"/>
                </a:lnTo>
                <a:lnTo>
                  <a:pt x="163" y="19"/>
                </a:lnTo>
                <a:lnTo>
                  <a:pt x="178" y="24"/>
                </a:lnTo>
                <a:lnTo>
                  <a:pt x="182" y="19"/>
                </a:lnTo>
                <a:lnTo>
                  <a:pt x="194" y="17"/>
                </a:lnTo>
                <a:lnTo>
                  <a:pt x="211" y="10"/>
                </a:lnTo>
                <a:lnTo>
                  <a:pt x="218" y="5"/>
                </a:lnTo>
                <a:lnTo>
                  <a:pt x="215" y="0"/>
                </a:lnTo>
                <a:lnTo>
                  <a:pt x="223" y="0"/>
                </a:lnTo>
                <a:lnTo>
                  <a:pt x="227" y="3"/>
                </a:lnTo>
                <a:lnTo>
                  <a:pt x="225" y="10"/>
                </a:lnTo>
                <a:lnTo>
                  <a:pt x="230" y="12"/>
                </a:lnTo>
                <a:lnTo>
                  <a:pt x="234" y="19"/>
                </a:lnTo>
                <a:lnTo>
                  <a:pt x="234" y="19"/>
                </a:lnTo>
                <a:lnTo>
                  <a:pt x="234" y="19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solidFill>
              <a:schemeClr val="bg1"/>
            </a:solidFill>
            <a:round/>
            <a:headEnd/>
            <a:tailEnd/>
          </a:ln>
        </p:spPr>
        <p:txBody>
          <a:bodyPr rIns="13716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宋体" pitchFamily="2" charset="-122"/>
              <a:cs typeface="+mn-cs"/>
            </a:endParaRPr>
          </a:p>
        </p:txBody>
      </p:sp>
      <p:pic>
        <p:nvPicPr>
          <p:cNvPr id="20" name="Gráfico 13" descr="Marcador">
            <a:extLst>
              <a:ext uri="{FF2B5EF4-FFF2-40B4-BE49-F238E27FC236}">
                <a16:creationId xmlns:a16="http://schemas.microsoft.com/office/drawing/2014/main" id="{07547673-5BBB-4E5E-B774-E79B7EF86BA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0780" y="1472894"/>
            <a:ext cx="369030" cy="3690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5" name="Imagem 14" descr="Edifício de tijolos&#10;&#10;Descrição gerada automaticamente com confiança média">
            <a:extLst>
              <a:ext uri="{FF2B5EF4-FFF2-40B4-BE49-F238E27FC236}">
                <a16:creationId xmlns:a16="http://schemas.microsoft.com/office/drawing/2014/main" id="{12654D1D-AF00-422F-BDA1-C5816B068A2A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7008"/>
          <a:stretch/>
        </p:blipFill>
        <p:spPr>
          <a:xfrm>
            <a:off x="6949196" y="1307068"/>
            <a:ext cx="4843736" cy="27253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095AEBB4-088D-6FC0-C8AE-51092BF4FD8C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24975" b="45757"/>
          <a:stretch/>
        </p:blipFill>
        <p:spPr>
          <a:xfrm>
            <a:off x="9982140" y="6115806"/>
            <a:ext cx="2128897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76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24692"/>
    </mc:Choice>
    <mc:Fallback xmlns="">
      <p:transition advTm="24692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244;p3">
            <a:extLst>
              <a:ext uri="{FF2B5EF4-FFF2-40B4-BE49-F238E27FC236}">
                <a16:creationId xmlns:a16="http://schemas.microsoft.com/office/drawing/2014/main" id="{0B96F09F-96BA-78D3-B0A7-272FF94F254B}"/>
              </a:ext>
            </a:extLst>
          </p:cNvPr>
          <p:cNvSpPr/>
          <p:nvPr/>
        </p:nvSpPr>
        <p:spPr>
          <a:xfrm>
            <a:off x="169403" y="223576"/>
            <a:ext cx="10421429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ct val="0"/>
              </a:spcBef>
            </a:pPr>
            <a:endParaRPr lang="en-US" sz="2800" b="1" dirty="0">
              <a:ln w="6350" cap="flat">
                <a:noFill/>
                <a:miter lim="800000"/>
              </a:ln>
              <a:solidFill>
                <a:srgbClr val="6DE4FB"/>
              </a:solidFill>
              <a:latin typeface="FT Base Book" pitchFamily="2" charset="0"/>
              <a:ea typeface="+mj-ea"/>
              <a:cs typeface="+mj-cs"/>
              <a:sym typeface="Mulish Black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1D12B9DC-383A-44C7-4081-02E48E699763}"/>
              </a:ext>
            </a:extLst>
          </p:cNvPr>
          <p:cNvSpPr txBox="1"/>
          <p:nvPr/>
        </p:nvSpPr>
        <p:spPr>
          <a:xfrm>
            <a:off x="533400" y="1586693"/>
            <a:ext cx="5562600" cy="4585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t-BR" sz="1800" dirty="0">
                <a:latin typeface="FT Base Book" pitchFamily="2" charset="0"/>
              </a:rPr>
              <a:t>O setor de </a:t>
            </a:r>
            <a:r>
              <a:rPr lang="pt-BR" sz="1800" b="1" dirty="0">
                <a:latin typeface="FT Base Book" pitchFamily="2" charset="0"/>
              </a:rPr>
              <a:t>Energia é o principal responsável</a:t>
            </a:r>
            <a:r>
              <a:rPr lang="pt-BR" sz="1800" dirty="0">
                <a:latin typeface="FT Base Book" pitchFamily="2" charset="0"/>
              </a:rPr>
              <a:t> pela emissão de Gases de Efeito Estufa no Mundo e também possui alta </a:t>
            </a:r>
            <a:r>
              <a:rPr lang="pt-BR" sz="1800" b="1" dirty="0">
                <a:latin typeface="FT Base Book" pitchFamily="2" charset="0"/>
              </a:rPr>
              <a:t>exposição as alterações dos padrões climáticos</a:t>
            </a:r>
          </a:p>
          <a:p>
            <a:pPr algn="just"/>
            <a:endParaRPr lang="pt-BR" sz="1800" b="1" dirty="0">
              <a:latin typeface="FT Base Book" pitchFamily="2" charset="0"/>
            </a:endParaRPr>
          </a:p>
          <a:p>
            <a:pPr algn="just"/>
            <a:r>
              <a:rPr lang="pt-BR" sz="1800" dirty="0">
                <a:latin typeface="FT Base Book" pitchFamily="2" charset="0"/>
              </a:rPr>
              <a:t>Com isso as empresas do </a:t>
            </a:r>
            <a:r>
              <a:rPr lang="pt-BR" sz="1800" b="1" dirty="0">
                <a:latin typeface="FT Base Book" pitchFamily="2" charset="0"/>
              </a:rPr>
              <a:t>Setor Elétrico </a:t>
            </a:r>
            <a:r>
              <a:rPr lang="pt-BR" sz="1800" dirty="0">
                <a:latin typeface="FT Base Book" pitchFamily="2" charset="0"/>
              </a:rPr>
              <a:t>devem atuar e construir sua estratégia climática incorporando </a:t>
            </a:r>
            <a:r>
              <a:rPr lang="pt-BR" sz="1800" b="1" dirty="0">
                <a:latin typeface="FT Base Book" pitchFamily="2" charset="0"/>
              </a:rPr>
              <a:t>simultaneamente</a:t>
            </a:r>
            <a:r>
              <a:rPr lang="pt-BR" sz="1800" dirty="0">
                <a:latin typeface="FT Base Book" pitchFamily="2" charset="0"/>
              </a:rPr>
              <a:t> aspectos da </a:t>
            </a:r>
            <a:r>
              <a:rPr lang="pt-BR" sz="1800" b="1" dirty="0">
                <a:latin typeface="FT Base Book" pitchFamily="2" charset="0"/>
              </a:rPr>
              <a:t>Mitigação e Adaptação Climática</a:t>
            </a:r>
          </a:p>
          <a:p>
            <a:pPr algn="just"/>
            <a:endParaRPr lang="pt-BR" sz="1800" b="1" dirty="0">
              <a:latin typeface="FT Base Book" pitchFamily="2" charset="0"/>
            </a:endParaRPr>
          </a:p>
          <a:p>
            <a:pPr algn="just"/>
            <a:r>
              <a:rPr lang="pt-BR" sz="1800" dirty="0">
                <a:latin typeface="FT Base Book" pitchFamily="2" charset="0"/>
              </a:rPr>
              <a:t>Com um matriz renovável de 84%, o grande desafio da próxima década para o Brasil será </a:t>
            </a:r>
            <a:r>
              <a:rPr lang="pt-BR" sz="1800" b="1" dirty="0">
                <a:latin typeface="FT Base Book" pitchFamily="2" charset="0"/>
              </a:rPr>
              <a:t>expandir </a:t>
            </a:r>
            <a:r>
              <a:rPr lang="pt-BR" sz="1800" dirty="0">
                <a:latin typeface="FT Base Book" pitchFamily="2" charset="0"/>
              </a:rPr>
              <a:t>a capacidade instalada de fontes renováveis e </a:t>
            </a:r>
            <a:r>
              <a:rPr lang="pt-BR" sz="1800" b="1" dirty="0">
                <a:latin typeface="FT Base Book" pitchFamily="2" charset="0"/>
              </a:rPr>
              <a:t>diversificar a matriz </a:t>
            </a:r>
            <a:r>
              <a:rPr lang="pt-BR" sz="1800" dirty="0">
                <a:latin typeface="FT Base Book" pitchFamily="2" charset="0"/>
              </a:rPr>
              <a:t>para garantir a </a:t>
            </a:r>
            <a:r>
              <a:rPr lang="pt-BR" sz="1800" b="1" dirty="0">
                <a:latin typeface="FT Base Book" pitchFamily="2" charset="0"/>
              </a:rPr>
              <a:t>segurança energética </a:t>
            </a:r>
            <a:r>
              <a:rPr lang="pt-BR" sz="1800" dirty="0">
                <a:latin typeface="FT Base Book" pitchFamily="2" charset="0"/>
              </a:rPr>
              <a:t>no país.</a:t>
            </a:r>
            <a:endParaRPr lang="pt-BR" sz="1800" b="1" dirty="0">
              <a:latin typeface="FT Base Book" pitchFamily="2" charset="0"/>
            </a:endParaRPr>
          </a:p>
          <a:p>
            <a:pPr algn="just"/>
            <a:endParaRPr lang="pt-BR" sz="1100" b="1" dirty="0">
              <a:latin typeface="FT Base Book" pitchFamily="2" charset="0"/>
            </a:endParaRPr>
          </a:p>
          <a:p>
            <a:pPr algn="just"/>
            <a:r>
              <a:rPr lang="pt-BR" sz="1100" b="1" dirty="0">
                <a:latin typeface="FT Base Book" pitchFamily="2" charset="0"/>
              </a:rPr>
              <a:t>Fonte: </a:t>
            </a:r>
            <a:r>
              <a:rPr lang="pt-BR" sz="1100" dirty="0">
                <a:latin typeface="FT Base Book" pitchFamily="2" charset="0"/>
              </a:rPr>
              <a:t>BEN 2021 Ano base 2020</a:t>
            </a:r>
          </a:p>
        </p:txBody>
      </p:sp>
      <p:pic>
        <p:nvPicPr>
          <p:cNvPr id="6" name="Picture 2" descr="Emissões por setor – gráficos circulares">
            <a:extLst>
              <a:ext uri="{FF2B5EF4-FFF2-40B4-BE49-F238E27FC236}">
                <a16:creationId xmlns:a16="http://schemas.microsoft.com/office/drawing/2014/main" id="{4A277041-7597-5A1A-E40B-042C2220B1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6387" y="1401136"/>
            <a:ext cx="5055909" cy="4787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3EB27FC-E820-69E6-6537-306F20B5CC6D}"/>
              </a:ext>
            </a:extLst>
          </p:cNvPr>
          <p:cNvSpPr txBox="1">
            <a:spLocks/>
          </p:cNvSpPr>
          <p:nvPr/>
        </p:nvSpPr>
        <p:spPr>
          <a:xfrm>
            <a:off x="685800" y="372008"/>
            <a:ext cx="10234127" cy="37394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700" b="0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000000"/>
              </a:solidFill>
              <a:effectLst/>
              <a:uLnTx/>
              <a:uFillTx/>
              <a:latin typeface="FT Base"/>
              <a:ea typeface="+mj-ea"/>
              <a:cs typeface="+mj-cs"/>
            </a:endParaRPr>
          </a:p>
        </p:txBody>
      </p:sp>
      <p:pic>
        <p:nvPicPr>
          <p:cNvPr id="10" name="Picture 28" descr="Logo&#10;&#10;Description automatically generated">
            <a:extLst>
              <a:ext uri="{FF2B5EF4-FFF2-40B4-BE49-F238E27FC236}">
                <a16:creationId xmlns:a16="http://schemas.microsoft.com/office/drawing/2014/main" id="{E6ED28AD-30BD-B570-4DCD-9721C4AFE0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70093" y="176458"/>
            <a:ext cx="936107" cy="34916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40B12AE7-852F-16AB-D69D-6772F63DD5B5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10234127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0000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Por que transição energética?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0000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Impacto no Setor Elétrico</a:t>
            </a:r>
          </a:p>
        </p:txBody>
      </p:sp>
    </p:spTree>
    <p:extLst>
      <p:ext uri="{BB962C8B-B14F-4D97-AF65-F5344CB8AC3E}">
        <p14:creationId xmlns:p14="http://schemas.microsoft.com/office/powerpoint/2010/main" val="28228841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Imagem 52" descr="Edifício de tijolos&#10;&#10;Descrição gerada automaticamente com confiança média">
            <a:extLst>
              <a:ext uri="{FF2B5EF4-FFF2-40B4-BE49-F238E27FC236}">
                <a16:creationId xmlns:a16="http://schemas.microsoft.com/office/drawing/2014/main" id="{9CCDD5A2-1B8F-44AD-A7D6-89AEA205550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70000"/>
          </a:blip>
          <a:srcRect t="7008" b="7049"/>
          <a:stretch/>
        </p:blipFill>
        <p:spPr>
          <a:xfrm>
            <a:off x="3176" y="519842"/>
            <a:ext cx="12188824" cy="6338158"/>
          </a:xfrm>
          <a:prstGeom prst="rect">
            <a:avLst/>
          </a:prstGeom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762272E8-E7C7-4012-AC9E-A3553C199CE7}"/>
              </a:ext>
            </a:extLst>
          </p:cNvPr>
          <p:cNvSpPr/>
          <p:nvPr/>
        </p:nvSpPr>
        <p:spPr>
          <a:xfrm>
            <a:off x="360363" y="1282393"/>
            <a:ext cx="6876439" cy="4770602"/>
          </a:xfrm>
          <a:prstGeom prst="rect">
            <a:avLst/>
          </a:prstGeom>
          <a:solidFill>
            <a:schemeClr val="bg1">
              <a:alpha val="73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69" name="Rectangle 46">
            <a:extLst>
              <a:ext uri="{FF2B5EF4-FFF2-40B4-BE49-F238E27FC236}">
                <a16:creationId xmlns:a16="http://schemas.microsoft.com/office/drawing/2014/main" id="{0CA656A8-2675-423B-BFF4-FAC552DAF62F}"/>
              </a:ext>
            </a:extLst>
          </p:cNvPr>
          <p:cNvSpPr/>
          <p:nvPr/>
        </p:nvSpPr>
        <p:spPr>
          <a:xfrm>
            <a:off x="7601874" y="1282392"/>
            <a:ext cx="4229763" cy="4770602"/>
          </a:xfrm>
          <a:prstGeom prst="rect">
            <a:avLst/>
          </a:prstGeom>
          <a:solidFill>
            <a:schemeClr val="accent6"/>
          </a:solidFill>
          <a:ln w="6350" cap="sq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  <a:sym typeface="FT Base Book" pitchFamily="2" charset="0"/>
            </a:endParaRPr>
          </a:p>
        </p:txBody>
      </p:sp>
      <p:graphicFrame>
        <p:nvGraphicFramePr>
          <p:cNvPr id="41" name="Object 6" hidden="1">
            <a:extLst>
              <a:ext uri="{FF2B5EF4-FFF2-40B4-BE49-F238E27FC236}">
                <a16:creationId xmlns:a16="http://schemas.microsoft.com/office/drawing/2014/main" id="{5AEC58D2-FF8C-46D6-AF95-80B5FB0D39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41" name="Object 6" hidden="1">
                        <a:extLst>
                          <a:ext uri="{FF2B5EF4-FFF2-40B4-BE49-F238E27FC236}">
                            <a16:creationId xmlns:a16="http://schemas.microsoft.com/office/drawing/2014/main" id="{5AEC58D2-FF8C-46D6-AF95-80B5FB0D39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2E66D96D-6BEE-4500-911A-EE9AF2D832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72212"/>
            <a:ext cx="8379714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tabLst>
                <a:tab pos="457200" algn="l"/>
              </a:tabLst>
              <a:defRPr/>
            </a:pPr>
            <a:r>
              <a:rPr lang="en-US" dirty="0">
                <a:latin typeface="FT Base Book" pitchFamily="2" charset="0"/>
                <a:sym typeface="FT Base Book" pitchFamily="2" charset="0"/>
              </a:rPr>
              <a:t>No </a:t>
            </a:r>
            <a:r>
              <a:rPr lang="en-US" dirty="0" err="1">
                <a:latin typeface="FT Base Book" pitchFamily="2" charset="0"/>
                <a:sym typeface="FT Base Book" pitchFamily="2" charset="0"/>
              </a:rPr>
              <a:t>dia</a:t>
            </a:r>
            <a:r>
              <a:rPr lang="en-US" dirty="0">
                <a:latin typeface="FT Base Book" pitchFamily="2" charset="0"/>
                <a:sym typeface="FT Base Book" pitchFamily="2" charset="0"/>
              </a:rPr>
              <a:t> 15/12 </a:t>
            </a:r>
            <a:r>
              <a:rPr lang="en-US" dirty="0" err="1">
                <a:latin typeface="FT Base Book" pitchFamily="2" charset="0"/>
                <a:sym typeface="FT Base Book" pitchFamily="2" charset="0"/>
              </a:rPr>
              <a:t>foi</a:t>
            </a:r>
            <a:r>
              <a:rPr lang="en-US" dirty="0">
                <a:latin typeface="FT Base Book" pitchFamily="2" charset="0"/>
                <a:sym typeface="FT Base Book" pitchFamily="2" charset="0"/>
              </a:rPr>
              <a:t> </a:t>
            </a:r>
            <a:r>
              <a:rPr lang="en-US" dirty="0" err="1">
                <a:latin typeface="FT Base Book" pitchFamily="2" charset="0"/>
                <a:sym typeface="FT Base Book" pitchFamily="2" charset="0"/>
              </a:rPr>
              <a:t>produzida</a:t>
            </a:r>
            <a:r>
              <a:rPr lang="en-US" dirty="0">
                <a:latin typeface="FT Base Book" pitchFamily="2" charset="0"/>
                <a:sym typeface="FT Base Book" pitchFamily="2" charset="0"/>
              </a:rPr>
              <a:t> a </a:t>
            </a:r>
            <a:r>
              <a:rPr lang="en-US" dirty="0" err="1">
                <a:latin typeface="FT Base Book" pitchFamily="2" charset="0"/>
                <a:sym typeface="FT Base Book" pitchFamily="2" charset="0"/>
              </a:rPr>
              <a:t>primeira</a:t>
            </a:r>
            <a:r>
              <a:rPr lang="en-US" dirty="0">
                <a:latin typeface="FT Base Book" pitchFamily="2" charset="0"/>
                <a:sym typeface="FT Base Book" pitchFamily="2" charset="0"/>
              </a:rPr>
              <a:t> </a:t>
            </a:r>
            <a:r>
              <a:rPr lang="en-US" dirty="0" err="1">
                <a:latin typeface="FT Base Book" pitchFamily="2" charset="0"/>
                <a:sym typeface="FT Base Book" pitchFamily="2" charset="0"/>
              </a:rPr>
              <a:t>molécula</a:t>
            </a:r>
            <a:r>
              <a:rPr lang="en-US" dirty="0">
                <a:latin typeface="FT Base Book" pitchFamily="2" charset="0"/>
                <a:sym typeface="FT Base Book" pitchFamily="2" charset="0"/>
              </a:rPr>
              <a:t> de </a:t>
            </a:r>
            <a:r>
              <a:rPr lang="en-US" dirty="0" err="1">
                <a:latin typeface="FT Base Book" pitchFamily="2" charset="0"/>
                <a:sym typeface="FT Base Book" pitchFamily="2" charset="0"/>
              </a:rPr>
              <a:t>hidrogênio</a:t>
            </a:r>
            <a:r>
              <a:rPr lang="en-US" dirty="0">
                <a:latin typeface="FT Base Book" pitchFamily="2" charset="0"/>
                <a:sym typeface="FT Base Book" pitchFamily="2" charset="0"/>
              </a:rPr>
              <a:t> </a:t>
            </a:r>
            <a:r>
              <a:rPr lang="en-US" dirty="0" err="1">
                <a:latin typeface="FT Base Book" pitchFamily="2" charset="0"/>
                <a:sym typeface="FT Base Book" pitchFamily="2" charset="0"/>
              </a:rPr>
              <a:t>verde</a:t>
            </a:r>
            <a:r>
              <a:rPr lang="en-US" dirty="0">
                <a:latin typeface="FT Base Book" pitchFamily="2" charset="0"/>
                <a:sym typeface="FT Base Book" pitchFamily="2" charset="0"/>
              </a:rPr>
              <a:t> do </a:t>
            </a:r>
            <a:r>
              <a:rPr lang="en-US" dirty="0" err="1">
                <a:latin typeface="FT Base Book" pitchFamily="2" charset="0"/>
                <a:sym typeface="FT Base Book" pitchFamily="2" charset="0"/>
              </a:rPr>
              <a:t>projeto</a:t>
            </a:r>
            <a:r>
              <a:rPr lang="en-US" dirty="0">
                <a:latin typeface="FT Base Book" pitchFamily="2" charset="0"/>
                <a:sym typeface="FT Base Book" pitchFamily="2" charset="0"/>
              </a:rPr>
              <a:t> Pecém H2V</a:t>
            </a:r>
          </a:p>
        </p:txBody>
      </p:sp>
      <p:sp>
        <p:nvSpPr>
          <p:cNvPr id="192" name="Subtitle 2">
            <a:extLst>
              <a:ext uri="{FF2B5EF4-FFF2-40B4-BE49-F238E27FC236}">
                <a16:creationId xmlns:a16="http://schemas.microsoft.com/office/drawing/2014/main" id="{98813613-6CB3-4BD5-A051-2C2C80C668E4}"/>
              </a:ext>
            </a:extLst>
          </p:cNvPr>
          <p:cNvSpPr txBox="1">
            <a:spLocks/>
          </p:cNvSpPr>
          <p:nvPr/>
        </p:nvSpPr>
        <p:spPr>
          <a:xfrm>
            <a:off x="541337" y="1369266"/>
            <a:ext cx="307340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b="0" kern="1200" dirty="0">
                <a:solidFill>
                  <a:schemeClr val="tx1"/>
                </a:solidFill>
                <a:latin typeface="Mulish Regular Roman" pitchFamily="2" charset="0"/>
                <a:ea typeface="+mn-ea"/>
                <a:cs typeface="Arial" panose="020B0604020202020204" pitchFamily="34" charset="0"/>
                <a:sym typeface="Mulish" pitchFamily="2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Mulish Regular Roman" pitchFamily="2" charset="0"/>
                <a:ea typeface="+mn-ea"/>
                <a:cs typeface="+mn-cs"/>
                <a:sym typeface="Mulish" pitchFamily="2" charset="0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Mulish Regular Roman" pitchFamily="2" charset="0"/>
                <a:ea typeface="+mn-ea"/>
                <a:cs typeface="+mn-cs"/>
                <a:sym typeface="Mulish" pitchFamily="2" charset="0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Mulish Regular Roman" pitchFamily="2" charset="0"/>
                <a:ea typeface="+mn-ea"/>
                <a:cs typeface="+mn-cs"/>
                <a:sym typeface="Mulish" pitchFamily="2" charset="0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Mulish Regular Roman" pitchFamily="2" charset="0"/>
                <a:ea typeface="+mn-ea"/>
                <a:cs typeface="+mn-cs"/>
                <a:sym typeface="Mulish" pitchFamily="2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25E66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ecém H</a:t>
            </a:r>
            <a:r>
              <a:rPr kumimoji="0" lang="en-US" sz="1800" b="1" i="0" u="none" strike="noStrike" kern="1200" cap="none" spc="0" normalizeH="0" baseline="-25000" noProof="0" dirty="0">
                <a:ln>
                  <a:noFill/>
                </a:ln>
                <a:solidFill>
                  <a:srgbClr val="225E66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2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25E66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V</a:t>
            </a: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12E0EB84-3482-419B-BF4A-A88D9705E21D}"/>
              </a:ext>
            </a:extLst>
          </p:cNvPr>
          <p:cNvCxnSpPr>
            <a:cxnSpLocks/>
          </p:cNvCxnSpPr>
          <p:nvPr/>
        </p:nvCxnSpPr>
        <p:spPr>
          <a:xfrm>
            <a:off x="7531800" y="1458166"/>
            <a:ext cx="0" cy="4594828"/>
          </a:xfrm>
          <a:prstGeom prst="line">
            <a:avLst/>
          </a:prstGeom>
          <a:ln w="3175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5355473-8DDE-4A33-A3DA-0F2F21F3EAF0}"/>
              </a:ext>
            </a:extLst>
          </p:cNvPr>
          <p:cNvSpPr txBox="1">
            <a:spLocks/>
          </p:cNvSpPr>
          <p:nvPr/>
        </p:nvSpPr>
        <p:spPr>
          <a:xfrm>
            <a:off x="8511682" y="3775124"/>
            <a:ext cx="3158450" cy="430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Desenvolvimento de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inovações tecnológica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 em laboratório (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oC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C0B603-D94A-4BCA-BC4A-03408D7F4724}"/>
              </a:ext>
            </a:extLst>
          </p:cNvPr>
          <p:cNvSpPr txBox="1">
            <a:spLocks/>
          </p:cNvSpPr>
          <p:nvPr/>
        </p:nvSpPr>
        <p:spPr>
          <a:xfrm>
            <a:off x="8511682" y="1969424"/>
            <a:ext cx="3158450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Operar e manter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a planta gerando conhecimento e experiência a partir da entrada em operação do Projeto Piloto</a:t>
            </a: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53DDFA42-9AA7-479A-AAF9-C425DD1AEE48}"/>
              </a:ext>
            </a:extLst>
          </p:cNvPr>
          <p:cNvSpPr txBox="1">
            <a:spLocks/>
          </p:cNvSpPr>
          <p:nvPr/>
        </p:nvSpPr>
        <p:spPr>
          <a:xfrm>
            <a:off x="7795563" y="1369266"/>
            <a:ext cx="403607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b="0" kern="1200" dirty="0">
                <a:solidFill>
                  <a:schemeClr val="tx1"/>
                </a:solidFill>
                <a:latin typeface="Mulish Regular Roman" pitchFamily="2" charset="0"/>
                <a:ea typeface="+mn-ea"/>
                <a:cs typeface="Arial" panose="020B0604020202020204" pitchFamily="34" charset="0"/>
                <a:sym typeface="Mulish" pitchFamily="2" charset="0"/>
              </a:defRPr>
            </a:lvl1pPr>
            <a:lvl2pPr marL="2286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Mulish Regular Roman" pitchFamily="2" charset="0"/>
                <a:ea typeface="+mn-ea"/>
                <a:cs typeface="+mn-cs"/>
                <a:sym typeface="Mulish" pitchFamily="2" charset="0"/>
              </a:defRPr>
            </a:lvl2pPr>
            <a:lvl3pPr marL="439200" indent="-20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Mulish Regular Roman" pitchFamily="2" charset="0"/>
                <a:ea typeface="+mn-ea"/>
                <a:cs typeface="+mn-cs"/>
                <a:sym typeface="Mulish" pitchFamily="2" charset="0"/>
              </a:defRPr>
            </a:lvl3pPr>
            <a:lvl4pPr marL="604800" indent="-154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Mulish Regular Roman" pitchFamily="2" charset="0"/>
                <a:ea typeface="+mn-ea"/>
                <a:cs typeface="+mn-cs"/>
                <a:sym typeface="Mulish" pitchFamily="2" charset="0"/>
              </a:defRPr>
            </a:lvl4pPr>
            <a:lvl5pPr marL="813600" indent="-147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Mulish Regular Roman" pitchFamily="2" charset="0"/>
                <a:ea typeface="+mn-ea"/>
                <a:cs typeface="+mn-cs"/>
                <a:sym typeface="Mulish" pitchFamily="2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25E66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róximos passo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D356F39-9AF4-4A2C-91A4-FC57312ECA03}"/>
              </a:ext>
            </a:extLst>
          </p:cNvPr>
          <p:cNvSpPr txBox="1">
            <a:spLocks/>
          </p:cNvSpPr>
          <p:nvPr/>
        </p:nvSpPr>
        <p:spPr>
          <a:xfrm>
            <a:off x="8511682" y="4570252"/>
            <a:ext cx="3158450" cy="430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Ampliação dos tipos de uso do hidrogênio -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novos usos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grpSp>
        <p:nvGrpSpPr>
          <p:cNvPr id="63" name="Graphic 13">
            <a:extLst>
              <a:ext uri="{FF2B5EF4-FFF2-40B4-BE49-F238E27FC236}">
                <a16:creationId xmlns:a16="http://schemas.microsoft.com/office/drawing/2014/main" id="{AD9FDF52-C022-4412-A818-7AAACA6730E4}"/>
              </a:ext>
            </a:extLst>
          </p:cNvPr>
          <p:cNvGrpSpPr/>
          <p:nvPr/>
        </p:nvGrpSpPr>
        <p:grpSpPr>
          <a:xfrm>
            <a:off x="7798971" y="2071657"/>
            <a:ext cx="577029" cy="441864"/>
            <a:chOff x="4206044" y="1864995"/>
            <a:chExt cx="655768" cy="441864"/>
          </a:xfrm>
          <a:solidFill>
            <a:srgbClr val="333333"/>
          </a:solidFill>
        </p:grpSpPr>
        <p:sp>
          <p:nvSpPr>
            <p:cNvPr id="65" name="Freeform: Shape 43">
              <a:extLst>
                <a:ext uri="{FF2B5EF4-FFF2-40B4-BE49-F238E27FC236}">
                  <a16:creationId xmlns:a16="http://schemas.microsoft.com/office/drawing/2014/main" id="{59154DE7-77B4-4B67-A34E-576C1DB79473}"/>
                </a:ext>
              </a:extLst>
            </p:cNvPr>
            <p:cNvSpPr/>
            <p:nvPr/>
          </p:nvSpPr>
          <p:spPr>
            <a:xfrm>
              <a:off x="4316634" y="1980723"/>
              <a:ext cx="209930" cy="209931"/>
            </a:xfrm>
            <a:custGeom>
              <a:avLst/>
              <a:gdLst>
                <a:gd name="connsiteX0" fmla="*/ 104965 w 209930"/>
                <a:gd name="connsiteY0" fmla="*/ 0 h 209931"/>
                <a:gd name="connsiteX1" fmla="*/ 0 w 209930"/>
                <a:gd name="connsiteY1" fmla="*/ 104966 h 209931"/>
                <a:gd name="connsiteX2" fmla="*/ 104965 w 209930"/>
                <a:gd name="connsiteY2" fmla="*/ 209931 h 209931"/>
                <a:gd name="connsiteX3" fmla="*/ 209931 w 209930"/>
                <a:gd name="connsiteY3" fmla="*/ 104966 h 209931"/>
                <a:gd name="connsiteX4" fmla="*/ 104965 w 209930"/>
                <a:gd name="connsiteY4" fmla="*/ 0 h 209931"/>
                <a:gd name="connsiteX5" fmla="*/ 104965 w 209930"/>
                <a:gd name="connsiteY5" fmla="*/ 185642 h 209931"/>
                <a:gd name="connsiteX6" fmla="*/ 24289 w 209930"/>
                <a:gd name="connsiteY6" fmla="*/ 104966 h 209931"/>
                <a:gd name="connsiteX7" fmla="*/ 104965 w 209930"/>
                <a:gd name="connsiteY7" fmla="*/ 24289 h 209931"/>
                <a:gd name="connsiteX8" fmla="*/ 185642 w 209930"/>
                <a:gd name="connsiteY8" fmla="*/ 104966 h 209931"/>
                <a:gd name="connsiteX9" fmla="*/ 104965 w 209930"/>
                <a:gd name="connsiteY9" fmla="*/ 185642 h 20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930" h="209931">
                  <a:moveTo>
                    <a:pt x="104965" y="0"/>
                  </a:moveTo>
                  <a:cubicBezTo>
                    <a:pt x="47053" y="0"/>
                    <a:pt x="0" y="47053"/>
                    <a:pt x="0" y="104966"/>
                  </a:cubicBezTo>
                  <a:cubicBezTo>
                    <a:pt x="0" y="162877"/>
                    <a:pt x="47149" y="209931"/>
                    <a:pt x="104965" y="209931"/>
                  </a:cubicBezTo>
                  <a:cubicBezTo>
                    <a:pt x="162782" y="209931"/>
                    <a:pt x="209931" y="162782"/>
                    <a:pt x="209931" y="104966"/>
                  </a:cubicBezTo>
                  <a:cubicBezTo>
                    <a:pt x="209931" y="47149"/>
                    <a:pt x="162782" y="0"/>
                    <a:pt x="104965" y="0"/>
                  </a:cubicBezTo>
                  <a:close/>
                  <a:moveTo>
                    <a:pt x="104965" y="185642"/>
                  </a:moveTo>
                  <a:cubicBezTo>
                    <a:pt x="60484" y="185642"/>
                    <a:pt x="24289" y="149447"/>
                    <a:pt x="24289" y="104966"/>
                  </a:cubicBezTo>
                  <a:cubicBezTo>
                    <a:pt x="24289" y="60484"/>
                    <a:pt x="60484" y="24289"/>
                    <a:pt x="104965" y="24289"/>
                  </a:cubicBezTo>
                  <a:cubicBezTo>
                    <a:pt x="149447" y="24289"/>
                    <a:pt x="185642" y="60484"/>
                    <a:pt x="185642" y="104966"/>
                  </a:cubicBezTo>
                  <a:cubicBezTo>
                    <a:pt x="185642" y="149447"/>
                    <a:pt x="149447" y="185642"/>
                    <a:pt x="104965" y="185642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  <p:sp>
          <p:nvSpPr>
            <p:cNvPr id="67" name="Freeform: Shape 44">
              <a:extLst>
                <a:ext uri="{FF2B5EF4-FFF2-40B4-BE49-F238E27FC236}">
                  <a16:creationId xmlns:a16="http://schemas.microsoft.com/office/drawing/2014/main" id="{4D50CCBC-9993-487E-9D39-8089ADB521CA}"/>
                </a:ext>
              </a:extLst>
            </p:cNvPr>
            <p:cNvSpPr/>
            <p:nvPr/>
          </p:nvSpPr>
          <p:spPr>
            <a:xfrm>
              <a:off x="4206044" y="1864995"/>
              <a:ext cx="655768" cy="441864"/>
            </a:xfrm>
            <a:custGeom>
              <a:avLst/>
              <a:gdLst>
                <a:gd name="connsiteX0" fmla="*/ 651324 w 655768"/>
                <a:gd name="connsiteY0" fmla="*/ 246126 h 441864"/>
                <a:gd name="connsiteX1" fmla="*/ 653801 w 655768"/>
                <a:gd name="connsiteY1" fmla="*/ 228124 h 441864"/>
                <a:gd name="connsiteX2" fmla="*/ 627702 w 655768"/>
                <a:gd name="connsiteY2" fmla="*/ 182499 h 441864"/>
                <a:gd name="connsiteX3" fmla="*/ 610938 w 655768"/>
                <a:gd name="connsiteY3" fmla="*/ 175450 h 441864"/>
                <a:gd name="connsiteX4" fmla="*/ 569885 w 655768"/>
                <a:gd name="connsiteY4" fmla="*/ 186309 h 441864"/>
                <a:gd name="connsiteX5" fmla="*/ 555122 w 655768"/>
                <a:gd name="connsiteY5" fmla="*/ 176974 h 441864"/>
                <a:gd name="connsiteX6" fmla="*/ 544549 w 655768"/>
                <a:gd name="connsiteY6" fmla="*/ 136779 h 441864"/>
                <a:gd name="connsiteX7" fmla="*/ 530071 w 655768"/>
                <a:gd name="connsiteY7" fmla="*/ 125635 h 441864"/>
                <a:gd name="connsiteX8" fmla="*/ 473588 w 655768"/>
                <a:gd name="connsiteY8" fmla="*/ 125825 h 441864"/>
                <a:gd name="connsiteX9" fmla="*/ 459014 w 655768"/>
                <a:gd name="connsiteY9" fmla="*/ 138017 h 441864"/>
                <a:gd name="connsiteX10" fmla="*/ 453014 w 655768"/>
                <a:gd name="connsiteY10" fmla="*/ 171069 h 441864"/>
                <a:gd name="connsiteX11" fmla="*/ 429963 w 655768"/>
                <a:gd name="connsiteY11" fmla="*/ 184690 h 441864"/>
                <a:gd name="connsiteX12" fmla="*/ 412342 w 655768"/>
                <a:gd name="connsiteY12" fmla="*/ 179832 h 441864"/>
                <a:gd name="connsiteX13" fmla="*/ 425486 w 655768"/>
                <a:gd name="connsiteY13" fmla="*/ 166973 h 441864"/>
                <a:gd name="connsiteX14" fmla="*/ 428725 w 655768"/>
                <a:gd name="connsiteY14" fmla="*/ 143256 h 441864"/>
                <a:gd name="connsiteX15" fmla="*/ 391958 w 655768"/>
                <a:gd name="connsiteY15" fmla="*/ 79058 h 441864"/>
                <a:gd name="connsiteX16" fmla="*/ 369956 w 655768"/>
                <a:gd name="connsiteY16" fmla="*/ 69913 h 441864"/>
                <a:gd name="connsiteX17" fmla="*/ 311663 w 655768"/>
                <a:gd name="connsiteY17" fmla="*/ 85344 h 441864"/>
                <a:gd name="connsiteX18" fmla="*/ 289946 w 655768"/>
                <a:gd name="connsiteY18" fmla="*/ 71628 h 441864"/>
                <a:gd name="connsiteX19" fmla="*/ 274896 w 655768"/>
                <a:gd name="connsiteY19" fmla="*/ 14573 h 441864"/>
                <a:gd name="connsiteX20" fmla="*/ 255941 w 655768"/>
                <a:gd name="connsiteY20" fmla="*/ 0 h 441864"/>
                <a:gd name="connsiteX21" fmla="*/ 176503 w 655768"/>
                <a:gd name="connsiteY21" fmla="*/ 286 h 441864"/>
                <a:gd name="connsiteX22" fmla="*/ 157358 w 655768"/>
                <a:gd name="connsiteY22" fmla="*/ 16288 h 441864"/>
                <a:gd name="connsiteX23" fmla="*/ 148785 w 655768"/>
                <a:gd name="connsiteY23" fmla="*/ 63436 h 441864"/>
                <a:gd name="connsiteX24" fmla="*/ 115352 w 655768"/>
                <a:gd name="connsiteY24" fmla="*/ 83249 h 441864"/>
                <a:gd name="connsiteX25" fmla="*/ 62012 w 655768"/>
                <a:gd name="connsiteY25" fmla="*/ 68485 h 441864"/>
                <a:gd name="connsiteX26" fmla="*/ 39914 w 655768"/>
                <a:gd name="connsiteY26" fmla="*/ 77534 h 441864"/>
                <a:gd name="connsiteX27" fmla="*/ 2672 w 655768"/>
                <a:gd name="connsiteY27" fmla="*/ 141446 h 441864"/>
                <a:gd name="connsiteX28" fmla="*/ 5720 w 655768"/>
                <a:gd name="connsiteY28" fmla="*/ 165068 h 441864"/>
                <a:gd name="connsiteX29" fmla="*/ 44963 w 655768"/>
                <a:gd name="connsiteY29" fmla="*/ 204502 h 441864"/>
                <a:gd name="connsiteX30" fmla="*/ 44963 w 655768"/>
                <a:gd name="connsiteY30" fmla="*/ 241268 h 441864"/>
                <a:gd name="connsiteX31" fmla="*/ 11530 w 655768"/>
                <a:gd name="connsiteY31" fmla="*/ 274796 h 441864"/>
                <a:gd name="connsiteX32" fmla="*/ 8387 w 655768"/>
                <a:gd name="connsiteY32" fmla="*/ 298323 h 441864"/>
                <a:gd name="connsiteX33" fmla="*/ 45153 w 655768"/>
                <a:gd name="connsiteY33" fmla="*/ 362522 h 441864"/>
                <a:gd name="connsiteX34" fmla="*/ 67156 w 655768"/>
                <a:gd name="connsiteY34" fmla="*/ 371666 h 441864"/>
                <a:gd name="connsiteX35" fmla="*/ 113828 w 655768"/>
                <a:gd name="connsiteY35" fmla="*/ 359283 h 441864"/>
                <a:gd name="connsiteX36" fmla="*/ 148880 w 655768"/>
                <a:gd name="connsiteY36" fmla="*/ 376523 h 441864"/>
                <a:gd name="connsiteX37" fmla="*/ 162215 w 655768"/>
                <a:gd name="connsiteY37" fmla="*/ 426911 h 441864"/>
                <a:gd name="connsiteX38" fmla="*/ 181075 w 655768"/>
                <a:gd name="connsiteY38" fmla="*/ 441484 h 441864"/>
                <a:gd name="connsiteX39" fmla="*/ 255084 w 655768"/>
                <a:gd name="connsiteY39" fmla="*/ 441770 h 441864"/>
                <a:gd name="connsiteX40" fmla="*/ 273944 w 655768"/>
                <a:gd name="connsiteY40" fmla="*/ 427196 h 441864"/>
                <a:gd name="connsiteX41" fmla="*/ 289088 w 655768"/>
                <a:gd name="connsiteY41" fmla="*/ 370332 h 441864"/>
                <a:gd name="connsiteX42" fmla="*/ 308900 w 655768"/>
                <a:gd name="connsiteY42" fmla="*/ 358235 h 441864"/>
                <a:gd name="connsiteX43" fmla="*/ 362145 w 655768"/>
                <a:gd name="connsiteY43" fmla="*/ 372999 h 441864"/>
                <a:gd name="connsiteX44" fmla="*/ 372337 w 655768"/>
                <a:gd name="connsiteY44" fmla="*/ 372713 h 441864"/>
                <a:gd name="connsiteX45" fmla="*/ 379290 w 655768"/>
                <a:gd name="connsiteY45" fmla="*/ 384810 h 441864"/>
                <a:gd name="connsiteX46" fmla="*/ 396054 w 655768"/>
                <a:gd name="connsiteY46" fmla="*/ 391859 h 441864"/>
                <a:gd name="connsiteX47" fmla="*/ 428915 w 655768"/>
                <a:gd name="connsiteY47" fmla="*/ 383191 h 441864"/>
                <a:gd name="connsiteX48" fmla="*/ 453109 w 655768"/>
                <a:gd name="connsiteY48" fmla="*/ 395097 h 441864"/>
                <a:gd name="connsiteX49" fmla="*/ 462443 w 655768"/>
                <a:gd name="connsiteY49" fmla="*/ 430530 h 441864"/>
                <a:gd name="connsiteX50" fmla="*/ 476826 w 655768"/>
                <a:gd name="connsiteY50" fmla="*/ 441674 h 441864"/>
                <a:gd name="connsiteX51" fmla="*/ 529499 w 655768"/>
                <a:gd name="connsiteY51" fmla="*/ 441865 h 441864"/>
                <a:gd name="connsiteX52" fmla="*/ 543882 w 655768"/>
                <a:gd name="connsiteY52" fmla="*/ 430816 h 441864"/>
                <a:gd name="connsiteX53" fmla="*/ 554550 w 655768"/>
                <a:gd name="connsiteY53" fmla="*/ 390811 h 441864"/>
                <a:gd name="connsiteX54" fmla="*/ 567980 w 655768"/>
                <a:gd name="connsiteY54" fmla="*/ 382619 h 441864"/>
                <a:gd name="connsiteX55" fmla="*/ 605414 w 655768"/>
                <a:gd name="connsiteY55" fmla="*/ 393002 h 441864"/>
                <a:gd name="connsiteX56" fmla="*/ 622273 w 655768"/>
                <a:gd name="connsiteY56" fmla="*/ 386144 h 441864"/>
                <a:gd name="connsiteX57" fmla="*/ 648752 w 655768"/>
                <a:gd name="connsiteY57" fmla="*/ 340709 h 441864"/>
                <a:gd name="connsiteX58" fmla="*/ 646466 w 655768"/>
                <a:gd name="connsiteY58" fmla="*/ 322707 h 441864"/>
                <a:gd name="connsiteX59" fmla="*/ 619034 w 655768"/>
                <a:gd name="connsiteY59" fmla="*/ 295085 h 441864"/>
                <a:gd name="connsiteX60" fmla="*/ 619415 w 655768"/>
                <a:gd name="connsiteY60" fmla="*/ 277749 h 441864"/>
                <a:gd name="connsiteX61" fmla="*/ 651515 w 655768"/>
                <a:gd name="connsiteY61" fmla="*/ 246221 h 441864"/>
                <a:gd name="connsiteX62" fmla="*/ 305471 w 655768"/>
                <a:gd name="connsiteY62" fmla="*/ 333470 h 441864"/>
                <a:gd name="connsiteX63" fmla="*/ 269181 w 655768"/>
                <a:gd name="connsiteY63" fmla="*/ 355568 h 441864"/>
                <a:gd name="connsiteX64" fmla="*/ 252322 w 655768"/>
                <a:gd name="connsiteY64" fmla="*/ 418814 h 441864"/>
                <a:gd name="connsiteX65" fmla="*/ 183647 w 655768"/>
                <a:gd name="connsiteY65" fmla="*/ 418529 h 441864"/>
                <a:gd name="connsiteX66" fmla="*/ 168311 w 655768"/>
                <a:gd name="connsiteY66" fmla="*/ 360521 h 441864"/>
                <a:gd name="connsiteX67" fmla="*/ 116114 w 655768"/>
                <a:gd name="connsiteY67" fmla="*/ 334804 h 441864"/>
                <a:gd name="connsiteX68" fmla="*/ 63632 w 655768"/>
                <a:gd name="connsiteY68" fmla="*/ 348710 h 441864"/>
                <a:gd name="connsiteX69" fmla="*/ 29532 w 655768"/>
                <a:gd name="connsiteY69" fmla="*/ 289084 h 441864"/>
                <a:gd name="connsiteX70" fmla="*/ 67823 w 655768"/>
                <a:gd name="connsiteY70" fmla="*/ 250698 h 441864"/>
                <a:gd name="connsiteX71" fmla="*/ 67823 w 655768"/>
                <a:gd name="connsiteY71" fmla="*/ 194977 h 441864"/>
                <a:gd name="connsiteX72" fmla="*/ 23817 w 655768"/>
                <a:gd name="connsiteY72" fmla="*/ 150686 h 441864"/>
                <a:gd name="connsiteX73" fmla="*/ 58393 w 655768"/>
                <a:gd name="connsiteY73" fmla="*/ 91345 h 441864"/>
                <a:gd name="connsiteX74" fmla="*/ 118591 w 655768"/>
                <a:gd name="connsiteY74" fmla="*/ 108013 h 441864"/>
                <a:gd name="connsiteX75" fmla="*/ 169550 w 655768"/>
                <a:gd name="connsiteY75" fmla="*/ 77914 h 441864"/>
                <a:gd name="connsiteX76" fmla="*/ 179551 w 655768"/>
                <a:gd name="connsiteY76" fmla="*/ 23241 h 441864"/>
                <a:gd name="connsiteX77" fmla="*/ 253370 w 655768"/>
                <a:gd name="connsiteY77" fmla="*/ 22955 h 441864"/>
                <a:gd name="connsiteX78" fmla="*/ 270038 w 655768"/>
                <a:gd name="connsiteY78" fmla="*/ 86201 h 441864"/>
                <a:gd name="connsiteX79" fmla="*/ 307853 w 655768"/>
                <a:gd name="connsiteY79" fmla="*/ 110109 h 441864"/>
                <a:gd name="connsiteX80" fmla="*/ 373289 w 655768"/>
                <a:gd name="connsiteY80" fmla="*/ 92774 h 441864"/>
                <a:gd name="connsiteX81" fmla="*/ 407389 w 655768"/>
                <a:gd name="connsiteY81" fmla="*/ 152305 h 441864"/>
                <a:gd name="connsiteX82" fmla="*/ 357192 w 655768"/>
                <a:gd name="connsiteY82" fmla="*/ 201740 h 441864"/>
                <a:gd name="connsiteX83" fmla="*/ 356240 w 655768"/>
                <a:gd name="connsiteY83" fmla="*/ 246412 h 441864"/>
                <a:gd name="connsiteX84" fmla="*/ 400340 w 655768"/>
                <a:gd name="connsiteY84" fmla="*/ 290703 h 441864"/>
                <a:gd name="connsiteX85" fmla="*/ 365765 w 655768"/>
                <a:gd name="connsiteY85" fmla="*/ 350044 h 441864"/>
                <a:gd name="connsiteX86" fmla="*/ 305471 w 655768"/>
                <a:gd name="connsiteY86" fmla="*/ 333375 h 441864"/>
                <a:gd name="connsiteX87" fmla="*/ 631512 w 655768"/>
                <a:gd name="connsiteY87" fmla="*/ 333661 h 441864"/>
                <a:gd name="connsiteX88" fmla="*/ 607700 w 655768"/>
                <a:gd name="connsiteY88" fmla="*/ 374523 h 441864"/>
                <a:gd name="connsiteX89" fmla="*/ 565218 w 655768"/>
                <a:gd name="connsiteY89" fmla="*/ 362712 h 441864"/>
                <a:gd name="connsiteX90" fmla="*/ 538739 w 655768"/>
                <a:gd name="connsiteY90" fmla="*/ 378905 h 441864"/>
                <a:gd name="connsiteX91" fmla="*/ 526832 w 655768"/>
                <a:gd name="connsiteY91" fmla="*/ 423481 h 441864"/>
                <a:gd name="connsiteX92" fmla="*/ 479588 w 655768"/>
                <a:gd name="connsiteY92" fmla="*/ 423291 h 441864"/>
                <a:gd name="connsiteX93" fmla="*/ 468825 w 655768"/>
                <a:gd name="connsiteY93" fmla="*/ 382334 h 441864"/>
                <a:gd name="connsiteX94" fmla="*/ 430916 w 655768"/>
                <a:gd name="connsiteY94" fmla="*/ 363665 h 441864"/>
                <a:gd name="connsiteX95" fmla="*/ 393959 w 655768"/>
                <a:gd name="connsiteY95" fmla="*/ 373475 h 441864"/>
                <a:gd name="connsiteX96" fmla="*/ 386434 w 655768"/>
                <a:gd name="connsiteY96" fmla="*/ 360331 h 441864"/>
                <a:gd name="connsiteX97" fmla="*/ 421486 w 655768"/>
                <a:gd name="connsiteY97" fmla="*/ 300038 h 441864"/>
                <a:gd name="connsiteX98" fmla="*/ 418438 w 655768"/>
                <a:gd name="connsiteY98" fmla="*/ 276416 h 441864"/>
                <a:gd name="connsiteX99" fmla="*/ 379385 w 655768"/>
                <a:gd name="connsiteY99" fmla="*/ 237173 h 441864"/>
                <a:gd name="connsiteX100" fmla="*/ 379957 w 655768"/>
                <a:gd name="connsiteY100" fmla="*/ 211646 h 441864"/>
                <a:gd name="connsiteX101" fmla="*/ 397197 w 655768"/>
                <a:gd name="connsiteY101" fmla="*/ 194691 h 441864"/>
                <a:gd name="connsiteX102" fmla="*/ 432630 w 655768"/>
                <a:gd name="connsiteY102" fmla="*/ 204502 h 441864"/>
                <a:gd name="connsiteX103" fmla="*/ 469587 w 655768"/>
                <a:gd name="connsiteY103" fmla="*/ 182594 h 441864"/>
                <a:gd name="connsiteX104" fmla="*/ 476636 w 655768"/>
                <a:gd name="connsiteY104" fmla="*/ 144113 h 441864"/>
                <a:gd name="connsiteX105" fmla="*/ 527499 w 655768"/>
                <a:gd name="connsiteY105" fmla="*/ 143923 h 441864"/>
                <a:gd name="connsiteX106" fmla="*/ 539215 w 655768"/>
                <a:gd name="connsiteY106" fmla="*/ 188595 h 441864"/>
                <a:gd name="connsiteX107" fmla="*/ 566837 w 655768"/>
                <a:gd name="connsiteY107" fmla="*/ 206026 h 441864"/>
                <a:gd name="connsiteX108" fmla="*/ 613034 w 655768"/>
                <a:gd name="connsiteY108" fmla="*/ 193834 h 441864"/>
                <a:gd name="connsiteX109" fmla="*/ 636560 w 655768"/>
                <a:gd name="connsiteY109" fmla="*/ 234886 h 441864"/>
                <a:gd name="connsiteX110" fmla="*/ 601127 w 655768"/>
                <a:gd name="connsiteY110" fmla="*/ 269748 h 441864"/>
                <a:gd name="connsiteX111" fmla="*/ 600461 w 655768"/>
                <a:gd name="connsiteY111" fmla="*/ 302324 h 441864"/>
                <a:gd name="connsiteX112" fmla="*/ 631607 w 655768"/>
                <a:gd name="connsiteY112" fmla="*/ 333566 h 441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655768" h="441864">
                  <a:moveTo>
                    <a:pt x="651324" y="246126"/>
                  </a:moveTo>
                  <a:cubicBezTo>
                    <a:pt x="656182" y="241364"/>
                    <a:pt x="657134" y="233934"/>
                    <a:pt x="653801" y="228124"/>
                  </a:cubicBezTo>
                  <a:lnTo>
                    <a:pt x="627702" y="182499"/>
                  </a:lnTo>
                  <a:cubicBezTo>
                    <a:pt x="624368" y="176784"/>
                    <a:pt x="617225" y="173831"/>
                    <a:pt x="610938" y="175450"/>
                  </a:cubicBezTo>
                  <a:lnTo>
                    <a:pt x="569885" y="186309"/>
                  </a:lnTo>
                  <a:lnTo>
                    <a:pt x="555122" y="176974"/>
                  </a:lnTo>
                  <a:lnTo>
                    <a:pt x="544549" y="136779"/>
                  </a:lnTo>
                  <a:cubicBezTo>
                    <a:pt x="542834" y="130207"/>
                    <a:pt x="536929" y="125635"/>
                    <a:pt x="530071" y="125635"/>
                  </a:cubicBezTo>
                  <a:lnTo>
                    <a:pt x="473588" y="125825"/>
                  </a:lnTo>
                  <a:cubicBezTo>
                    <a:pt x="466349" y="125825"/>
                    <a:pt x="460253" y="130969"/>
                    <a:pt x="459014" y="138017"/>
                  </a:cubicBezTo>
                  <a:lnTo>
                    <a:pt x="453014" y="171069"/>
                  </a:lnTo>
                  <a:lnTo>
                    <a:pt x="429963" y="184690"/>
                  </a:lnTo>
                  <a:lnTo>
                    <a:pt x="412342" y="179832"/>
                  </a:lnTo>
                  <a:lnTo>
                    <a:pt x="425486" y="166973"/>
                  </a:lnTo>
                  <a:cubicBezTo>
                    <a:pt x="431868" y="160687"/>
                    <a:pt x="433202" y="150971"/>
                    <a:pt x="428725" y="143256"/>
                  </a:cubicBezTo>
                  <a:lnTo>
                    <a:pt x="391958" y="79058"/>
                  </a:lnTo>
                  <a:cubicBezTo>
                    <a:pt x="387577" y="71533"/>
                    <a:pt x="378242" y="67723"/>
                    <a:pt x="369956" y="69913"/>
                  </a:cubicBezTo>
                  <a:lnTo>
                    <a:pt x="311663" y="85344"/>
                  </a:lnTo>
                  <a:lnTo>
                    <a:pt x="289946" y="71628"/>
                  </a:lnTo>
                  <a:lnTo>
                    <a:pt x="274896" y="14573"/>
                  </a:lnTo>
                  <a:cubicBezTo>
                    <a:pt x="272610" y="6001"/>
                    <a:pt x="264895" y="0"/>
                    <a:pt x="255941" y="0"/>
                  </a:cubicBezTo>
                  <a:lnTo>
                    <a:pt x="176503" y="286"/>
                  </a:lnTo>
                  <a:cubicBezTo>
                    <a:pt x="167073" y="286"/>
                    <a:pt x="158977" y="7048"/>
                    <a:pt x="157358" y="16288"/>
                  </a:cubicBezTo>
                  <a:lnTo>
                    <a:pt x="148785" y="63436"/>
                  </a:lnTo>
                  <a:lnTo>
                    <a:pt x="115352" y="83249"/>
                  </a:lnTo>
                  <a:lnTo>
                    <a:pt x="62012" y="68485"/>
                  </a:lnTo>
                  <a:cubicBezTo>
                    <a:pt x="53726" y="66199"/>
                    <a:pt x="44296" y="70009"/>
                    <a:pt x="39914" y="77534"/>
                  </a:cubicBezTo>
                  <a:lnTo>
                    <a:pt x="2672" y="141446"/>
                  </a:lnTo>
                  <a:cubicBezTo>
                    <a:pt x="-1805" y="149066"/>
                    <a:pt x="-567" y="158782"/>
                    <a:pt x="5720" y="165068"/>
                  </a:cubicBezTo>
                  <a:lnTo>
                    <a:pt x="44963" y="204502"/>
                  </a:lnTo>
                  <a:lnTo>
                    <a:pt x="44963" y="241268"/>
                  </a:lnTo>
                  <a:lnTo>
                    <a:pt x="11530" y="274796"/>
                  </a:lnTo>
                  <a:cubicBezTo>
                    <a:pt x="5339" y="280988"/>
                    <a:pt x="4005" y="290703"/>
                    <a:pt x="8387" y="298323"/>
                  </a:cubicBezTo>
                  <a:lnTo>
                    <a:pt x="45153" y="362522"/>
                  </a:lnTo>
                  <a:cubicBezTo>
                    <a:pt x="49439" y="370046"/>
                    <a:pt x="58774" y="373952"/>
                    <a:pt x="67156" y="371666"/>
                  </a:cubicBezTo>
                  <a:lnTo>
                    <a:pt x="113828" y="359283"/>
                  </a:lnTo>
                  <a:lnTo>
                    <a:pt x="148880" y="376523"/>
                  </a:lnTo>
                  <a:lnTo>
                    <a:pt x="162215" y="426911"/>
                  </a:lnTo>
                  <a:cubicBezTo>
                    <a:pt x="164501" y="435483"/>
                    <a:pt x="172217" y="441484"/>
                    <a:pt x="181075" y="441484"/>
                  </a:cubicBezTo>
                  <a:lnTo>
                    <a:pt x="255084" y="441770"/>
                  </a:lnTo>
                  <a:cubicBezTo>
                    <a:pt x="263942" y="441770"/>
                    <a:pt x="271658" y="435769"/>
                    <a:pt x="273944" y="427196"/>
                  </a:cubicBezTo>
                  <a:lnTo>
                    <a:pt x="289088" y="370332"/>
                  </a:lnTo>
                  <a:lnTo>
                    <a:pt x="308900" y="358235"/>
                  </a:lnTo>
                  <a:lnTo>
                    <a:pt x="362145" y="372999"/>
                  </a:lnTo>
                  <a:cubicBezTo>
                    <a:pt x="365479" y="373952"/>
                    <a:pt x="369003" y="373666"/>
                    <a:pt x="372337" y="372713"/>
                  </a:cubicBezTo>
                  <a:lnTo>
                    <a:pt x="379290" y="384810"/>
                  </a:lnTo>
                  <a:cubicBezTo>
                    <a:pt x="382624" y="390525"/>
                    <a:pt x="389768" y="393478"/>
                    <a:pt x="396054" y="391859"/>
                  </a:cubicBezTo>
                  <a:lnTo>
                    <a:pt x="428915" y="383191"/>
                  </a:lnTo>
                  <a:lnTo>
                    <a:pt x="453109" y="395097"/>
                  </a:lnTo>
                  <a:lnTo>
                    <a:pt x="462443" y="430530"/>
                  </a:lnTo>
                  <a:cubicBezTo>
                    <a:pt x="464158" y="437007"/>
                    <a:pt x="470063" y="441579"/>
                    <a:pt x="476826" y="441674"/>
                  </a:cubicBezTo>
                  <a:lnTo>
                    <a:pt x="529499" y="441865"/>
                  </a:lnTo>
                  <a:cubicBezTo>
                    <a:pt x="536262" y="441865"/>
                    <a:pt x="542168" y="437293"/>
                    <a:pt x="543882" y="430816"/>
                  </a:cubicBezTo>
                  <a:lnTo>
                    <a:pt x="554550" y="390811"/>
                  </a:lnTo>
                  <a:lnTo>
                    <a:pt x="567980" y="382619"/>
                  </a:lnTo>
                  <a:lnTo>
                    <a:pt x="605414" y="393002"/>
                  </a:lnTo>
                  <a:cubicBezTo>
                    <a:pt x="611700" y="394716"/>
                    <a:pt x="618939" y="391859"/>
                    <a:pt x="622273" y="386144"/>
                  </a:cubicBezTo>
                  <a:lnTo>
                    <a:pt x="648752" y="340709"/>
                  </a:lnTo>
                  <a:cubicBezTo>
                    <a:pt x="652181" y="334899"/>
                    <a:pt x="651229" y="327470"/>
                    <a:pt x="646466" y="322707"/>
                  </a:cubicBezTo>
                  <a:lnTo>
                    <a:pt x="619034" y="295085"/>
                  </a:lnTo>
                  <a:lnTo>
                    <a:pt x="619415" y="277749"/>
                  </a:lnTo>
                  <a:lnTo>
                    <a:pt x="651515" y="246221"/>
                  </a:lnTo>
                  <a:close/>
                  <a:moveTo>
                    <a:pt x="305471" y="333470"/>
                  </a:moveTo>
                  <a:lnTo>
                    <a:pt x="269181" y="355568"/>
                  </a:lnTo>
                  <a:lnTo>
                    <a:pt x="252322" y="418814"/>
                  </a:lnTo>
                  <a:lnTo>
                    <a:pt x="183647" y="418529"/>
                  </a:lnTo>
                  <a:lnTo>
                    <a:pt x="168311" y="360521"/>
                  </a:lnTo>
                  <a:lnTo>
                    <a:pt x="116114" y="334804"/>
                  </a:lnTo>
                  <a:lnTo>
                    <a:pt x="63632" y="348710"/>
                  </a:lnTo>
                  <a:lnTo>
                    <a:pt x="29532" y="289084"/>
                  </a:lnTo>
                  <a:lnTo>
                    <a:pt x="67823" y="250698"/>
                  </a:lnTo>
                  <a:lnTo>
                    <a:pt x="67823" y="194977"/>
                  </a:lnTo>
                  <a:lnTo>
                    <a:pt x="23817" y="150686"/>
                  </a:lnTo>
                  <a:lnTo>
                    <a:pt x="58393" y="91345"/>
                  </a:lnTo>
                  <a:lnTo>
                    <a:pt x="118591" y="108013"/>
                  </a:lnTo>
                  <a:lnTo>
                    <a:pt x="169550" y="77914"/>
                  </a:lnTo>
                  <a:lnTo>
                    <a:pt x="179551" y="23241"/>
                  </a:lnTo>
                  <a:lnTo>
                    <a:pt x="253370" y="22955"/>
                  </a:lnTo>
                  <a:lnTo>
                    <a:pt x="270038" y="86201"/>
                  </a:lnTo>
                  <a:lnTo>
                    <a:pt x="307853" y="110109"/>
                  </a:lnTo>
                  <a:lnTo>
                    <a:pt x="373289" y="92774"/>
                  </a:lnTo>
                  <a:lnTo>
                    <a:pt x="407389" y="152305"/>
                  </a:lnTo>
                  <a:lnTo>
                    <a:pt x="357192" y="201740"/>
                  </a:lnTo>
                  <a:lnTo>
                    <a:pt x="356240" y="246412"/>
                  </a:lnTo>
                  <a:lnTo>
                    <a:pt x="400340" y="290703"/>
                  </a:lnTo>
                  <a:lnTo>
                    <a:pt x="365765" y="350044"/>
                  </a:lnTo>
                  <a:lnTo>
                    <a:pt x="305471" y="333375"/>
                  </a:lnTo>
                  <a:close/>
                  <a:moveTo>
                    <a:pt x="631512" y="333661"/>
                  </a:moveTo>
                  <a:lnTo>
                    <a:pt x="607700" y="374523"/>
                  </a:lnTo>
                  <a:lnTo>
                    <a:pt x="565218" y="362712"/>
                  </a:lnTo>
                  <a:lnTo>
                    <a:pt x="538739" y="378905"/>
                  </a:lnTo>
                  <a:lnTo>
                    <a:pt x="526832" y="423481"/>
                  </a:lnTo>
                  <a:lnTo>
                    <a:pt x="479588" y="423291"/>
                  </a:lnTo>
                  <a:lnTo>
                    <a:pt x="468825" y="382334"/>
                  </a:lnTo>
                  <a:lnTo>
                    <a:pt x="430916" y="363665"/>
                  </a:lnTo>
                  <a:lnTo>
                    <a:pt x="393959" y="373475"/>
                  </a:lnTo>
                  <a:lnTo>
                    <a:pt x="386434" y="360331"/>
                  </a:lnTo>
                  <a:lnTo>
                    <a:pt x="421486" y="300038"/>
                  </a:lnTo>
                  <a:cubicBezTo>
                    <a:pt x="425963" y="292418"/>
                    <a:pt x="424724" y="282702"/>
                    <a:pt x="418438" y="276416"/>
                  </a:cubicBezTo>
                  <a:lnTo>
                    <a:pt x="379385" y="237173"/>
                  </a:lnTo>
                  <a:lnTo>
                    <a:pt x="379957" y="211646"/>
                  </a:lnTo>
                  <a:lnTo>
                    <a:pt x="397197" y="194691"/>
                  </a:lnTo>
                  <a:lnTo>
                    <a:pt x="432630" y="204502"/>
                  </a:lnTo>
                  <a:lnTo>
                    <a:pt x="469587" y="182594"/>
                  </a:lnTo>
                  <a:lnTo>
                    <a:pt x="476636" y="144113"/>
                  </a:lnTo>
                  <a:lnTo>
                    <a:pt x="527499" y="143923"/>
                  </a:lnTo>
                  <a:lnTo>
                    <a:pt x="539215" y="188595"/>
                  </a:lnTo>
                  <a:lnTo>
                    <a:pt x="566837" y="206026"/>
                  </a:lnTo>
                  <a:lnTo>
                    <a:pt x="613034" y="193834"/>
                  </a:lnTo>
                  <a:lnTo>
                    <a:pt x="636560" y="234886"/>
                  </a:lnTo>
                  <a:lnTo>
                    <a:pt x="601127" y="269748"/>
                  </a:lnTo>
                  <a:lnTo>
                    <a:pt x="600461" y="302324"/>
                  </a:lnTo>
                  <a:lnTo>
                    <a:pt x="631607" y="333566"/>
                  </a:ln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  <p:sp>
          <p:nvSpPr>
            <p:cNvPr id="68" name="Freeform: Shape 45">
              <a:extLst>
                <a:ext uri="{FF2B5EF4-FFF2-40B4-BE49-F238E27FC236}">
                  <a16:creationId xmlns:a16="http://schemas.microsoft.com/office/drawing/2014/main" id="{D8103236-FCAD-46FB-8F2B-259554A318A1}"/>
                </a:ext>
              </a:extLst>
            </p:cNvPr>
            <p:cNvSpPr/>
            <p:nvPr/>
          </p:nvSpPr>
          <p:spPr>
            <a:xfrm>
              <a:off x="4631816" y="2072925"/>
              <a:ext cx="151257" cy="151256"/>
            </a:xfrm>
            <a:custGeom>
              <a:avLst/>
              <a:gdLst>
                <a:gd name="connsiteX0" fmla="*/ 75629 w 151257"/>
                <a:gd name="connsiteY0" fmla="*/ 0 h 151256"/>
                <a:gd name="connsiteX1" fmla="*/ 0 w 151257"/>
                <a:gd name="connsiteY1" fmla="*/ 75628 h 151256"/>
                <a:gd name="connsiteX2" fmla="*/ 75629 w 151257"/>
                <a:gd name="connsiteY2" fmla="*/ 151257 h 151256"/>
                <a:gd name="connsiteX3" fmla="*/ 151257 w 151257"/>
                <a:gd name="connsiteY3" fmla="*/ 75628 h 151256"/>
                <a:gd name="connsiteX4" fmla="*/ 75629 w 151257"/>
                <a:gd name="connsiteY4" fmla="*/ 0 h 151256"/>
                <a:gd name="connsiteX5" fmla="*/ 75629 w 151257"/>
                <a:gd name="connsiteY5" fmla="*/ 132017 h 151256"/>
                <a:gd name="connsiteX6" fmla="*/ 19241 w 151257"/>
                <a:gd name="connsiteY6" fmla="*/ 75628 h 151256"/>
                <a:gd name="connsiteX7" fmla="*/ 75629 w 151257"/>
                <a:gd name="connsiteY7" fmla="*/ 19241 h 151256"/>
                <a:gd name="connsiteX8" fmla="*/ 132017 w 151257"/>
                <a:gd name="connsiteY8" fmla="*/ 75628 h 151256"/>
                <a:gd name="connsiteX9" fmla="*/ 75629 w 151257"/>
                <a:gd name="connsiteY9" fmla="*/ 132017 h 15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257" h="151256">
                  <a:moveTo>
                    <a:pt x="75629" y="0"/>
                  </a:moveTo>
                  <a:cubicBezTo>
                    <a:pt x="33909" y="0"/>
                    <a:pt x="0" y="33909"/>
                    <a:pt x="0" y="75628"/>
                  </a:cubicBezTo>
                  <a:cubicBezTo>
                    <a:pt x="0" y="117348"/>
                    <a:pt x="33909" y="151257"/>
                    <a:pt x="75629" y="151257"/>
                  </a:cubicBezTo>
                  <a:cubicBezTo>
                    <a:pt x="117348" y="151257"/>
                    <a:pt x="151257" y="117348"/>
                    <a:pt x="151257" y="75628"/>
                  </a:cubicBezTo>
                  <a:cubicBezTo>
                    <a:pt x="151257" y="33909"/>
                    <a:pt x="117348" y="0"/>
                    <a:pt x="75629" y="0"/>
                  </a:cubicBezTo>
                  <a:close/>
                  <a:moveTo>
                    <a:pt x="75629" y="132017"/>
                  </a:moveTo>
                  <a:cubicBezTo>
                    <a:pt x="44577" y="132017"/>
                    <a:pt x="19241" y="106775"/>
                    <a:pt x="19241" y="75628"/>
                  </a:cubicBezTo>
                  <a:cubicBezTo>
                    <a:pt x="19241" y="44482"/>
                    <a:pt x="44482" y="19241"/>
                    <a:pt x="75629" y="19241"/>
                  </a:cubicBezTo>
                  <a:cubicBezTo>
                    <a:pt x="106775" y="19241"/>
                    <a:pt x="132017" y="44482"/>
                    <a:pt x="132017" y="75628"/>
                  </a:cubicBezTo>
                  <a:cubicBezTo>
                    <a:pt x="132017" y="106775"/>
                    <a:pt x="106775" y="132017"/>
                    <a:pt x="75629" y="132017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</p:grpSp>
      <p:pic>
        <p:nvPicPr>
          <p:cNvPr id="70" name="Graphic 4">
            <a:extLst>
              <a:ext uri="{FF2B5EF4-FFF2-40B4-BE49-F238E27FC236}">
                <a16:creationId xmlns:a16="http://schemas.microsoft.com/office/drawing/2014/main" id="{F4FE0A86-0D51-4B71-A521-F4F8D04E0D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68885" y="4501418"/>
            <a:ext cx="637200" cy="637200"/>
          </a:xfrm>
          <a:prstGeom prst="rect">
            <a:avLst/>
          </a:prstGeom>
        </p:spPr>
      </p:pic>
      <p:sp>
        <p:nvSpPr>
          <p:cNvPr id="25" name="Fluxograma: Processo Alternativo 24">
            <a:extLst>
              <a:ext uri="{FF2B5EF4-FFF2-40B4-BE49-F238E27FC236}">
                <a16:creationId xmlns:a16="http://schemas.microsoft.com/office/drawing/2014/main" id="{F4EA2CD6-6D4F-4FF3-9C9C-EE3276800D4C}"/>
              </a:ext>
            </a:extLst>
          </p:cNvPr>
          <p:cNvSpPr/>
          <p:nvPr/>
        </p:nvSpPr>
        <p:spPr>
          <a:xfrm>
            <a:off x="964518" y="3053581"/>
            <a:ext cx="905164" cy="526473"/>
          </a:xfrm>
          <a:prstGeom prst="flowChartAlternateProcess">
            <a:avLst/>
          </a:prstGeom>
          <a:solidFill>
            <a:schemeClr val="accent1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Usina Fotovoltaica </a:t>
            </a:r>
          </a:p>
        </p:txBody>
      </p:sp>
      <p:sp>
        <p:nvSpPr>
          <p:cNvPr id="26" name="Fluxograma: Processo Alternativo 25">
            <a:extLst>
              <a:ext uri="{FF2B5EF4-FFF2-40B4-BE49-F238E27FC236}">
                <a16:creationId xmlns:a16="http://schemas.microsoft.com/office/drawing/2014/main" id="{BD31CCC9-7B3C-464E-BC2E-D8F543568827}"/>
              </a:ext>
            </a:extLst>
          </p:cNvPr>
          <p:cNvSpPr/>
          <p:nvPr/>
        </p:nvSpPr>
        <p:spPr>
          <a:xfrm>
            <a:off x="2631610" y="3055486"/>
            <a:ext cx="905164" cy="526473"/>
          </a:xfrm>
          <a:prstGeom prst="flowChartAlternateProcess">
            <a:avLst/>
          </a:prstGeom>
          <a:solidFill>
            <a:schemeClr val="accent1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Eletrólise</a:t>
            </a:r>
          </a:p>
        </p:txBody>
      </p:sp>
      <p:sp>
        <p:nvSpPr>
          <p:cNvPr id="27" name="Fluxograma: Processo Alternativo 26">
            <a:extLst>
              <a:ext uri="{FF2B5EF4-FFF2-40B4-BE49-F238E27FC236}">
                <a16:creationId xmlns:a16="http://schemas.microsoft.com/office/drawing/2014/main" id="{D04F1C3A-03E4-4AAF-9827-D88C38F56E4E}"/>
              </a:ext>
            </a:extLst>
          </p:cNvPr>
          <p:cNvSpPr/>
          <p:nvPr/>
        </p:nvSpPr>
        <p:spPr>
          <a:xfrm>
            <a:off x="3943102" y="3053581"/>
            <a:ext cx="905164" cy="526473"/>
          </a:xfrm>
          <a:prstGeom prst="flowChartAlternateProcess">
            <a:avLst/>
          </a:prstGeom>
          <a:solidFill>
            <a:schemeClr val="accent1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Tanque de armazenamento</a:t>
            </a:r>
          </a:p>
        </p:txBody>
      </p:sp>
      <p:sp>
        <p:nvSpPr>
          <p:cNvPr id="28" name="Fluxograma: Processo Alternativo 27">
            <a:extLst>
              <a:ext uri="{FF2B5EF4-FFF2-40B4-BE49-F238E27FC236}">
                <a16:creationId xmlns:a16="http://schemas.microsoft.com/office/drawing/2014/main" id="{9112E3DF-4929-4291-9485-D58BD2EB85D7}"/>
              </a:ext>
            </a:extLst>
          </p:cNvPr>
          <p:cNvSpPr/>
          <p:nvPr/>
        </p:nvSpPr>
        <p:spPr>
          <a:xfrm>
            <a:off x="5632949" y="3053581"/>
            <a:ext cx="905164" cy="526473"/>
          </a:xfrm>
          <a:prstGeom prst="flowChartAlternateProcess">
            <a:avLst/>
          </a:prstGeom>
          <a:solidFill>
            <a:schemeClr val="accent1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PoC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Co-queima Diesel/H2</a:t>
            </a: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29" name="Fluxograma: Processo Alternativo 28">
            <a:extLst>
              <a:ext uri="{FF2B5EF4-FFF2-40B4-BE49-F238E27FC236}">
                <a16:creationId xmlns:a16="http://schemas.microsoft.com/office/drawing/2014/main" id="{5887B54B-544B-469D-AA02-12FC90D06DA2}"/>
              </a:ext>
            </a:extLst>
          </p:cNvPr>
          <p:cNvSpPr/>
          <p:nvPr/>
        </p:nvSpPr>
        <p:spPr>
          <a:xfrm>
            <a:off x="2631610" y="2110993"/>
            <a:ext cx="905164" cy="526473"/>
          </a:xfrm>
          <a:prstGeom prst="flowChartAlternateProcess">
            <a:avLst/>
          </a:prstGeom>
          <a:solidFill>
            <a:schemeClr val="accent1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Tratamento de água DI</a:t>
            </a:r>
          </a:p>
        </p:txBody>
      </p:sp>
      <p:sp>
        <p:nvSpPr>
          <p:cNvPr id="30" name="Fluxograma: Processo Alternativo 29">
            <a:extLst>
              <a:ext uri="{FF2B5EF4-FFF2-40B4-BE49-F238E27FC236}">
                <a16:creationId xmlns:a16="http://schemas.microsoft.com/office/drawing/2014/main" id="{3FFD1ECA-2BAB-4B21-B29C-04C8C3DBE76E}"/>
              </a:ext>
            </a:extLst>
          </p:cNvPr>
          <p:cNvSpPr/>
          <p:nvPr/>
        </p:nvSpPr>
        <p:spPr>
          <a:xfrm>
            <a:off x="2631610" y="3954858"/>
            <a:ext cx="905164" cy="526473"/>
          </a:xfrm>
          <a:prstGeom prst="flowChartAlternateProcess">
            <a:avLst/>
          </a:prstGeom>
          <a:solidFill>
            <a:schemeClr val="accent1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Sistema de resfriamento</a:t>
            </a:r>
          </a:p>
        </p:txBody>
      </p:sp>
      <p:sp>
        <p:nvSpPr>
          <p:cNvPr id="31" name="Fluxograma: Processo Alternativo 30">
            <a:extLst>
              <a:ext uri="{FF2B5EF4-FFF2-40B4-BE49-F238E27FC236}">
                <a16:creationId xmlns:a16="http://schemas.microsoft.com/office/drawing/2014/main" id="{D72EF845-135F-4F04-B700-6EAFFB12FC4C}"/>
              </a:ext>
            </a:extLst>
          </p:cNvPr>
          <p:cNvSpPr/>
          <p:nvPr/>
        </p:nvSpPr>
        <p:spPr>
          <a:xfrm>
            <a:off x="5632949" y="3954858"/>
            <a:ext cx="905164" cy="526473"/>
          </a:xfrm>
          <a:prstGeom prst="flowChartAlternateProcess">
            <a:avLst/>
          </a:prstGeom>
          <a:solidFill>
            <a:schemeClr val="accent1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Novos usos</a:t>
            </a: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32" name="Fluxograma: Processo Alternativo 31">
            <a:extLst>
              <a:ext uri="{FF2B5EF4-FFF2-40B4-BE49-F238E27FC236}">
                <a16:creationId xmlns:a16="http://schemas.microsoft.com/office/drawing/2014/main" id="{C9B24E49-FD38-4407-B123-C13C4D22B0FB}"/>
              </a:ext>
            </a:extLst>
          </p:cNvPr>
          <p:cNvSpPr/>
          <p:nvPr/>
        </p:nvSpPr>
        <p:spPr>
          <a:xfrm>
            <a:off x="5632949" y="2131007"/>
            <a:ext cx="905164" cy="526473"/>
          </a:xfrm>
          <a:prstGeom prst="flowChartAlternateProcess">
            <a:avLst/>
          </a:prstGeom>
          <a:solidFill>
            <a:schemeClr val="accent1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Resfriamento Gerador</a:t>
            </a: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F8172ECA-975C-479B-BDC8-DCE446451D1E}"/>
              </a:ext>
            </a:extLst>
          </p:cNvPr>
          <p:cNvSpPr/>
          <p:nvPr/>
        </p:nvSpPr>
        <p:spPr>
          <a:xfrm>
            <a:off x="2203729" y="2133853"/>
            <a:ext cx="68580" cy="2370338"/>
          </a:xfrm>
          <a:prstGeom prst="rect">
            <a:avLst/>
          </a:prstGeom>
          <a:solidFill>
            <a:srgbClr val="FFC000"/>
          </a:solidFill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34" name="Retângulo 33">
            <a:extLst>
              <a:ext uri="{FF2B5EF4-FFF2-40B4-BE49-F238E27FC236}">
                <a16:creationId xmlns:a16="http://schemas.microsoft.com/office/drawing/2014/main" id="{CB4EEC56-6F4D-43BA-A4B4-D3FD266049ED}"/>
              </a:ext>
            </a:extLst>
          </p:cNvPr>
          <p:cNvSpPr/>
          <p:nvPr/>
        </p:nvSpPr>
        <p:spPr>
          <a:xfrm>
            <a:off x="5230322" y="2130043"/>
            <a:ext cx="68580" cy="2370338"/>
          </a:xfrm>
          <a:prstGeom prst="rect">
            <a:avLst/>
          </a:prstGeom>
          <a:ln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cxnSp>
        <p:nvCxnSpPr>
          <p:cNvPr id="35" name="Conector de Seta Reta 34">
            <a:extLst>
              <a:ext uri="{FF2B5EF4-FFF2-40B4-BE49-F238E27FC236}">
                <a16:creationId xmlns:a16="http://schemas.microsoft.com/office/drawing/2014/main" id="{3EA79F5C-75EC-45D3-8487-F6F3EC9AB4E6}"/>
              </a:ext>
            </a:extLst>
          </p:cNvPr>
          <p:cNvCxnSpPr>
            <a:cxnSpLocks/>
            <a:stCxn id="25" idx="3"/>
            <a:endCxn id="33" idx="1"/>
          </p:cNvCxnSpPr>
          <p:nvPr/>
        </p:nvCxnSpPr>
        <p:spPr>
          <a:xfrm>
            <a:off x="1869682" y="3316818"/>
            <a:ext cx="334047" cy="2204"/>
          </a:xfrm>
          <a:prstGeom prst="straightConnector1">
            <a:avLst/>
          </a:prstGeom>
          <a:ln w="28575" cap="flat">
            <a:solidFill>
              <a:srgbClr val="FFC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de Seta Reta 35">
            <a:extLst>
              <a:ext uri="{FF2B5EF4-FFF2-40B4-BE49-F238E27FC236}">
                <a16:creationId xmlns:a16="http://schemas.microsoft.com/office/drawing/2014/main" id="{D9DD718F-854E-4E5C-AFBA-2318B61667F1}"/>
              </a:ext>
            </a:extLst>
          </p:cNvPr>
          <p:cNvCxnSpPr>
            <a:stCxn id="33" idx="3"/>
            <a:endCxn id="26" idx="1"/>
          </p:cNvCxnSpPr>
          <p:nvPr/>
        </p:nvCxnSpPr>
        <p:spPr>
          <a:xfrm flipV="1">
            <a:off x="2272309" y="3318723"/>
            <a:ext cx="359301" cy="299"/>
          </a:xfrm>
          <a:prstGeom prst="straightConnector1">
            <a:avLst/>
          </a:prstGeom>
          <a:ln w="28575" cap="flat">
            <a:solidFill>
              <a:srgbClr val="FFC00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de Seta Reta 36">
            <a:extLst>
              <a:ext uri="{FF2B5EF4-FFF2-40B4-BE49-F238E27FC236}">
                <a16:creationId xmlns:a16="http://schemas.microsoft.com/office/drawing/2014/main" id="{FA117D44-53A4-487D-9A49-9BBFFEE6354D}"/>
              </a:ext>
            </a:extLst>
          </p:cNvPr>
          <p:cNvCxnSpPr>
            <a:stCxn id="26" idx="3"/>
            <a:endCxn id="27" idx="1"/>
          </p:cNvCxnSpPr>
          <p:nvPr/>
        </p:nvCxnSpPr>
        <p:spPr>
          <a:xfrm flipV="1">
            <a:off x="3536774" y="3316818"/>
            <a:ext cx="406328" cy="1905"/>
          </a:xfrm>
          <a:prstGeom prst="straightConnector1">
            <a:avLst/>
          </a:prstGeom>
          <a:ln w="28575" cap="flat">
            <a:solidFill>
              <a:schemeClr val="accent6">
                <a:lumMod val="75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de Seta Reta 37">
            <a:extLst>
              <a:ext uri="{FF2B5EF4-FFF2-40B4-BE49-F238E27FC236}">
                <a16:creationId xmlns:a16="http://schemas.microsoft.com/office/drawing/2014/main" id="{B3F4FEC9-D1C9-4ED6-BCE0-7914B3C48094}"/>
              </a:ext>
            </a:extLst>
          </p:cNvPr>
          <p:cNvCxnSpPr>
            <a:stCxn id="27" idx="3"/>
            <a:endCxn id="34" idx="1"/>
          </p:cNvCxnSpPr>
          <p:nvPr/>
        </p:nvCxnSpPr>
        <p:spPr>
          <a:xfrm flipV="1">
            <a:off x="4848266" y="3315212"/>
            <a:ext cx="382056" cy="1606"/>
          </a:xfrm>
          <a:prstGeom prst="straightConnector1">
            <a:avLst/>
          </a:prstGeom>
          <a:ln w="28575" cap="flat">
            <a:solidFill>
              <a:schemeClr val="accent6">
                <a:lumMod val="75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de Seta Reta 38">
            <a:extLst>
              <a:ext uri="{FF2B5EF4-FFF2-40B4-BE49-F238E27FC236}">
                <a16:creationId xmlns:a16="http://schemas.microsoft.com/office/drawing/2014/main" id="{EC65A28B-9D7C-4496-BDA7-7CB3A8DDB20F}"/>
              </a:ext>
            </a:extLst>
          </p:cNvPr>
          <p:cNvCxnSpPr>
            <a:endCxn id="26" idx="0"/>
          </p:cNvCxnSpPr>
          <p:nvPr/>
        </p:nvCxnSpPr>
        <p:spPr>
          <a:xfrm>
            <a:off x="3080681" y="2657480"/>
            <a:ext cx="3511" cy="398006"/>
          </a:xfrm>
          <a:prstGeom prst="straightConnector1">
            <a:avLst/>
          </a:prstGeom>
          <a:ln w="28575" cap="flat">
            <a:solidFill>
              <a:srgbClr val="0CD3F8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de Seta Reta 39">
            <a:extLst>
              <a:ext uri="{FF2B5EF4-FFF2-40B4-BE49-F238E27FC236}">
                <a16:creationId xmlns:a16="http://schemas.microsoft.com/office/drawing/2014/main" id="{FB55A3B8-21F6-44CE-BC50-1FAC03CE1C6D}"/>
              </a:ext>
            </a:extLst>
          </p:cNvPr>
          <p:cNvCxnSpPr>
            <a:stCxn id="26" idx="2"/>
            <a:endCxn id="30" idx="0"/>
          </p:cNvCxnSpPr>
          <p:nvPr/>
        </p:nvCxnSpPr>
        <p:spPr>
          <a:xfrm>
            <a:off x="3084192" y="3581959"/>
            <a:ext cx="0" cy="372899"/>
          </a:xfrm>
          <a:prstGeom prst="straightConnector1">
            <a:avLst/>
          </a:prstGeom>
          <a:ln w="28575" cap="flat">
            <a:solidFill>
              <a:srgbClr val="6D32FF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de Seta Reta 41">
            <a:extLst>
              <a:ext uri="{FF2B5EF4-FFF2-40B4-BE49-F238E27FC236}">
                <a16:creationId xmlns:a16="http://schemas.microsoft.com/office/drawing/2014/main" id="{8F905C8E-F966-447A-AB0F-FEFCFBC18028}"/>
              </a:ext>
            </a:extLst>
          </p:cNvPr>
          <p:cNvCxnSpPr>
            <a:cxnSpLocks/>
          </p:cNvCxnSpPr>
          <p:nvPr/>
        </p:nvCxnSpPr>
        <p:spPr>
          <a:xfrm flipV="1">
            <a:off x="5298902" y="2394243"/>
            <a:ext cx="334047" cy="1"/>
          </a:xfrm>
          <a:prstGeom prst="straightConnector1">
            <a:avLst/>
          </a:prstGeom>
          <a:ln w="28575" cap="flat">
            <a:solidFill>
              <a:schemeClr val="accent6">
                <a:lumMod val="75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de Seta Reta 42">
            <a:extLst>
              <a:ext uri="{FF2B5EF4-FFF2-40B4-BE49-F238E27FC236}">
                <a16:creationId xmlns:a16="http://schemas.microsoft.com/office/drawing/2014/main" id="{A495383A-0B1F-4AFE-AF1E-8E1B4FA2C1E2}"/>
              </a:ext>
            </a:extLst>
          </p:cNvPr>
          <p:cNvCxnSpPr>
            <a:cxnSpLocks/>
          </p:cNvCxnSpPr>
          <p:nvPr/>
        </p:nvCxnSpPr>
        <p:spPr>
          <a:xfrm flipV="1">
            <a:off x="5298902" y="3315212"/>
            <a:ext cx="334047" cy="1606"/>
          </a:xfrm>
          <a:prstGeom prst="straightConnector1">
            <a:avLst/>
          </a:prstGeom>
          <a:ln w="28575" cap="flat">
            <a:solidFill>
              <a:schemeClr val="accent6">
                <a:lumMod val="75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de Seta Reta 43">
            <a:extLst>
              <a:ext uri="{FF2B5EF4-FFF2-40B4-BE49-F238E27FC236}">
                <a16:creationId xmlns:a16="http://schemas.microsoft.com/office/drawing/2014/main" id="{CF657F19-D907-4938-B5C2-D78F848E2D77}"/>
              </a:ext>
            </a:extLst>
          </p:cNvPr>
          <p:cNvCxnSpPr>
            <a:cxnSpLocks/>
          </p:cNvCxnSpPr>
          <p:nvPr/>
        </p:nvCxnSpPr>
        <p:spPr>
          <a:xfrm flipV="1">
            <a:off x="5298902" y="4218094"/>
            <a:ext cx="334047" cy="1"/>
          </a:xfrm>
          <a:prstGeom prst="straightConnector1">
            <a:avLst/>
          </a:prstGeom>
          <a:ln w="28575" cap="flat">
            <a:solidFill>
              <a:srgbClr val="FF0000"/>
            </a:solidFill>
            <a:prstDash val="sysDash"/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lipse 44">
            <a:extLst>
              <a:ext uri="{FF2B5EF4-FFF2-40B4-BE49-F238E27FC236}">
                <a16:creationId xmlns:a16="http://schemas.microsoft.com/office/drawing/2014/main" id="{B470AE4F-F6C2-4013-B4DF-6546E796D9FA}"/>
              </a:ext>
            </a:extLst>
          </p:cNvPr>
          <p:cNvSpPr/>
          <p:nvPr/>
        </p:nvSpPr>
        <p:spPr>
          <a:xfrm>
            <a:off x="460092" y="5029384"/>
            <a:ext cx="918000" cy="918000"/>
          </a:xfrm>
          <a:prstGeom prst="ellipse">
            <a:avLst/>
          </a:prstGeom>
          <a:solidFill>
            <a:srgbClr val="3C4C6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UF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3  MWp</a:t>
            </a:r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id="{5A072B5C-14C0-4871-B971-61718780E31B}"/>
              </a:ext>
            </a:extLst>
          </p:cNvPr>
          <p:cNvSpPr/>
          <p:nvPr/>
        </p:nvSpPr>
        <p:spPr>
          <a:xfrm>
            <a:off x="1903001" y="5029384"/>
            <a:ext cx="918000" cy="918000"/>
          </a:xfrm>
          <a:prstGeom prst="ellipse">
            <a:avLst/>
          </a:prstGeom>
          <a:solidFill>
            <a:srgbClr val="3A6BA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Eletróli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1,25 MW</a:t>
            </a:r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id="{14A72395-D80E-4B3C-A8E9-4B4D22884A7D}"/>
              </a:ext>
            </a:extLst>
          </p:cNvPr>
          <p:cNvSpPr/>
          <p:nvPr/>
        </p:nvSpPr>
        <p:spPr>
          <a:xfrm>
            <a:off x="3345910" y="5029384"/>
            <a:ext cx="918000" cy="918000"/>
          </a:xfrm>
          <a:prstGeom prst="ellipse">
            <a:avLst/>
          </a:prstGeom>
          <a:solidFill>
            <a:srgbClr val="0084B4"/>
          </a:solidFill>
          <a:ln w="6350" cap="sq">
            <a:solidFill>
              <a:srgbClr val="0084B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Produçã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22,3 kg/h</a:t>
            </a:r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id="{9B270832-50A5-49AA-A4C2-C3CF5D33F2BF}"/>
              </a:ext>
            </a:extLst>
          </p:cNvPr>
          <p:cNvSpPr/>
          <p:nvPr/>
        </p:nvSpPr>
        <p:spPr>
          <a:xfrm>
            <a:off x="4788819" y="5029384"/>
            <a:ext cx="918000" cy="918000"/>
          </a:xfrm>
          <a:prstGeom prst="ellipse">
            <a:avLst/>
          </a:prstGeom>
          <a:solidFill>
            <a:srgbClr val="00B0F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Purez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99,999%</a:t>
            </a:r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id="{4EF2944F-B646-4418-B845-E4AB314C0067}"/>
              </a:ext>
            </a:extLst>
          </p:cNvPr>
          <p:cNvSpPr/>
          <p:nvPr/>
        </p:nvSpPr>
        <p:spPr>
          <a:xfrm>
            <a:off x="6231727" y="5029384"/>
            <a:ext cx="918000" cy="918000"/>
          </a:xfrm>
          <a:prstGeom prst="ellipse">
            <a:avLst/>
          </a:prstGeom>
          <a:solidFill>
            <a:srgbClr val="5DD4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Pressã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40 barg</a:t>
            </a:r>
          </a:p>
        </p:txBody>
      </p:sp>
      <p:sp>
        <p:nvSpPr>
          <p:cNvPr id="59" name="TextBox 10">
            <a:extLst>
              <a:ext uri="{FF2B5EF4-FFF2-40B4-BE49-F238E27FC236}">
                <a16:creationId xmlns:a16="http://schemas.microsoft.com/office/drawing/2014/main" id="{70501D74-21B3-4A73-95C1-FE0B0C612E82}"/>
              </a:ext>
            </a:extLst>
          </p:cNvPr>
          <p:cNvSpPr txBox="1">
            <a:spLocks/>
          </p:cNvSpPr>
          <p:nvPr/>
        </p:nvSpPr>
        <p:spPr>
          <a:xfrm>
            <a:off x="8511682" y="2979996"/>
            <a:ext cx="3158450" cy="430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Certificação da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garantia de origem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renovável do hidrogênio </a:t>
            </a:r>
          </a:p>
        </p:txBody>
      </p:sp>
      <p:sp>
        <p:nvSpPr>
          <p:cNvPr id="78" name="TextBox 56">
            <a:extLst>
              <a:ext uri="{FF2B5EF4-FFF2-40B4-BE49-F238E27FC236}">
                <a16:creationId xmlns:a16="http://schemas.microsoft.com/office/drawing/2014/main" id="{15394822-46AE-44F5-ACAB-6E61EDBB5147}"/>
              </a:ext>
            </a:extLst>
          </p:cNvPr>
          <p:cNvSpPr txBox="1">
            <a:spLocks/>
          </p:cNvSpPr>
          <p:nvPr/>
        </p:nvSpPr>
        <p:spPr>
          <a:xfrm>
            <a:off x="8511682" y="5365378"/>
            <a:ext cx="3158450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Estabelecer parcerias estratégicas que assegurem o uso final da produção de H2 do Projeto Piloto.</a:t>
            </a:r>
          </a:p>
        </p:txBody>
      </p:sp>
      <p:grpSp>
        <p:nvGrpSpPr>
          <p:cNvPr id="80" name="Graphic 237">
            <a:extLst>
              <a:ext uri="{FF2B5EF4-FFF2-40B4-BE49-F238E27FC236}">
                <a16:creationId xmlns:a16="http://schemas.microsoft.com/office/drawing/2014/main" id="{A4DB1CD3-4692-423E-8CE1-822A11DC7771}"/>
              </a:ext>
            </a:extLst>
          </p:cNvPr>
          <p:cNvGrpSpPr/>
          <p:nvPr/>
        </p:nvGrpSpPr>
        <p:grpSpPr>
          <a:xfrm>
            <a:off x="7889521" y="2845214"/>
            <a:ext cx="417194" cy="531153"/>
            <a:chOff x="7998983" y="1408105"/>
            <a:chExt cx="521536" cy="655840"/>
          </a:xfrm>
          <a:solidFill>
            <a:srgbClr val="333333"/>
          </a:solidFill>
        </p:grpSpPr>
        <p:sp>
          <p:nvSpPr>
            <p:cNvPr id="81" name="Freeform: Shape 103">
              <a:extLst>
                <a:ext uri="{FF2B5EF4-FFF2-40B4-BE49-F238E27FC236}">
                  <a16:creationId xmlns:a16="http://schemas.microsoft.com/office/drawing/2014/main" id="{D35C2B8E-FC72-428A-858B-E986062656EF}"/>
                </a:ext>
              </a:extLst>
            </p:cNvPr>
            <p:cNvSpPr/>
            <p:nvPr/>
          </p:nvSpPr>
          <p:spPr>
            <a:xfrm>
              <a:off x="8135858" y="1972029"/>
              <a:ext cx="157448" cy="26289"/>
            </a:xfrm>
            <a:custGeom>
              <a:avLst/>
              <a:gdLst>
                <a:gd name="connsiteX0" fmla="*/ 144304 w 157448"/>
                <a:gd name="connsiteY0" fmla="*/ 0 h 26289"/>
                <a:gd name="connsiteX1" fmla="*/ 13145 w 157448"/>
                <a:gd name="connsiteY1" fmla="*/ 0 h 26289"/>
                <a:gd name="connsiteX2" fmla="*/ 0 w 157448"/>
                <a:gd name="connsiteY2" fmla="*/ 13145 h 26289"/>
                <a:gd name="connsiteX3" fmla="*/ 13145 w 157448"/>
                <a:gd name="connsiteY3" fmla="*/ 26289 h 26289"/>
                <a:gd name="connsiteX4" fmla="*/ 144304 w 157448"/>
                <a:gd name="connsiteY4" fmla="*/ 26289 h 26289"/>
                <a:gd name="connsiteX5" fmla="*/ 157448 w 157448"/>
                <a:gd name="connsiteY5" fmla="*/ 13145 h 26289"/>
                <a:gd name="connsiteX6" fmla="*/ 144304 w 157448"/>
                <a:gd name="connsiteY6" fmla="*/ 0 h 2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7448" h="26289">
                  <a:moveTo>
                    <a:pt x="144304" y="0"/>
                  </a:moveTo>
                  <a:lnTo>
                    <a:pt x="13145" y="0"/>
                  </a:lnTo>
                  <a:cubicBezTo>
                    <a:pt x="5906" y="0"/>
                    <a:pt x="0" y="5906"/>
                    <a:pt x="0" y="13145"/>
                  </a:cubicBezTo>
                  <a:cubicBezTo>
                    <a:pt x="0" y="20383"/>
                    <a:pt x="5906" y="26289"/>
                    <a:pt x="13145" y="26289"/>
                  </a:cubicBezTo>
                  <a:lnTo>
                    <a:pt x="144304" y="26289"/>
                  </a:lnTo>
                  <a:cubicBezTo>
                    <a:pt x="151543" y="26289"/>
                    <a:pt x="157448" y="20383"/>
                    <a:pt x="157448" y="13145"/>
                  </a:cubicBezTo>
                  <a:cubicBezTo>
                    <a:pt x="157448" y="5906"/>
                    <a:pt x="151543" y="0"/>
                    <a:pt x="144304" y="0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  <p:sp>
          <p:nvSpPr>
            <p:cNvPr id="82" name="Freeform: Shape 104">
              <a:extLst>
                <a:ext uri="{FF2B5EF4-FFF2-40B4-BE49-F238E27FC236}">
                  <a16:creationId xmlns:a16="http://schemas.microsoft.com/office/drawing/2014/main" id="{8FAF9C61-CDB3-48C0-8DC1-63EFFCD868A1}"/>
                </a:ext>
              </a:extLst>
            </p:cNvPr>
            <p:cNvSpPr/>
            <p:nvPr/>
          </p:nvSpPr>
          <p:spPr>
            <a:xfrm>
              <a:off x="8179578" y="2037656"/>
              <a:ext cx="70008" cy="26289"/>
            </a:xfrm>
            <a:custGeom>
              <a:avLst/>
              <a:gdLst>
                <a:gd name="connsiteX0" fmla="*/ 56864 w 70008"/>
                <a:gd name="connsiteY0" fmla="*/ 0 h 26289"/>
                <a:gd name="connsiteX1" fmla="*/ 13144 w 70008"/>
                <a:gd name="connsiteY1" fmla="*/ 0 h 26289"/>
                <a:gd name="connsiteX2" fmla="*/ 0 w 70008"/>
                <a:gd name="connsiteY2" fmla="*/ 13145 h 26289"/>
                <a:gd name="connsiteX3" fmla="*/ 13144 w 70008"/>
                <a:gd name="connsiteY3" fmla="*/ 26289 h 26289"/>
                <a:gd name="connsiteX4" fmla="*/ 56864 w 70008"/>
                <a:gd name="connsiteY4" fmla="*/ 26289 h 26289"/>
                <a:gd name="connsiteX5" fmla="*/ 70009 w 70008"/>
                <a:gd name="connsiteY5" fmla="*/ 13145 h 26289"/>
                <a:gd name="connsiteX6" fmla="*/ 56864 w 70008"/>
                <a:gd name="connsiteY6" fmla="*/ 0 h 26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008" h="26289">
                  <a:moveTo>
                    <a:pt x="56864" y="0"/>
                  </a:moveTo>
                  <a:lnTo>
                    <a:pt x="13144" y="0"/>
                  </a:lnTo>
                  <a:cubicBezTo>
                    <a:pt x="5906" y="0"/>
                    <a:pt x="0" y="5906"/>
                    <a:pt x="0" y="13145"/>
                  </a:cubicBezTo>
                  <a:cubicBezTo>
                    <a:pt x="0" y="20383"/>
                    <a:pt x="5906" y="26289"/>
                    <a:pt x="13144" y="26289"/>
                  </a:cubicBezTo>
                  <a:lnTo>
                    <a:pt x="56864" y="26289"/>
                  </a:lnTo>
                  <a:cubicBezTo>
                    <a:pt x="64103" y="26289"/>
                    <a:pt x="70009" y="20383"/>
                    <a:pt x="70009" y="13145"/>
                  </a:cubicBezTo>
                  <a:cubicBezTo>
                    <a:pt x="70009" y="5906"/>
                    <a:pt x="64103" y="0"/>
                    <a:pt x="56864" y="0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  <p:sp>
          <p:nvSpPr>
            <p:cNvPr id="83" name="Freeform: Shape 105">
              <a:extLst>
                <a:ext uri="{FF2B5EF4-FFF2-40B4-BE49-F238E27FC236}">
                  <a16:creationId xmlns:a16="http://schemas.microsoft.com/office/drawing/2014/main" id="{FB9EE4FA-41A0-4639-95DD-5683DF22ABA1}"/>
                </a:ext>
              </a:extLst>
            </p:cNvPr>
            <p:cNvSpPr/>
            <p:nvPr/>
          </p:nvSpPr>
          <p:spPr>
            <a:xfrm>
              <a:off x="7998983" y="1408105"/>
              <a:ext cx="521536" cy="524586"/>
            </a:xfrm>
            <a:custGeom>
              <a:avLst/>
              <a:gdLst>
                <a:gd name="connsiteX0" fmla="*/ 518161 w 521536"/>
                <a:gd name="connsiteY0" fmla="*/ 127679 h 524586"/>
                <a:gd name="connsiteX1" fmla="*/ 504159 w 521536"/>
                <a:gd name="connsiteY1" fmla="*/ 116821 h 524586"/>
                <a:gd name="connsiteX2" fmla="*/ 437960 w 521536"/>
                <a:gd name="connsiteY2" fmla="*/ 116440 h 524586"/>
                <a:gd name="connsiteX3" fmla="*/ 399193 w 521536"/>
                <a:gd name="connsiteY3" fmla="*/ 115106 h 524586"/>
                <a:gd name="connsiteX4" fmla="*/ 201264 w 521536"/>
                <a:gd name="connsiteY4" fmla="*/ 235 h 524586"/>
                <a:gd name="connsiteX5" fmla="*/ 1 w 521536"/>
                <a:gd name="connsiteY5" fmla="*/ 210547 h 524586"/>
                <a:gd name="connsiteX6" fmla="*/ 100108 w 521536"/>
                <a:gd name="connsiteY6" fmla="*/ 390855 h 524586"/>
                <a:gd name="connsiteX7" fmla="*/ 100680 w 521536"/>
                <a:gd name="connsiteY7" fmla="*/ 391141 h 524586"/>
                <a:gd name="connsiteX8" fmla="*/ 127445 w 521536"/>
                <a:gd name="connsiteY8" fmla="*/ 441338 h 524586"/>
                <a:gd name="connsiteX9" fmla="*/ 127445 w 521536"/>
                <a:gd name="connsiteY9" fmla="*/ 511442 h 524586"/>
                <a:gd name="connsiteX10" fmla="*/ 140590 w 521536"/>
                <a:gd name="connsiteY10" fmla="*/ 524586 h 524586"/>
                <a:gd name="connsiteX11" fmla="*/ 290704 w 521536"/>
                <a:gd name="connsiteY11" fmla="*/ 524586 h 524586"/>
                <a:gd name="connsiteX12" fmla="*/ 303848 w 521536"/>
                <a:gd name="connsiteY12" fmla="*/ 511442 h 524586"/>
                <a:gd name="connsiteX13" fmla="*/ 303848 w 521536"/>
                <a:gd name="connsiteY13" fmla="*/ 449148 h 524586"/>
                <a:gd name="connsiteX14" fmla="*/ 303848 w 521536"/>
                <a:gd name="connsiteY14" fmla="*/ 434289 h 524586"/>
                <a:gd name="connsiteX15" fmla="*/ 314230 w 521536"/>
                <a:gd name="connsiteY15" fmla="*/ 396284 h 524586"/>
                <a:gd name="connsiteX16" fmla="*/ 324232 w 521536"/>
                <a:gd name="connsiteY16" fmla="*/ 389807 h 524586"/>
                <a:gd name="connsiteX17" fmla="*/ 368999 w 521536"/>
                <a:gd name="connsiteY17" fmla="*/ 383902 h 524586"/>
                <a:gd name="connsiteX18" fmla="*/ 518065 w 521536"/>
                <a:gd name="connsiteY18" fmla="*/ 127679 h 524586"/>
                <a:gd name="connsiteX19" fmla="*/ 277559 w 521536"/>
                <a:gd name="connsiteY19" fmla="*/ 448672 h 524586"/>
                <a:gd name="connsiteX20" fmla="*/ 277559 w 521536"/>
                <a:gd name="connsiteY20" fmla="*/ 498392 h 524586"/>
                <a:gd name="connsiteX21" fmla="*/ 153639 w 521536"/>
                <a:gd name="connsiteY21" fmla="*/ 498392 h 524586"/>
                <a:gd name="connsiteX22" fmla="*/ 153639 w 521536"/>
                <a:gd name="connsiteY22" fmla="*/ 440957 h 524586"/>
                <a:gd name="connsiteX23" fmla="*/ 115444 w 521536"/>
                <a:gd name="connsiteY23" fmla="*/ 369329 h 524586"/>
                <a:gd name="connsiteX24" fmla="*/ 112491 w 521536"/>
                <a:gd name="connsiteY24" fmla="*/ 367805 h 524586"/>
                <a:gd name="connsiteX25" fmla="*/ 26194 w 521536"/>
                <a:gd name="connsiteY25" fmla="*/ 210737 h 524586"/>
                <a:gd name="connsiteX26" fmla="*/ 202407 w 521536"/>
                <a:gd name="connsiteY26" fmla="*/ 26524 h 524586"/>
                <a:gd name="connsiteX27" fmla="*/ 369761 w 521536"/>
                <a:gd name="connsiteY27" fmla="*/ 116059 h 524586"/>
                <a:gd name="connsiteX28" fmla="*/ 355760 w 521536"/>
                <a:gd name="connsiteY28" fmla="*/ 117297 h 524586"/>
                <a:gd name="connsiteX29" fmla="*/ 234887 w 521536"/>
                <a:gd name="connsiteY29" fmla="*/ 196355 h 524586"/>
                <a:gd name="connsiteX30" fmla="*/ 212218 w 521536"/>
                <a:gd name="connsiteY30" fmla="*/ 353993 h 524586"/>
                <a:gd name="connsiteX31" fmla="*/ 212408 w 521536"/>
                <a:gd name="connsiteY31" fmla="*/ 354374 h 524586"/>
                <a:gd name="connsiteX32" fmla="*/ 214218 w 521536"/>
                <a:gd name="connsiteY32" fmla="*/ 358756 h 524586"/>
                <a:gd name="connsiteX33" fmla="*/ 214504 w 521536"/>
                <a:gd name="connsiteY33" fmla="*/ 359327 h 524586"/>
                <a:gd name="connsiteX34" fmla="*/ 218314 w 521536"/>
                <a:gd name="connsiteY34" fmla="*/ 362947 h 524586"/>
                <a:gd name="connsiteX35" fmla="*/ 218599 w 521536"/>
                <a:gd name="connsiteY35" fmla="*/ 363042 h 524586"/>
                <a:gd name="connsiteX36" fmla="*/ 218695 w 521536"/>
                <a:gd name="connsiteY36" fmla="*/ 363137 h 524586"/>
                <a:gd name="connsiteX37" fmla="*/ 287370 w 521536"/>
                <a:gd name="connsiteY37" fmla="*/ 386855 h 524586"/>
                <a:gd name="connsiteX38" fmla="*/ 277559 w 521536"/>
                <a:gd name="connsiteY38" fmla="*/ 434670 h 524586"/>
                <a:gd name="connsiteX39" fmla="*/ 277559 w 521536"/>
                <a:gd name="connsiteY39" fmla="*/ 448672 h 524586"/>
                <a:gd name="connsiteX40" fmla="*/ 362237 w 521536"/>
                <a:gd name="connsiteY40" fmla="*/ 358565 h 524586"/>
                <a:gd name="connsiteX41" fmla="*/ 244317 w 521536"/>
                <a:gd name="connsiteY41" fmla="*/ 346659 h 524586"/>
                <a:gd name="connsiteX42" fmla="*/ 368904 w 521536"/>
                <a:gd name="connsiteY42" fmla="*/ 245980 h 524586"/>
                <a:gd name="connsiteX43" fmla="*/ 400146 w 521536"/>
                <a:gd name="connsiteY43" fmla="*/ 233216 h 524586"/>
                <a:gd name="connsiteX44" fmla="*/ 407385 w 521536"/>
                <a:gd name="connsiteY44" fmla="*/ 216071 h 524586"/>
                <a:gd name="connsiteX45" fmla="*/ 390240 w 521536"/>
                <a:gd name="connsiteY45" fmla="*/ 208832 h 524586"/>
                <a:gd name="connsiteX46" fmla="*/ 359093 w 521536"/>
                <a:gd name="connsiteY46" fmla="*/ 221596 h 524586"/>
                <a:gd name="connsiteX47" fmla="*/ 234982 w 521536"/>
                <a:gd name="connsiteY47" fmla="*/ 315131 h 524586"/>
                <a:gd name="connsiteX48" fmla="*/ 258414 w 521536"/>
                <a:gd name="connsiteY48" fmla="*/ 208261 h 524586"/>
                <a:gd name="connsiteX49" fmla="*/ 359189 w 521536"/>
                <a:gd name="connsiteY49" fmla="*/ 143396 h 524586"/>
                <a:gd name="connsiteX50" fmla="*/ 436722 w 521536"/>
                <a:gd name="connsiteY50" fmla="*/ 142634 h 524586"/>
                <a:gd name="connsiteX51" fmla="*/ 493967 w 521536"/>
                <a:gd name="connsiteY51" fmla="*/ 143681 h 524586"/>
                <a:gd name="connsiteX52" fmla="*/ 362332 w 521536"/>
                <a:gd name="connsiteY52" fmla="*/ 358565 h 524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521536" h="524586">
                  <a:moveTo>
                    <a:pt x="518161" y="127679"/>
                  </a:moveTo>
                  <a:cubicBezTo>
                    <a:pt x="517018" y="121012"/>
                    <a:pt x="510826" y="116249"/>
                    <a:pt x="504159" y="116821"/>
                  </a:cubicBezTo>
                  <a:cubicBezTo>
                    <a:pt x="482347" y="118535"/>
                    <a:pt x="459772" y="117488"/>
                    <a:pt x="437960" y="116440"/>
                  </a:cubicBezTo>
                  <a:cubicBezTo>
                    <a:pt x="425197" y="115868"/>
                    <a:pt x="412243" y="115202"/>
                    <a:pt x="399193" y="115106"/>
                  </a:cubicBezTo>
                  <a:cubicBezTo>
                    <a:pt x="361474" y="41383"/>
                    <a:pt x="283941" y="-3670"/>
                    <a:pt x="201264" y="235"/>
                  </a:cubicBezTo>
                  <a:cubicBezTo>
                    <a:pt x="90679" y="5283"/>
                    <a:pt x="382" y="99676"/>
                    <a:pt x="1" y="210547"/>
                  </a:cubicBezTo>
                  <a:cubicBezTo>
                    <a:pt x="-190" y="284461"/>
                    <a:pt x="37243" y="351898"/>
                    <a:pt x="100108" y="390855"/>
                  </a:cubicBezTo>
                  <a:cubicBezTo>
                    <a:pt x="100299" y="390950"/>
                    <a:pt x="100489" y="390950"/>
                    <a:pt x="100680" y="391141"/>
                  </a:cubicBezTo>
                  <a:cubicBezTo>
                    <a:pt x="116110" y="404476"/>
                    <a:pt x="126778" y="424574"/>
                    <a:pt x="127445" y="441338"/>
                  </a:cubicBezTo>
                  <a:lnTo>
                    <a:pt x="127445" y="511442"/>
                  </a:lnTo>
                  <a:cubicBezTo>
                    <a:pt x="127445" y="518681"/>
                    <a:pt x="133351" y="524586"/>
                    <a:pt x="140590" y="524586"/>
                  </a:cubicBezTo>
                  <a:lnTo>
                    <a:pt x="290704" y="524586"/>
                  </a:lnTo>
                  <a:cubicBezTo>
                    <a:pt x="297943" y="524586"/>
                    <a:pt x="303848" y="518681"/>
                    <a:pt x="303848" y="511442"/>
                  </a:cubicBezTo>
                  <a:lnTo>
                    <a:pt x="303848" y="449148"/>
                  </a:lnTo>
                  <a:cubicBezTo>
                    <a:pt x="304039" y="444195"/>
                    <a:pt x="303943" y="439242"/>
                    <a:pt x="303848" y="434289"/>
                  </a:cubicBezTo>
                  <a:cubicBezTo>
                    <a:pt x="303563" y="415049"/>
                    <a:pt x="303848" y="403809"/>
                    <a:pt x="314230" y="396284"/>
                  </a:cubicBezTo>
                  <a:lnTo>
                    <a:pt x="324232" y="389807"/>
                  </a:lnTo>
                  <a:cubicBezTo>
                    <a:pt x="339662" y="389617"/>
                    <a:pt x="354807" y="387712"/>
                    <a:pt x="368999" y="383902"/>
                  </a:cubicBezTo>
                  <a:cubicBezTo>
                    <a:pt x="472250" y="355994"/>
                    <a:pt x="537687" y="243408"/>
                    <a:pt x="518065" y="127679"/>
                  </a:cubicBezTo>
                  <a:close/>
                  <a:moveTo>
                    <a:pt x="277559" y="448672"/>
                  </a:moveTo>
                  <a:lnTo>
                    <a:pt x="277559" y="498392"/>
                  </a:lnTo>
                  <a:lnTo>
                    <a:pt x="153639" y="498392"/>
                  </a:lnTo>
                  <a:lnTo>
                    <a:pt x="153639" y="440957"/>
                  </a:lnTo>
                  <a:cubicBezTo>
                    <a:pt x="152591" y="415144"/>
                    <a:pt x="138018" y="387617"/>
                    <a:pt x="115444" y="369329"/>
                  </a:cubicBezTo>
                  <a:cubicBezTo>
                    <a:pt x="114586" y="368567"/>
                    <a:pt x="113539" y="368281"/>
                    <a:pt x="112491" y="367805"/>
                  </a:cubicBezTo>
                  <a:cubicBezTo>
                    <a:pt x="58198" y="333515"/>
                    <a:pt x="26004" y="274936"/>
                    <a:pt x="26194" y="210737"/>
                  </a:cubicBezTo>
                  <a:cubicBezTo>
                    <a:pt x="26480" y="113678"/>
                    <a:pt x="105538" y="31001"/>
                    <a:pt x="202407" y="26524"/>
                  </a:cubicBezTo>
                  <a:cubicBezTo>
                    <a:pt x="270987" y="23476"/>
                    <a:pt x="334995" y="58147"/>
                    <a:pt x="369761" y="116059"/>
                  </a:cubicBezTo>
                  <a:cubicBezTo>
                    <a:pt x="365094" y="116440"/>
                    <a:pt x="360427" y="116726"/>
                    <a:pt x="355760" y="117297"/>
                  </a:cubicBezTo>
                  <a:cubicBezTo>
                    <a:pt x="299371" y="124536"/>
                    <a:pt x="257557" y="151873"/>
                    <a:pt x="234887" y="196355"/>
                  </a:cubicBezTo>
                  <a:cubicBezTo>
                    <a:pt x="210979" y="243408"/>
                    <a:pt x="202883" y="299320"/>
                    <a:pt x="212218" y="353993"/>
                  </a:cubicBezTo>
                  <a:cubicBezTo>
                    <a:pt x="212218" y="354184"/>
                    <a:pt x="212313" y="354279"/>
                    <a:pt x="212408" y="354374"/>
                  </a:cubicBezTo>
                  <a:cubicBezTo>
                    <a:pt x="212694" y="355898"/>
                    <a:pt x="213361" y="357422"/>
                    <a:pt x="214218" y="358756"/>
                  </a:cubicBezTo>
                  <a:cubicBezTo>
                    <a:pt x="214313" y="358946"/>
                    <a:pt x="214408" y="359232"/>
                    <a:pt x="214504" y="359327"/>
                  </a:cubicBezTo>
                  <a:cubicBezTo>
                    <a:pt x="215456" y="360756"/>
                    <a:pt x="216790" y="361994"/>
                    <a:pt x="218314" y="362947"/>
                  </a:cubicBezTo>
                  <a:cubicBezTo>
                    <a:pt x="218314" y="362947"/>
                    <a:pt x="218504" y="362947"/>
                    <a:pt x="218599" y="363042"/>
                  </a:cubicBezTo>
                  <a:cubicBezTo>
                    <a:pt x="218599" y="363042"/>
                    <a:pt x="218599" y="363042"/>
                    <a:pt x="218695" y="363137"/>
                  </a:cubicBezTo>
                  <a:cubicBezTo>
                    <a:pt x="239745" y="374948"/>
                    <a:pt x="263367" y="382854"/>
                    <a:pt x="287370" y="386855"/>
                  </a:cubicBezTo>
                  <a:cubicBezTo>
                    <a:pt x="277273" y="401428"/>
                    <a:pt x="277369" y="418859"/>
                    <a:pt x="277559" y="434670"/>
                  </a:cubicBezTo>
                  <a:cubicBezTo>
                    <a:pt x="277559" y="439147"/>
                    <a:pt x="277654" y="443624"/>
                    <a:pt x="277559" y="448672"/>
                  </a:cubicBezTo>
                  <a:close/>
                  <a:moveTo>
                    <a:pt x="362237" y="358565"/>
                  </a:moveTo>
                  <a:cubicBezTo>
                    <a:pt x="325661" y="368471"/>
                    <a:pt x="281655" y="363709"/>
                    <a:pt x="244317" y="346659"/>
                  </a:cubicBezTo>
                  <a:cubicBezTo>
                    <a:pt x="275178" y="301511"/>
                    <a:pt x="317850" y="266744"/>
                    <a:pt x="368904" y="245980"/>
                  </a:cubicBezTo>
                  <a:lnTo>
                    <a:pt x="400146" y="233216"/>
                  </a:lnTo>
                  <a:cubicBezTo>
                    <a:pt x="406814" y="230454"/>
                    <a:pt x="410052" y="222834"/>
                    <a:pt x="407385" y="216071"/>
                  </a:cubicBezTo>
                  <a:cubicBezTo>
                    <a:pt x="404718" y="209309"/>
                    <a:pt x="397003" y="206165"/>
                    <a:pt x="390240" y="208832"/>
                  </a:cubicBezTo>
                  <a:lnTo>
                    <a:pt x="359093" y="221596"/>
                  </a:lnTo>
                  <a:cubicBezTo>
                    <a:pt x="309754" y="241694"/>
                    <a:pt x="267463" y="273793"/>
                    <a:pt x="234982" y="315131"/>
                  </a:cubicBezTo>
                  <a:cubicBezTo>
                    <a:pt x="234125" y="277508"/>
                    <a:pt x="241936" y="240455"/>
                    <a:pt x="258414" y="208261"/>
                  </a:cubicBezTo>
                  <a:cubicBezTo>
                    <a:pt x="281845" y="162255"/>
                    <a:pt x="326137" y="147587"/>
                    <a:pt x="359189" y="143396"/>
                  </a:cubicBezTo>
                  <a:cubicBezTo>
                    <a:pt x="384715" y="140157"/>
                    <a:pt x="409957" y="141300"/>
                    <a:pt x="436722" y="142634"/>
                  </a:cubicBezTo>
                  <a:cubicBezTo>
                    <a:pt x="455391" y="143491"/>
                    <a:pt x="474631" y="144443"/>
                    <a:pt x="493967" y="143681"/>
                  </a:cubicBezTo>
                  <a:cubicBezTo>
                    <a:pt x="503683" y="231216"/>
                    <a:pt x="458915" y="332467"/>
                    <a:pt x="362332" y="358565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</p:grpSp>
      <p:sp>
        <p:nvSpPr>
          <p:cNvPr id="84" name="Freeform: Shape 57">
            <a:extLst>
              <a:ext uri="{FF2B5EF4-FFF2-40B4-BE49-F238E27FC236}">
                <a16:creationId xmlns:a16="http://schemas.microsoft.com/office/drawing/2014/main" id="{C56330BD-32C5-40CD-8ED6-9159B9E24F76}"/>
              </a:ext>
            </a:extLst>
          </p:cNvPr>
          <p:cNvSpPr/>
          <p:nvPr/>
        </p:nvSpPr>
        <p:spPr>
          <a:xfrm>
            <a:off x="7885248" y="5470311"/>
            <a:ext cx="430327" cy="435680"/>
          </a:xfrm>
          <a:custGeom>
            <a:avLst/>
            <a:gdLst>
              <a:gd name="connsiteX0" fmla="*/ 640747 w 655788"/>
              <a:gd name="connsiteY0" fmla="*/ 384524 h 655034"/>
              <a:gd name="connsiteX1" fmla="*/ 600456 w 655788"/>
              <a:gd name="connsiteY1" fmla="*/ 309086 h 655034"/>
              <a:gd name="connsiteX2" fmla="*/ 497681 w 655788"/>
              <a:gd name="connsiteY2" fmla="*/ 262700 h 655034"/>
              <a:gd name="connsiteX3" fmla="*/ 463296 w 655788"/>
              <a:gd name="connsiteY3" fmla="*/ 270891 h 655034"/>
              <a:gd name="connsiteX4" fmla="*/ 463296 w 655788"/>
              <a:gd name="connsiteY4" fmla="*/ 13144 h 655034"/>
              <a:gd name="connsiteX5" fmla="*/ 450152 w 655788"/>
              <a:gd name="connsiteY5" fmla="*/ 0 h 655034"/>
              <a:gd name="connsiteX6" fmla="*/ 159163 w 655788"/>
              <a:gd name="connsiteY6" fmla="*/ 0 h 655034"/>
              <a:gd name="connsiteX7" fmla="*/ 143637 w 655788"/>
              <a:gd name="connsiteY7" fmla="*/ 6382 h 655034"/>
              <a:gd name="connsiteX8" fmla="*/ 6953 w 655788"/>
              <a:gd name="connsiteY8" fmla="*/ 142208 h 655034"/>
              <a:gd name="connsiteX9" fmla="*/ 286 w 655788"/>
              <a:gd name="connsiteY9" fmla="*/ 158210 h 655034"/>
              <a:gd name="connsiteX10" fmla="*/ 0 w 655788"/>
              <a:gd name="connsiteY10" fmla="*/ 641985 h 655034"/>
              <a:gd name="connsiteX11" fmla="*/ 3810 w 655788"/>
              <a:gd name="connsiteY11" fmla="*/ 651224 h 655034"/>
              <a:gd name="connsiteX12" fmla="*/ 13049 w 655788"/>
              <a:gd name="connsiteY12" fmla="*/ 655034 h 655034"/>
              <a:gd name="connsiteX13" fmla="*/ 450247 w 655788"/>
              <a:gd name="connsiteY13" fmla="*/ 655034 h 655034"/>
              <a:gd name="connsiteX14" fmla="*/ 463391 w 655788"/>
              <a:gd name="connsiteY14" fmla="*/ 641890 h 655034"/>
              <a:gd name="connsiteX15" fmla="*/ 463391 w 655788"/>
              <a:gd name="connsiteY15" fmla="*/ 551783 h 655034"/>
              <a:gd name="connsiteX16" fmla="*/ 462820 w 655788"/>
              <a:gd name="connsiteY16" fmla="*/ 549116 h 655034"/>
              <a:gd name="connsiteX17" fmla="*/ 462534 w 655788"/>
              <a:gd name="connsiteY17" fmla="*/ 547973 h 655034"/>
              <a:gd name="connsiteX18" fmla="*/ 460820 w 655788"/>
              <a:gd name="connsiteY18" fmla="*/ 544640 h 655034"/>
              <a:gd name="connsiteX19" fmla="*/ 460153 w 655788"/>
              <a:gd name="connsiteY19" fmla="*/ 543592 h 655034"/>
              <a:gd name="connsiteX20" fmla="*/ 457295 w 655788"/>
              <a:gd name="connsiteY20" fmla="*/ 541211 h 655034"/>
              <a:gd name="connsiteX21" fmla="*/ 456533 w 655788"/>
              <a:gd name="connsiteY21" fmla="*/ 540544 h 655034"/>
              <a:gd name="connsiteX22" fmla="*/ 270605 w 655788"/>
              <a:gd name="connsiteY22" fmla="*/ 435959 h 655034"/>
              <a:gd name="connsiteX23" fmla="*/ 264795 w 655788"/>
              <a:gd name="connsiteY23" fmla="*/ 418624 h 655034"/>
              <a:gd name="connsiteX24" fmla="*/ 280130 w 655788"/>
              <a:gd name="connsiteY24" fmla="*/ 410813 h 655034"/>
              <a:gd name="connsiteX25" fmla="*/ 380810 w 655788"/>
              <a:gd name="connsiteY25" fmla="*/ 432911 h 655034"/>
              <a:gd name="connsiteX26" fmla="*/ 394240 w 655788"/>
              <a:gd name="connsiteY26" fmla="*/ 427768 h 655034"/>
              <a:gd name="connsiteX27" fmla="*/ 395002 w 655788"/>
              <a:gd name="connsiteY27" fmla="*/ 413480 h 655034"/>
              <a:gd name="connsiteX28" fmla="*/ 266510 w 655788"/>
              <a:gd name="connsiteY28" fmla="*/ 194120 h 655034"/>
              <a:gd name="connsiteX29" fmla="*/ 269558 w 655788"/>
              <a:gd name="connsiteY29" fmla="*/ 182213 h 655034"/>
              <a:gd name="connsiteX30" fmla="*/ 280702 w 655788"/>
              <a:gd name="connsiteY30" fmla="*/ 184023 h 655034"/>
              <a:gd name="connsiteX31" fmla="*/ 386144 w 655788"/>
              <a:gd name="connsiteY31" fmla="*/ 308705 h 655034"/>
              <a:gd name="connsiteX32" fmla="*/ 399193 w 655788"/>
              <a:gd name="connsiteY32" fmla="*/ 312992 h 655034"/>
              <a:gd name="connsiteX33" fmla="*/ 503777 w 655788"/>
              <a:gd name="connsiteY33" fmla="*/ 288227 h 655034"/>
              <a:gd name="connsiteX34" fmla="*/ 577310 w 655788"/>
              <a:gd name="connsiteY34" fmla="*/ 321374 h 655034"/>
              <a:gd name="connsiteX35" fmla="*/ 617601 w 655788"/>
              <a:gd name="connsiteY35" fmla="*/ 396812 h 655034"/>
              <a:gd name="connsiteX36" fmla="*/ 623602 w 655788"/>
              <a:gd name="connsiteY36" fmla="*/ 476822 h 655034"/>
              <a:gd name="connsiteX37" fmla="*/ 622173 w 655788"/>
              <a:gd name="connsiteY37" fmla="*/ 480441 h 655034"/>
              <a:gd name="connsiteX38" fmla="*/ 629222 w 655788"/>
              <a:gd name="connsiteY38" fmla="*/ 497586 h 655034"/>
              <a:gd name="connsiteX39" fmla="*/ 646367 w 655788"/>
              <a:gd name="connsiteY39" fmla="*/ 490538 h 655034"/>
              <a:gd name="connsiteX40" fmla="*/ 648176 w 655788"/>
              <a:gd name="connsiteY40" fmla="*/ 485966 h 655034"/>
              <a:gd name="connsiteX41" fmla="*/ 640747 w 655788"/>
              <a:gd name="connsiteY41" fmla="*/ 384334 h 655034"/>
              <a:gd name="connsiteX42" fmla="*/ 151448 w 655788"/>
              <a:gd name="connsiteY42" fmla="*/ 35719 h 655034"/>
              <a:gd name="connsiteX43" fmla="*/ 151448 w 655788"/>
              <a:gd name="connsiteY43" fmla="*/ 151067 h 655034"/>
              <a:gd name="connsiteX44" fmla="*/ 35338 w 655788"/>
              <a:gd name="connsiteY44" fmla="*/ 151067 h 655034"/>
              <a:gd name="connsiteX45" fmla="*/ 151448 w 655788"/>
              <a:gd name="connsiteY45" fmla="*/ 35719 h 655034"/>
              <a:gd name="connsiteX46" fmla="*/ 300800 w 655788"/>
              <a:gd name="connsiteY46" fmla="*/ 167164 h 655034"/>
              <a:gd name="connsiteX47" fmla="*/ 256127 w 655788"/>
              <a:gd name="connsiteY47" fmla="*/ 159734 h 655034"/>
              <a:gd name="connsiteX48" fmla="*/ 243935 w 655788"/>
              <a:gd name="connsiteY48" fmla="*/ 207359 h 655034"/>
              <a:gd name="connsiteX49" fmla="*/ 271653 w 655788"/>
              <a:gd name="connsiteY49" fmla="*/ 254794 h 655034"/>
              <a:gd name="connsiteX50" fmla="*/ 81058 w 655788"/>
              <a:gd name="connsiteY50" fmla="*/ 254794 h 655034"/>
              <a:gd name="connsiteX51" fmla="*/ 67913 w 655788"/>
              <a:gd name="connsiteY51" fmla="*/ 267938 h 655034"/>
              <a:gd name="connsiteX52" fmla="*/ 81058 w 655788"/>
              <a:gd name="connsiteY52" fmla="*/ 281083 h 655034"/>
              <a:gd name="connsiteX53" fmla="*/ 287084 w 655788"/>
              <a:gd name="connsiteY53" fmla="*/ 281083 h 655034"/>
              <a:gd name="connsiteX54" fmla="*/ 310420 w 655788"/>
              <a:gd name="connsiteY54" fmla="*/ 320993 h 655034"/>
              <a:gd name="connsiteX55" fmla="*/ 81058 w 655788"/>
              <a:gd name="connsiteY55" fmla="*/ 320993 h 655034"/>
              <a:gd name="connsiteX56" fmla="*/ 67913 w 655788"/>
              <a:gd name="connsiteY56" fmla="*/ 334137 h 655034"/>
              <a:gd name="connsiteX57" fmla="*/ 81058 w 655788"/>
              <a:gd name="connsiteY57" fmla="*/ 347282 h 655034"/>
              <a:gd name="connsiteX58" fmla="*/ 325755 w 655788"/>
              <a:gd name="connsiteY58" fmla="*/ 347282 h 655034"/>
              <a:gd name="connsiteX59" fmla="*/ 357283 w 655788"/>
              <a:gd name="connsiteY59" fmla="*/ 401098 h 655034"/>
              <a:gd name="connsiteX60" fmla="*/ 285845 w 655788"/>
              <a:gd name="connsiteY60" fmla="*/ 385477 h 655034"/>
              <a:gd name="connsiteX61" fmla="*/ 240792 w 655788"/>
              <a:gd name="connsiteY61" fmla="*/ 408432 h 655034"/>
              <a:gd name="connsiteX62" fmla="*/ 257746 w 655788"/>
              <a:gd name="connsiteY62" fmla="*/ 459010 h 655034"/>
              <a:gd name="connsiteX63" fmla="*/ 437198 w 655788"/>
              <a:gd name="connsiteY63" fmla="*/ 559880 h 655034"/>
              <a:gd name="connsiteX64" fmla="*/ 437198 w 655788"/>
              <a:gd name="connsiteY64" fmla="*/ 629126 h 655034"/>
              <a:gd name="connsiteX65" fmla="*/ 26289 w 655788"/>
              <a:gd name="connsiteY65" fmla="*/ 629126 h 655034"/>
              <a:gd name="connsiteX66" fmla="*/ 26479 w 655788"/>
              <a:gd name="connsiteY66" fmla="*/ 177451 h 655034"/>
              <a:gd name="connsiteX67" fmla="*/ 164497 w 655788"/>
              <a:gd name="connsiteY67" fmla="*/ 177451 h 655034"/>
              <a:gd name="connsiteX68" fmla="*/ 177641 w 655788"/>
              <a:gd name="connsiteY68" fmla="*/ 164306 h 655034"/>
              <a:gd name="connsiteX69" fmla="*/ 177641 w 655788"/>
              <a:gd name="connsiteY69" fmla="*/ 26289 h 655034"/>
              <a:gd name="connsiteX70" fmla="*/ 437198 w 655788"/>
              <a:gd name="connsiteY70" fmla="*/ 26289 h 655034"/>
              <a:gd name="connsiteX71" fmla="*/ 437198 w 655788"/>
              <a:gd name="connsiteY71" fmla="*/ 276987 h 655034"/>
              <a:gd name="connsiteX72" fmla="*/ 401098 w 655788"/>
              <a:gd name="connsiteY72" fmla="*/ 285560 h 655034"/>
              <a:gd name="connsiteX73" fmla="*/ 300800 w 655788"/>
              <a:gd name="connsiteY73" fmla="*/ 167069 h 655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55788" h="655034">
                <a:moveTo>
                  <a:pt x="640747" y="384524"/>
                </a:moveTo>
                <a:lnTo>
                  <a:pt x="600456" y="309086"/>
                </a:lnTo>
                <a:cubicBezTo>
                  <a:pt x="580739" y="272129"/>
                  <a:pt x="538544" y="253079"/>
                  <a:pt x="497681" y="262700"/>
                </a:cubicBezTo>
                <a:lnTo>
                  <a:pt x="463296" y="270891"/>
                </a:lnTo>
                <a:lnTo>
                  <a:pt x="463296" y="13144"/>
                </a:lnTo>
                <a:cubicBezTo>
                  <a:pt x="463296" y="5905"/>
                  <a:pt x="457391" y="0"/>
                  <a:pt x="450152" y="0"/>
                </a:cubicBezTo>
                <a:lnTo>
                  <a:pt x="159163" y="0"/>
                </a:lnTo>
                <a:cubicBezTo>
                  <a:pt x="153257" y="0"/>
                  <a:pt x="147733" y="2286"/>
                  <a:pt x="143637" y="6382"/>
                </a:cubicBezTo>
                <a:lnTo>
                  <a:pt x="6953" y="142208"/>
                </a:lnTo>
                <a:cubicBezTo>
                  <a:pt x="2667" y="146495"/>
                  <a:pt x="381" y="152114"/>
                  <a:pt x="286" y="158210"/>
                </a:cubicBezTo>
                <a:lnTo>
                  <a:pt x="0" y="641985"/>
                </a:lnTo>
                <a:cubicBezTo>
                  <a:pt x="0" y="645414"/>
                  <a:pt x="1429" y="648843"/>
                  <a:pt x="3810" y="651224"/>
                </a:cubicBezTo>
                <a:cubicBezTo>
                  <a:pt x="6286" y="653701"/>
                  <a:pt x="9620" y="655034"/>
                  <a:pt x="13049" y="655034"/>
                </a:cubicBezTo>
                <a:lnTo>
                  <a:pt x="450247" y="655034"/>
                </a:lnTo>
                <a:cubicBezTo>
                  <a:pt x="457486" y="655034"/>
                  <a:pt x="463391" y="649129"/>
                  <a:pt x="463391" y="641890"/>
                </a:cubicBezTo>
                <a:lnTo>
                  <a:pt x="463391" y="551783"/>
                </a:lnTo>
                <a:cubicBezTo>
                  <a:pt x="463391" y="550831"/>
                  <a:pt x="463010" y="549974"/>
                  <a:pt x="462820" y="549116"/>
                </a:cubicBezTo>
                <a:cubicBezTo>
                  <a:pt x="462820" y="548735"/>
                  <a:pt x="462725" y="548354"/>
                  <a:pt x="462534" y="547973"/>
                </a:cubicBezTo>
                <a:cubicBezTo>
                  <a:pt x="462153" y="546735"/>
                  <a:pt x="461582" y="545687"/>
                  <a:pt x="460820" y="544640"/>
                </a:cubicBezTo>
                <a:cubicBezTo>
                  <a:pt x="460534" y="544259"/>
                  <a:pt x="460343" y="543878"/>
                  <a:pt x="460153" y="543592"/>
                </a:cubicBezTo>
                <a:cubicBezTo>
                  <a:pt x="459296" y="542639"/>
                  <a:pt x="458343" y="541877"/>
                  <a:pt x="457295" y="541211"/>
                </a:cubicBezTo>
                <a:cubicBezTo>
                  <a:pt x="457010" y="541020"/>
                  <a:pt x="456819" y="540734"/>
                  <a:pt x="456533" y="540544"/>
                </a:cubicBezTo>
                <a:lnTo>
                  <a:pt x="270605" y="435959"/>
                </a:lnTo>
                <a:cubicBezTo>
                  <a:pt x="264509" y="432530"/>
                  <a:pt x="262033" y="425101"/>
                  <a:pt x="264795" y="418624"/>
                </a:cubicBezTo>
                <a:cubicBezTo>
                  <a:pt x="267367" y="412718"/>
                  <a:pt x="273844" y="409385"/>
                  <a:pt x="280130" y="410813"/>
                </a:cubicBezTo>
                <a:lnTo>
                  <a:pt x="380810" y="432911"/>
                </a:lnTo>
                <a:cubicBezTo>
                  <a:pt x="385858" y="433959"/>
                  <a:pt x="391192" y="432054"/>
                  <a:pt x="394240" y="427768"/>
                </a:cubicBezTo>
                <a:cubicBezTo>
                  <a:pt x="397288" y="423482"/>
                  <a:pt x="397574" y="417957"/>
                  <a:pt x="395002" y="413480"/>
                </a:cubicBezTo>
                <a:lnTo>
                  <a:pt x="266510" y="194120"/>
                </a:lnTo>
                <a:cubicBezTo>
                  <a:pt x="264128" y="190024"/>
                  <a:pt x="265462" y="184690"/>
                  <a:pt x="269558" y="182213"/>
                </a:cubicBezTo>
                <a:cubicBezTo>
                  <a:pt x="273272" y="180022"/>
                  <a:pt x="277940" y="180784"/>
                  <a:pt x="280702" y="184023"/>
                </a:cubicBezTo>
                <a:lnTo>
                  <a:pt x="386144" y="308705"/>
                </a:lnTo>
                <a:cubicBezTo>
                  <a:pt x="389287" y="312515"/>
                  <a:pt x="394430" y="314135"/>
                  <a:pt x="399193" y="312992"/>
                </a:cubicBezTo>
                <a:lnTo>
                  <a:pt x="503777" y="288227"/>
                </a:lnTo>
                <a:cubicBezTo>
                  <a:pt x="533019" y="281273"/>
                  <a:pt x="563213" y="294989"/>
                  <a:pt x="577310" y="321374"/>
                </a:cubicBezTo>
                <a:lnTo>
                  <a:pt x="617601" y="396812"/>
                </a:lnTo>
                <a:cubicBezTo>
                  <a:pt x="631031" y="422053"/>
                  <a:pt x="633317" y="451199"/>
                  <a:pt x="623602" y="476822"/>
                </a:cubicBezTo>
                <a:cubicBezTo>
                  <a:pt x="623126" y="478060"/>
                  <a:pt x="622649" y="479203"/>
                  <a:pt x="622173" y="480441"/>
                </a:cubicBezTo>
                <a:cubicBezTo>
                  <a:pt x="619411" y="487109"/>
                  <a:pt x="622459" y="494824"/>
                  <a:pt x="629222" y="497586"/>
                </a:cubicBezTo>
                <a:cubicBezTo>
                  <a:pt x="635889" y="500348"/>
                  <a:pt x="643604" y="497300"/>
                  <a:pt x="646367" y="490538"/>
                </a:cubicBezTo>
                <a:cubicBezTo>
                  <a:pt x="647033" y="489014"/>
                  <a:pt x="647605" y="487490"/>
                  <a:pt x="648176" y="485966"/>
                </a:cubicBezTo>
                <a:cubicBezTo>
                  <a:pt x="660464" y="453295"/>
                  <a:pt x="657797" y="416243"/>
                  <a:pt x="640747" y="384334"/>
                </a:cubicBezTo>
                <a:close/>
                <a:moveTo>
                  <a:pt x="151448" y="35719"/>
                </a:moveTo>
                <a:lnTo>
                  <a:pt x="151448" y="151067"/>
                </a:lnTo>
                <a:lnTo>
                  <a:pt x="35338" y="151067"/>
                </a:lnTo>
                <a:lnTo>
                  <a:pt x="151448" y="35719"/>
                </a:lnTo>
                <a:close/>
                <a:moveTo>
                  <a:pt x="300800" y="167164"/>
                </a:moveTo>
                <a:cubicBezTo>
                  <a:pt x="289751" y="154019"/>
                  <a:pt x="270986" y="150876"/>
                  <a:pt x="256127" y="159734"/>
                </a:cubicBezTo>
                <a:cubicBezTo>
                  <a:pt x="239744" y="169545"/>
                  <a:pt x="234315" y="190881"/>
                  <a:pt x="243935" y="207359"/>
                </a:cubicBezTo>
                <a:lnTo>
                  <a:pt x="271653" y="254794"/>
                </a:lnTo>
                <a:lnTo>
                  <a:pt x="81058" y="254794"/>
                </a:lnTo>
                <a:cubicBezTo>
                  <a:pt x="73819" y="254794"/>
                  <a:pt x="67913" y="260699"/>
                  <a:pt x="67913" y="267938"/>
                </a:cubicBezTo>
                <a:cubicBezTo>
                  <a:pt x="67913" y="275177"/>
                  <a:pt x="73819" y="281083"/>
                  <a:pt x="81058" y="281083"/>
                </a:cubicBezTo>
                <a:lnTo>
                  <a:pt x="287084" y="281083"/>
                </a:lnTo>
                <a:lnTo>
                  <a:pt x="310420" y="320993"/>
                </a:lnTo>
                <a:lnTo>
                  <a:pt x="81058" y="320993"/>
                </a:lnTo>
                <a:cubicBezTo>
                  <a:pt x="73819" y="320993"/>
                  <a:pt x="67913" y="326898"/>
                  <a:pt x="67913" y="334137"/>
                </a:cubicBezTo>
                <a:cubicBezTo>
                  <a:pt x="67913" y="341376"/>
                  <a:pt x="73819" y="347282"/>
                  <a:pt x="81058" y="347282"/>
                </a:cubicBezTo>
                <a:lnTo>
                  <a:pt x="325755" y="347282"/>
                </a:lnTo>
                <a:lnTo>
                  <a:pt x="357283" y="401098"/>
                </a:lnTo>
                <a:lnTo>
                  <a:pt x="285845" y="385477"/>
                </a:lnTo>
                <a:cubicBezTo>
                  <a:pt x="267367" y="381381"/>
                  <a:pt x="248412" y="391097"/>
                  <a:pt x="240792" y="408432"/>
                </a:cubicBezTo>
                <a:cubicBezTo>
                  <a:pt x="232601" y="427196"/>
                  <a:pt x="239935" y="449009"/>
                  <a:pt x="257746" y="459010"/>
                </a:cubicBezTo>
                <a:lnTo>
                  <a:pt x="437198" y="559880"/>
                </a:lnTo>
                <a:lnTo>
                  <a:pt x="437198" y="629126"/>
                </a:lnTo>
                <a:lnTo>
                  <a:pt x="26289" y="629126"/>
                </a:lnTo>
                <a:lnTo>
                  <a:pt x="26479" y="177451"/>
                </a:lnTo>
                <a:lnTo>
                  <a:pt x="164497" y="177451"/>
                </a:lnTo>
                <a:cubicBezTo>
                  <a:pt x="171736" y="177451"/>
                  <a:pt x="177641" y="171545"/>
                  <a:pt x="177641" y="164306"/>
                </a:cubicBezTo>
                <a:lnTo>
                  <a:pt x="177641" y="26289"/>
                </a:lnTo>
                <a:lnTo>
                  <a:pt x="437198" y="26289"/>
                </a:lnTo>
                <a:lnTo>
                  <a:pt x="437198" y="276987"/>
                </a:lnTo>
                <a:lnTo>
                  <a:pt x="401098" y="285560"/>
                </a:lnTo>
                <a:lnTo>
                  <a:pt x="300800" y="167069"/>
                </a:lnTo>
                <a:close/>
              </a:path>
            </a:pathLst>
          </a:custGeom>
          <a:solidFill>
            <a:srgbClr val="33333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grpSp>
        <p:nvGrpSpPr>
          <p:cNvPr id="85" name="Graphic 55">
            <a:extLst>
              <a:ext uri="{FF2B5EF4-FFF2-40B4-BE49-F238E27FC236}">
                <a16:creationId xmlns:a16="http://schemas.microsoft.com/office/drawing/2014/main" id="{583EBAAA-F73F-4C91-9A04-3ECB61588DBE}"/>
              </a:ext>
            </a:extLst>
          </p:cNvPr>
          <p:cNvGrpSpPr/>
          <p:nvPr/>
        </p:nvGrpSpPr>
        <p:grpSpPr>
          <a:xfrm>
            <a:off x="7826077" y="3708060"/>
            <a:ext cx="423867" cy="461665"/>
            <a:chOff x="3875880" y="1102619"/>
            <a:chExt cx="655558" cy="651129"/>
          </a:xfrm>
          <a:solidFill>
            <a:srgbClr val="333333"/>
          </a:solidFill>
        </p:grpSpPr>
        <p:sp>
          <p:nvSpPr>
            <p:cNvPr id="86" name="Freeform: Shape 168">
              <a:extLst>
                <a:ext uri="{FF2B5EF4-FFF2-40B4-BE49-F238E27FC236}">
                  <a16:creationId xmlns:a16="http://schemas.microsoft.com/office/drawing/2014/main" id="{57F813B8-EF97-458B-8DDF-22902D5A6C1A}"/>
                </a:ext>
              </a:extLst>
            </p:cNvPr>
            <p:cNvSpPr/>
            <p:nvPr/>
          </p:nvSpPr>
          <p:spPr>
            <a:xfrm>
              <a:off x="3875880" y="1102619"/>
              <a:ext cx="655558" cy="651129"/>
            </a:xfrm>
            <a:custGeom>
              <a:avLst/>
              <a:gdLst>
                <a:gd name="connsiteX0" fmla="*/ 648272 w 655558"/>
                <a:gd name="connsiteY0" fmla="*/ 264509 h 651129"/>
                <a:gd name="connsiteX1" fmla="*/ 598837 w 655558"/>
                <a:gd name="connsiteY1" fmla="*/ 204026 h 651129"/>
                <a:gd name="connsiteX2" fmla="*/ 358902 w 655558"/>
                <a:gd name="connsiteY2" fmla="*/ 952 h 651129"/>
                <a:gd name="connsiteX3" fmla="*/ 328994 w 655558"/>
                <a:gd name="connsiteY3" fmla="*/ 4953 h 651129"/>
                <a:gd name="connsiteX4" fmla="*/ 236887 w 655558"/>
                <a:gd name="connsiteY4" fmla="*/ 50006 h 651129"/>
                <a:gd name="connsiteX5" fmla="*/ 223076 w 655558"/>
                <a:gd name="connsiteY5" fmla="*/ 61150 h 651129"/>
                <a:gd name="connsiteX6" fmla="*/ 205931 w 655558"/>
                <a:gd name="connsiteY6" fmla="*/ 50864 h 651129"/>
                <a:gd name="connsiteX7" fmla="*/ 192500 w 655558"/>
                <a:gd name="connsiteY7" fmla="*/ 0 h 651129"/>
                <a:gd name="connsiteX8" fmla="*/ 121825 w 655558"/>
                <a:gd name="connsiteY8" fmla="*/ 286 h 651129"/>
                <a:gd name="connsiteX9" fmla="*/ 113443 w 655558"/>
                <a:gd name="connsiteY9" fmla="*/ 46291 h 651129"/>
                <a:gd name="connsiteX10" fmla="*/ 81439 w 655558"/>
                <a:gd name="connsiteY10" fmla="*/ 63722 h 651129"/>
                <a:gd name="connsiteX11" fmla="*/ 33242 w 655558"/>
                <a:gd name="connsiteY11" fmla="*/ 50387 h 651129"/>
                <a:gd name="connsiteX12" fmla="*/ 0 w 655558"/>
                <a:gd name="connsiteY12" fmla="*/ 107442 h 651129"/>
                <a:gd name="connsiteX13" fmla="*/ 35243 w 655558"/>
                <a:gd name="connsiteY13" fmla="*/ 142970 h 651129"/>
                <a:gd name="connsiteX14" fmla="*/ 34100 w 655558"/>
                <a:gd name="connsiteY14" fmla="*/ 158687 h 651129"/>
                <a:gd name="connsiteX15" fmla="*/ 35719 w 655558"/>
                <a:gd name="connsiteY15" fmla="*/ 178594 h 651129"/>
                <a:gd name="connsiteX16" fmla="*/ 4286 w 655558"/>
                <a:gd name="connsiteY16" fmla="*/ 209455 h 651129"/>
                <a:gd name="connsiteX17" fmla="*/ 37147 w 655558"/>
                <a:gd name="connsiteY17" fmla="*/ 266891 h 651129"/>
                <a:gd name="connsiteX18" fmla="*/ 81915 w 655558"/>
                <a:gd name="connsiteY18" fmla="*/ 255080 h 651129"/>
                <a:gd name="connsiteX19" fmla="*/ 113348 w 655558"/>
                <a:gd name="connsiteY19" fmla="*/ 272034 h 651129"/>
                <a:gd name="connsiteX20" fmla="*/ 125540 w 655558"/>
                <a:gd name="connsiteY20" fmla="*/ 318326 h 651129"/>
                <a:gd name="connsiteX21" fmla="*/ 166973 w 655558"/>
                <a:gd name="connsiteY21" fmla="*/ 318326 h 651129"/>
                <a:gd name="connsiteX22" fmla="*/ 167259 w 655558"/>
                <a:gd name="connsiteY22" fmla="*/ 319564 h 651129"/>
                <a:gd name="connsiteX23" fmla="*/ 249079 w 655558"/>
                <a:gd name="connsiteY23" fmla="*/ 415385 h 651129"/>
                <a:gd name="connsiteX24" fmla="*/ 231077 w 655558"/>
                <a:gd name="connsiteY24" fmla="*/ 635699 h 651129"/>
                <a:gd name="connsiteX25" fmla="*/ 234410 w 655558"/>
                <a:gd name="connsiteY25" fmla="*/ 645509 h 651129"/>
                <a:gd name="connsiteX26" fmla="*/ 243935 w 655558"/>
                <a:gd name="connsiteY26" fmla="*/ 649700 h 651129"/>
                <a:gd name="connsiteX27" fmla="*/ 481108 w 655558"/>
                <a:gd name="connsiteY27" fmla="*/ 651129 h 651129"/>
                <a:gd name="connsiteX28" fmla="*/ 481108 w 655558"/>
                <a:gd name="connsiteY28" fmla="*/ 651129 h 651129"/>
                <a:gd name="connsiteX29" fmla="*/ 494062 w 655558"/>
                <a:gd name="connsiteY29" fmla="*/ 638651 h 651129"/>
                <a:gd name="connsiteX30" fmla="*/ 499301 w 655558"/>
                <a:gd name="connsiteY30" fmla="*/ 496348 h 651129"/>
                <a:gd name="connsiteX31" fmla="*/ 578358 w 655558"/>
                <a:gd name="connsiteY31" fmla="*/ 476441 h 651129"/>
                <a:gd name="connsiteX32" fmla="*/ 621316 w 655558"/>
                <a:gd name="connsiteY32" fmla="*/ 441389 h 651129"/>
                <a:gd name="connsiteX33" fmla="*/ 621983 w 655558"/>
                <a:gd name="connsiteY33" fmla="*/ 385953 h 651129"/>
                <a:gd name="connsiteX34" fmla="*/ 600837 w 655558"/>
                <a:gd name="connsiteY34" fmla="*/ 338995 h 651129"/>
                <a:gd name="connsiteX35" fmla="*/ 639890 w 655558"/>
                <a:gd name="connsiteY35" fmla="*/ 314230 h 651129"/>
                <a:gd name="connsiteX36" fmla="*/ 655130 w 655558"/>
                <a:gd name="connsiteY36" fmla="*/ 291179 h 651129"/>
                <a:gd name="connsiteX37" fmla="*/ 647986 w 655558"/>
                <a:gd name="connsiteY37" fmla="*/ 264509 h 651129"/>
                <a:gd name="connsiteX38" fmla="*/ 133826 w 655558"/>
                <a:gd name="connsiteY38" fmla="*/ 252603 h 651129"/>
                <a:gd name="connsiteX39" fmla="*/ 127159 w 655558"/>
                <a:gd name="connsiteY39" fmla="*/ 250603 h 651129"/>
                <a:gd name="connsiteX40" fmla="*/ 92774 w 655558"/>
                <a:gd name="connsiteY40" fmla="*/ 232124 h 651129"/>
                <a:gd name="connsiteX41" fmla="*/ 87916 w 655558"/>
                <a:gd name="connsiteY41" fmla="*/ 228029 h 651129"/>
                <a:gd name="connsiteX42" fmla="*/ 49244 w 655558"/>
                <a:gd name="connsiteY42" fmla="*/ 238220 h 651129"/>
                <a:gd name="connsiteX43" fmla="*/ 35147 w 655558"/>
                <a:gd name="connsiteY43" fmla="*/ 213646 h 651129"/>
                <a:gd name="connsiteX44" fmla="*/ 62579 w 655558"/>
                <a:gd name="connsiteY44" fmla="*/ 186690 h 651129"/>
                <a:gd name="connsiteX45" fmla="*/ 61150 w 655558"/>
                <a:gd name="connsiteY45" fmla="*/ 180023 h 651129"/>
                <a:gd name="connsiteX46" fmla="*/ 58769 w 655558"/>
                <a:gd name="connsiteY46" fmla="*/ 158687 h 651129"/>
                <a:gd name="connsiteX47" fmla="*/ 60579 w 655558"/>
                <a:gd name="connsiteY47" fmla="*/ 140970 h 651129"/>
                <a:gd name="connsiteX48" fmla="*/ 61817 w 655558"/>
                <a:gd name="connsiteY48" fmla="*/ 134588 h 651129"/>
                <a:gd name="connsiteX49" fmla="*/ 30861 w 655558"/>
                <a:gd name="connsiteY49" fmla="*/ 103442 h 651129"/>
                <a:gd name="connsiteX50" fmla="*/ 45149 w 655558"/>
                <a:gd name="connsiteY50" fmla="*/ 78962 h 651129"/>
                <a:gd name="connsiteX51" fmla="*/ 87535 w 655558"/>
                <a:gd name="connsiteY51" fmla="*/ 90678 h 651129"/>
                <a:gd name="connsiteX52" fmla="*/ 92488 w 655558"/>
                <a:gd name="connsiteY52" fmla="*/ 86392 h 651129"/>
                <a:gd name="connsiteX53" fmla="*/ 127826 w 655558"/>
                <a:gd name="connsiteY53" fmla="*/ 67342 h 651129"/>
                <a:gd name="connsiteX54" fmla="*/ 135160 w 655558"/>
                <a:gd name="connsiteY54" fmla="*/ 65246 h 651129"/>
                <a:gd name="connsiteX55" fmla="*/ 142589 w 655558"/>
                <a:gd name="connsiteY55" fmla="*/ 24575 h 651129"/>
                <a:gd name="connsiteX56" fmla="*/ 173831 w 655558"/>
                <a:gd name="connsiteY56" fmla="*/ 24575 h 651129"/>
                <a:gd name="connsiteX57" fmla="*/ 185452 w 655558"/>
                <a:gd name="connsiteY57" fmla="*/ 68485 h 651129"/>
                <a:gd name="connsiteX58" fmla="*/ 191071 w 655558"/>
                <a:gd name="connsiteY58" fmla="*/ 70866 h 651129"/>
                <a:gd name="connsiteX59" fmla="*/ 217932 w 655558"/>
                <a:gd name="connsiteY59" fmla="*/ 87821 h 651129"/>
                <a:gd name="connsiteX60" fmla="*/ 222885 w 655558"/>
                <a:gd name="connsiteY60" fmla="*/ 92202 h 651129"/>
                <a:gd name="connsiteX61" fmla="*/ 269272 w 655558"/>
                <a:gd name="connsiteY61" fmla="*/ 79915 h 651129"/>
                <a:gd name="connsiteX62" fmla="*/ 283369 w 655558"/>
                <a:gd name="connsiteY62" fmla="*/ 104489 h 651129"/>
                <a:gd name="connsiteX63" fmla="*/ 248031 w 655558"/>
                <a:gd name="connsiteY63" fmla="*/ 139256 h 651129"/>
                <a:gd name="connsiteX64" fmla="*/ 248888 w 655558"/>
                <a:gd name="connsiteY64" fmla="*/ 145447 h 651129"/>
                <a:gd name="connsiteX65" fmla="*/ 250031 w 655558"/>
                <a:gd name="connsiteY65" fmla="*/ 159353 h 651129"/>
                <a:gd name="connsiteX66" fmla="*/ 248221 w 655558"/>
                <a:gd name="connsiteY66" fmla="*/ 177070 h 651129"/>
                <a:gd name="connsiteX67" fmla="*/ 246983 w 655558"/>
                <a:gd name="connsiteY67" fmla="*/ 183452 h 651129"/>
                <a:gd name="connsiteX68" fmla="*/ 277940 w 655558"/>
                <a:gd name="connsiteY68" fmla="*/ 214598 h 651129"/>
                <a:gd name="connsiteX69" fmla="*/ 263652 w 655558"/>
                <a:gd name="connsiteY69" fmla="*/ 239078 h 651129"/>
                <a:gd name="connsiteX70" fmla="*/ 221361 w 655558"/>
                <a:gd name="connsiteY70" fmla="*/ 227362 h 651129"/>
                <a:gd name="connsiteX71" fmla="*/ 216408 w 655558"/>
                <a:gd name="connsiteY71" fmla="*/ 231648 h 651129"/>
                <a:gd name="connsiteX72" fmla="*/ 190595 w 655558"/>
                <a:gd name="connsiteY72" fmla="*/ 247460 h 651129"/>
                <a:gd name="connsiteX73" fmla="*/ 184976 w 655558"/>
                <a:gd name="connsiteY73" fmla="*/ 249746 h 651129"/>
                <a:gd name="connsiteX74" fmla="*/ 173260 w 655558"/>
                <a:gd name="connsiteY74" fmla="*/ 293751 h 651129"/>
                <a:gd name="connsiteX75" fmla="*/ 144971 w 655558"/>
                <a:gd name="connsiteY75" fmla="*/ 293751 h 651129"/>
                <a:gd name="connsiteX76" fmla="*/ 134112 w 655558"/>
                <a:gd name="connsiteY76" fmla="*/ 252508 h 651129"/>
                <a:gd name="connsiteX77" fmla="*/ 626269 w 655558"/>
                <a:gd name="connsiteY77" fmla="*/ 292322 h 651129"/>
                <a:gd name="connsiteX78" fmla="*/ 577596 w 655558"/>
                <a:gd name="connsiteY78" fmla="*/ 323088 h 651129"/>
                <a:gd name="connsiteX79" fmla="*/ 572738 w 655558"/>
                <a:gd name="connsiteY79" fmla="*/ 339376 h 651129"/>
                <a:gd name="connsiteX80" fmla="*/ 598551 w 655558"/>
                <a:gd name="connsiteY80" fmla="*/ 396621 h 651129"/>
                <a:gd name="connsiteX81" fmla="*/ 598075 w 655558"/>
                <a:gd name="connsiteY81" fmla="*/ 430054 h 651129"/>
                <a:gd name="connsiteX82" fmla="*/ 572167 w 655558"/>
                <a:gd name="connsiteY82" fmla="*/ 451199 h 651129"/>
                <a:gd name="connsiteX83" fmla="*/ 483680 w 655558"/>
                <a:gd name="connsiteY83" fmla="*/ 473488 h 651129"/>
                <a:gd name="connsiteX84" fmla="*/ 473869 w 655558"/>
                <a:gd name="connsiteY84" fmla="*/ 485585 h 651129"/>
                <a:gd name="connsiteX85" fmla="*/ 468725 w 655558"/>
                <a:gd name="connsiteY85" fmla="*/ 625031 h 651129"/>
                <a:gd name="connsiteX86" fmla="*/ 258128 w 655558"/>
                <a:gd name="connsiteY86" fmla="*/ 623792 h 651129"/>
                <a:gd name="connsiteX87" fmla="*/ 275558 w 655558"/>
                <a:gd name="connsiteY87" fmla="*/ 409670 h 651129"/>
                <a:gd name="connsiteX88" fmla="*/ 269367 w 655558"/>
                <a:gd name="connsiteY88" fmla="*/ 397478 h 651129"/>
                <a:gd name="connsiteX89" fmla="*/ 193072 w 655558"/>
                <a:gd name="connsiteY89" fmla="*/ 313182 h 651129"/>
                <a:gd name="connsiteX90" fmla="*/ 205169 w 655558"/>
                <a:gd name="connsiteY90" fmla="*/ 267653 h 651129"/>
                <a:gd name="connsiteX91" fmla="*/ 226695 w 655558"/>
                <a:gd name="connsiteY91" fmla="*/ 254508 h 651129"/>
                <a:gd name="connsiteX92" fmla="*/ 274987 w 655558"/>
                <a:gd name="connsiteY92" fmla="*/ 267843 h 651129"/>
                <a:gd name="connsiteX93" fmla="*/ 308324 w 655558"/>
                <a:gd name="connsiteY93" fmla="*/ 210598 h 651129"/>
                <a:gd name="connsiteX94" fmla="*/ 273082 w 655558"/>
                <a:gd name="connsiteY94" fmla="*/ 175070 h 651129"/>
                <a:gd name="connsiteX95" fmla="*/ 274225 w 655558"/>
                <a:gd name="connsiteY95" fmla="*/ 159258 h 651129"/>
                <a:gd name="connsiteX96" fmla="*/ 273653 w 655558"/>
                <a:gd name="connsiteY96" fmla="*/ 148019 h 651129"/>
                <a:gd name="connsiteX97" fmla="*/ 313753 w 655558"/>
                <a:gd name="connsiteY97" fmla="*/ 108585 h 651129"/>
                <a:gd name="connsiteX98" fmla="*/ 280892 w 655558"/>
                <a:gd name="connsiteY98" fmla="*/ 51149 h 651129"/>
                <a:gd name="connsiteX99" fmla="*/ 280702 w 655558"/>
                <a:gd name="connsiteY99" fmla="*/ 51149 h 651129"/>
                <a:gd name="connsiteX100" fmla="*/ 334042 w 655558"/>
                <a:gd name="connsiteY100" fmla="*/ 30099 h 651129"/>
                <a:gd name="connsiteX101" fmla="*/ 360331 w 655558"/>
                <a:gd name="connsiteY101" fmla="*/ 26575 h 651129"/>
                <a:gd name="connsiteX102" fmla="*/ 572929 w 655558"/>
                <a:gd name="connsiteY102" fmla="*/ 209931 h 651129"/>
                <a:gd name="connsiteX103" fmla="*/ 575786 w 655558"/>
                <a:gd name="connsiteY103" fmla="*/ 217075 h 651129"/>
                <a:gd name="connsiteX104" fmla="*/ 627793 w 655558"/>
                <a:gd name="connsiteY104" fmla="*/ 280607 h 651129"/>
                <a:gd name="connsiteX105" fmla="*/ 629412 w 655558"/>
                <a:gd name="connsiteY105" fmla="*/ 286703 h 651129"/>
                <a:gd name="connsiteX106" fmla="*/ 625983 w 655558"/>
                <a:gd name="connsiteY106" fmla="*/ 291941 h 651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655558" h="651129">
                  <a:moveTo>
                    <a:pt x="648272" y="264509"/>
                  </a:moveTo>
                  <a:lnTo>
                    <a:pt x="598837" y="204026"/>
                  </a:lnTo>
                  <a:cubicBezTo>
                    <a:pt x="586740" y="84011"/>
                    <a:pt x="480155" y="-6668"/>
                    <a:pt x="358902" y="952"/>
                  </a:cubicBezTo>
                  <a:cubicBezTo>
                    <a:pt x="348901" y="1619"/>
                    <a:pt x="338804" y="2953"/>
                    <a:pt x="328994" y="4953"/>
                  </a:cubicBezTo>
                  <a:cubicBezTo>
                    <a:pt x="296894" y="11430"/>
                    <a:pt x="265938" y="26670"/>
                    <a:pt x="236887" y="50006"/>
                  </a:cubicBezTo>
                  <a:lnTo>
                    <a:pt x="223076" y="61150"/>
                  </a:lnTo>
                  <a:cubicBezTo>
                    <a:pt x="217551" y="57245"/>
                    <a:pt x="211931" y="53721"/>
                    <a:pt x="205931" y="50864"/>
                  </a:cubicBezTo>
                  <a:lnTo>
                    <a:pt x="192500" y="0"/>
                  </a:lnTo>
                  <a:lnTo>
                    <a:pt x="121825" y="286"/>
                  </a:lnTo>
                  <a:lnTo>
                    <a:pt x="113443" y="46291"/>
                  </a:lnTo>
                  <a:cubicBezTo>
                    <a:pt x="101918" y="50387"/>
                    <a:pt x="91249" y="56293"/>
                    <a:pt x="81439" y="63722"/>
                  </a:cubicBezTo>
                  <a:lnTo>
                    <a:pt x="33242" y="50387"/>
                  </a:lnTo>
                  <a:lnTo>
                    <a:pt x="0" y="107442"/>
                  </a:lnTo>
                  <a:lnTo>
                    <a:pt x="35243" y="142970"/>
                  </a:lnTo>
                  <a:cubicBezTo>
                    <a:pt x="34481" y="148304"/>
                    <a:pt x="34100" y="153638"/>
                    <a:pt x="34100" y="158687"/>
                  </a:cubicBezTo>
                  <a:cubicBezTo>
                    <a:pt x="34100" y="165164"/>
                    <a:pt x="34576" y="171831"/>
                    <a:pt x="35719" y="178594"/>
                  </a:cubicBezTo>
                  <a:lnTo>
                    <a:pt x="4286" y="209455"/>
                  </a:lnTo>
                  <a:lnTo>
                    <a:pt x="37147" y="266891"/>
                  </a:lnTo>
                  <a:lnTo>
                    <a:pt x="81915" y="255080"/>
                  </a:lnTo>
                  <a:cubicBezTo>
                    <a:pt x="91535" y="262319"/>
                    <a:pt x="102013" y="268034"/>
                    <a:pt x="113348" y="272034"/>
                  </a:cubicBezTo>
                  <a:lnTo>
                    <a:pt x="125540" y="318326"/>
                  </a:lnTo>
                  <a:lnTo>
                    <a:pt x="166973" y="318326"/>
                  </a:lnTo>
                  <a:cubicBezTo>
                    <a:pt x="167069" y="318802"/>
                    <a:pt x="166973" y="319183"/>
                    <a:pt x="167259" y="319564"/>
                  </a:cubicBezTo>
                  <a:cubicBezTo>
                    <a:pt x="184976" y="358712"/>
                    <a:pt x="213170" y="391763"/>
                    <a:pt x="249079" y="415385"/>
                  </a:cubicBezTo>
                  <a:lnTo>
                    <a:pt x="231077" y="635699"/>
                  </a:lnTo>
                  <a:cubicBezTo>
                    <a:pt x="230791" y="639318"/>
                    <a:pt x="232029" y="642842"/>
                    <a:pt x="234410" y="645509"/>
                  </a:cubicBezTo>
                  <a:cubicBezTo>
                    <a:pt x="236792" y="648176"/>
                    <a:pt x="240316" y="649700"/>
                    <a:pt x="243935" y="649700"/>
                  </a:cubicBezTo>
                  <a:lnTo>
                    <a:pt x="481108" y="651129"/>
                  </a:lnTo>
                  <a:lnTo>
                    <a:pt x="481108" y="651129"/>
                  </a:lnTo>
                  <a:cubicBezTo>
                    <a:pt x="488061" y="651129"/>
                    <a:pt x="493871" y="645605"/>
                    <a:pt x="494062" y="638651"/>
                  </a:cubicBezTo>
                  <a:lnTo>
                    <a:pt x="499301" y="496348"/>
                  </a:lnTo>
                  <a:lnTo>
                    <a:pt x="578358" y="476441"/>
                  </a:lnTo>
                  <a:cubicBezTo>
                    <a:pt x="597217" y="471678"/>
                    <a:pt x="612839" y="458915"/>
                    <a:pt x="621316" y="441389"/>
                  </a:cubicBezTo>
                  <a:cubicBezTo>
                    <a:pt x="629793" y="423863"/>
                    <a:pt x="629984" y="403670"/>
                    <a:pt x="621983" y="385953"/>
                  </a:cubicBezTo>
                  <a:lnTo>
                    <a:pt x="600837" y="338995"/>
                  </a:lnTo>
                  <a:lnTo>
                    <a:pt x="639890" y="314230"/>
                  </a:lnTo>
                  <a:cubicBezTo>
                    <a:pt x="647986" y="309086"/>
                    <a:pt x="653606" y="300704"/>
                    <a:pt x="655130" y="291179"/>
                  </a:cubicBezTo>
                  <a:cubicBezTo>
                    <a:pt x="656654" y="281654"/>
                    <a:pt x="654082" y="271939"/>
                    <a:pt x="647986" y="264509"/>
                  </a:cubicBezTo>
                  <a:close/>
                  <a:moveTo>
                    <a:pt x="133826" y="252603"/>
                  </a:moveTo>
                  <a:lnTo>
                    <a:pt x="127159" y="250603"/>
                  </a:lnTo>
                  <a:cubicBezTo>
                    <a:pt x="114395" y="246793"/>
                    <a:pt x="102870" y="240602"/>
                    <a:pt x="92774" y="232124"/>
                  </a:cubicBezTo>
                  <a:lnTo>
                    <a:pt x="87916" y="228029"/>
                  </a:lnTo>
                  <a:lnTo>
                    <a:pt x="49244" y="238220"/>
                  </a:lnTo>
                  <a:lnTo>
                    <a:pt x="35147" y="213646"/>
                  </a:lnTo>
                  <a:lnTo>
                    <a:pt x="62579" y="186690"/>
                  </a:lnTo>
                  <a:lnTo>
                    <a:pt x="61150" y="180023"/>
                  </a:lnTo>
                  <a:cubicBezTo>
                    <a:pt x="59531" y="172783"/>
                    <a:pt x="58769" y="165640"/>
                    <a:pt x="58769" y="158687"/>
                  </a:cubicBezTo>
                  <a:cubicBezTo>
                    <a:pt x="58769" y="152876"/>
                    <a:pt x="59341" y="147161"/>
                    <a:pt x="60579" y="140970"/>
                  </a:cubicBezTo>
                  <a:lnTo>
                    <a:pt x="61817" y="134588"/>
                  </a:lnTo>
                  <a:lnTo>
                    <a:pt x="30861" y="103442"/>
                  </a:lnTo>
                  <a:lnTo>
                    <a:pt x="45149" y="78962"/>
                  </a:lnTo>
                  <a:lnTo>
                    <a:pt x="87535" y="90678"/>
                  </a:lnTo>
                  <a:lnTo>
                    <a:pt x="92488" y="86392"/>
                  </a:lnTo>
                  <a:cubicBezTo>
                    <a:pt x="102870" y="77534"/>
                    <a:pt x="114776" y="71057"/>
                    <a:pt x="127826" y="67342"/>
                  </a:cubicBezTo>
                  <a:lnTo>
                    <a:pt x="135160" y="65246"/>
                  </a:lnTo>
                  <a:lnTo>
                    <a:pt x="142589" y="24575"/>
                  </a:lnTo>
                  <a:lnTo>
                    <a:pt x="173831" y="24575"/>
                  </a:lnTo>
                  <a:lnTo>
                    <a:pt x="185452" y="68485"/>
                  </a:lnTo>
                  <a:lnTo>
                    <a:pt x="191071" y="70866"/>
                  </a:lnTo>
                  <a:cubicBezTo>
                    <a:pt x="200692" y="74867"/>
                    <a:pt x="209741" y="80582"/>
                    <a:pt x="217932" y="87821"/>
                  </a:cubicBezTo>
                  <a:lnTo>
                    <a:pt x="222885" y="92202"/>
                  </a:lnTo>
                  <a:lnTo>
                    <a:pt x="269272" y="79915"/>
                  </a:lnTo>
                  <a:lnTo>
                    <a:pt x="283369" y="104489"/>
                  </a:lnTo>
                  <a:lnTo>
                    <a:pt x="248031" y="139256"/>
                  </a:lnTo>
                  <a:lnTo>
                    <a:pt x="248888" y="145447"/>
                  </a:lnTo>
                  <a:cubicBezTo>
                    <a:pt x="249650" y="150590"/>
                    <a:pt x="250031" y="155162"/>
                    <a:pt x="250031" y="159353"/>
                  </a:cubicBezTo>
                  <a:cubicBezTo>
                    <a:pt x="250031" y="165164"/>
                    <a:pt x="249365" y="171069"/>
                    <a:pt x="248221" y="177070"/>
                  </a:cubicBezTo>
                  <a:lnTo>
                    <a:pt x="246983" y="183452"/>
                  </a:lnTo>
                  <a:lnTo>
                    <a:pt x="277940" y="214598"/>
                  </a:lnTo>
                  <a:lnTo>
                    <a:pt x="263652" y="239078"/>
                  </a:lnTo>
                  <a:lnTo>
                    <a:pt x="221361" y="227362"/>
                  </a:lnTo>
                  <a:lnTo>
                    <a:pt x="216408" y="231648"/>
                  </a:lnTo>
                  <a:cubicBezTo>
                    <a:pt x="208598" y="238316"/>
                    <a:pt x="199930" y="243650"/>
                    <a:pt x="190595" y="247460"/>
                  </a:cubicBezTo>
                  <a:lnTo>
                    <a:pt x="184976" y="249746"/>
                  </a:lnTo>
                  <a:lnTo>
                    <a:pt x="173260" y="293751"/>
                  </a:lnTo>
                  <a:lnTo>
                    <a:pt x="144971" y="293751"/>
                  </a:lnTo>
                  <a:lnTo>
                    <a:pt x="134112" y="252508"/>
                  </a:lnTo>
                  <a:close/>
                  <a:moveTo>
                    <a:pt x="626269" y="292322"/>
                  </a:moveTo>
                  <a:lnTo>
                    <a:pt x="577596" y="323088"/>
                  </a:lnTo>
                  <a:cubicBezTo>
                    <a:pt x="572072" y="326517"/>
                    <a:pt x="570071" y="333470"/>
                    <a:pt x="572738" y="339376"/>
                  </a:cubicBezTo>
                  <a:lnTo>
                    <a:pt x="598551" y="396621"/>
                  </a:lnTo>
                  <a:cubicBezTo>
                    <a:pt x="603409" y="407289"/>
                    <a:pt x="603218" y="419481"/>
                    <a:pt x="598075" y="430054"/>
                  </a:cubicBezTo>
                  <a:cubicBezTo>
                    <a:pt x="593027" y="440627"/>
                    <a:pt x="583502" y="448342"/>
                    <a:pt x="572167" y="451199"/>
                  </a:cubicBezTo>
                  <a:lnTo>
                    <a:pt x="483680" y="473488"/>
                  </a:lnTo>
                  <a:cubicBezTo>
                    <a:pt x="478060" y="474917"/>
                    <a:pt x="474059" y="479870"/>
                    <a:pt x="473869" y="485585"/>
                  </a:cubicBezTo>
                  <a:lnTo>
                    <a:pt x="468725" y="625031"/>
                  </a:lnTo>
                  <a:lnTo>
                    <a:pt x="258128" y="623792"/>
                  </a:lnTo>
                  <a:lnTo>
                    <a:pt x="275558" y="409670"/>
                  </a:lnTo>
                  <a:cubicBezTo>
                    <a:pt x="275939" y="404813"/>
                    <a:pt x="273558" y="400050"/>
                    <a:pt x="269367" y="397478"/>
                  </a:cubicBezTo>
                  <a:cubicBezTo>
                    <a:pt x="236125" y="377095"/>
                    <a:pt x="209931" y="348044"/>
                    <a:pt x="193072" y="313182"/>
                  </a:cubicBezTo>
                  <a:lnTo>
                    <a:pt x="205169" y="267653"/>
                  </a:lnTo>
                  <a:cubicBezTo>
                    <a:pt x="212789" y="264033"/>
                    <a:pt x="219932" y="259652"/>
                    <a:pt x="226695" y="254508"/>
                  </a:cubicBezTo>
                  <a:lnTo>
                    <a:pt x="274987" y="267843"/>
                  </a:lnTo>
                  <a:lnTo>
                    <a:pt x="308324" y="210598"/>
                  </a:lnTo>
                  <a:lnTo>
                    <a:pt x="273082" y="175070"/>
                  </a:lnTo>
                  <a:cubicBezTo>
                    <a:pt x="273844" y="169736"/>
                    <a:pt x="274225" y="164497"/>
                    <a:pt x="274225" y="159258"/>
                  </a:cubicBezTo>
                  <a:cubicBezTo>
                    <a:pt x="274225" y="155639"/>
                    <a:pt x="274034" y="151924"/>
                    <a:pt x="273653" y="148019"/>
                  </a:cubicBezTo>
                  <a:lnTo>
                    <a:pt x="313753" y="108585"/>
                  </a:lnTo>
                  <a:lnTo>
                    <a:pt x="280892" y="51149"/>
                  </a:lnTo>
                  <a:lnTo>
                    <a:pt x="280702" y="51149"/>
                  </a:lnTo>
                  <a:cubicBezTo>
                    <a:pt x="298037" y="41053"/>
                    <a:pt x="315849" y="33719"/>
                    <a:pt x="334042" y="30099"/>
                  </a:cubicBezTo>
                  <a:cubicBezTo>
                    <a:pt x="342710" y="28385"/>
                    <a:pt x="351568" y="27146"/>
                    <a:pt x="360331" y="26575"/>
                  </a:cubicBezTo>
                  <a:cubicBezTo>
                    <a:pt x="468535" y="19526"/>
                    <a:pt x="564166" y="101918"/>
                    <a:pt x="572929" y="209931"/>
                  </a:cubicBezTo>
                  <a:cubicBezTo>
                    <a:pt x="573119" y="212598"/>
                    <a:pt x="574167" y="215075"/>
                    <a:pt x="575786" y="217075"/>
                  </a:cubicBezTo>
                  <a:lnTo>
                    <a:pt x="627793" y="280607"/>
                  </a:lnTo>
                  <a:cubicBezTo>
                    <a:pt x="629698" y="282893"/>
                    <a:pt x="629603" y="285464"/>
                    <a:pt x="629412" y="286703"/>
                  </a:cubicBezTo>
                  <a:cubicBezTo>
                    <a:pt x="629222" y="287941"/>
                    <a:pt x="628460" y="290322"/>
                    <a:pt x="625983" y="291941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  <p:sp>
          <p:nvSpPr>
            <p:cNvPr id="87" name="Freeform: Shape 169">
              <a:extLst>
                <a:ext uri="{FF2B5EF4-FFF2-40B4-BE49-F238E27FC236}">
                  <a16:creationId xmlns:a16="http://schemas.microsoft.com/office/drawing/2014/main" id="{DAEA23C4-1B4B-4FBD-B015-B53C31E28069}"/>
                </a:ext>
              </a:extLst>
            </p:cNvPr>
            <p:cNvSpPr/>
            <p:nvPr/>
          </p:nvSpPr>
          <p:spPr>
            <a:xfrm>
              <a:off x="3954842" y="1183962"/>
              <a:ext cx="155638" cy="155638"/>
            </a:xfrm>
            <a:custGeom>
              <a:avLst/>
              <a:gdLst>
                <a:gd name="connsiteX0" fmla="*/ 155639 w 155638"/>
                <a:gd name="connsiteY0" fmla="*/ 78105 h 155638"/>
                <a:gd name="connsiteX1" fmla="*/ 133064 w 155638"/>
                <a:gd name="connsiteY1" fmla="*/ 22955 h 155638"/>
                <a:gd name="connsiteX2" fmla="*/ 78105 w 155638"/>
                <a:gd name="connsiteY2" fmla="*/ 0 h 155638"/>
                <a:gd name="connsiteX3" fmla="*/ 77819 w 155638"/>
                <a:gd name="connsiteY3" fmla="*/ 0 h 155638"/>
                <a:gd name="connsiteX4" fmla="*/ 22955 w 155638"/>
                <a:gd name="connsiteY4" fmla="*/ 22574 h 155638"/>
                <a:gd name="connsiteX5" fmla="*/ 0 w 155638"/>
                <a:gd name="connsiteY5" fmla="*/ 77534 h 155638"/>
                <a:gd name="connsiteX6" fmla="*/ 22574 w 155638"/>
                <a:gd name="connsiteY6" fmla="*/ 132683 h 155638"/>
                <a:gd name="connsiteX7" fmla="*/ 77534 w 155638"/>
                <a:gd name="connsiteY7" fmla="*/ 155639 h 155638"/>
                <a:gd name="connsiteX8" fmla="*/ 77819 w 155638"/>
                <a:gd name="connsiteY8" fmla="*/ 155639 h 155638"/>
                <a:gd name="connsiteX9" fmla="*/ 132683 w 155638"/>
                <a:gd name="connsiteY9" fmla="*/ 133064 h 155638"/>
                <a:gd name="connsiteX10" fmla="*/ 155639 w 155638"/>
                <a:gd name="connsiteY10" fmla="*/ 78105 h 155638"/>
                <a:gd name="connsiteX11" fmla="*/ 115348 w 155638"/>
                <a:gd name="connsiteY11" fmla="*/ 115634 h 155638"/>
                <a:gd name="connsiteX12" fmla="*/ 77629 w 155638"/>
                <a:gd name="connsiteY12" fmla="*/ 131064 h 155638"/>
                <a:gd name="connsiteX13" fmla="*/ 40005 w 155638"/>
                <a:gd name="connsiteY13" fmla="*/ 115348 h 155638"/>
                <a:gd name="connsiteX14" fmla="*/ 24575 w 155638"/>
                <a:gd name="connsiteY14" fmla="*/ 77629 h 155638"/>
                <a:gd name="connsiteX15" fmla="*/ 40291 w 155638"/>
                <a:gd name="connsiteY15" fmla="*/ 40005 h 155638"/>
                <a:gd name="connsiteX16" fmla="*/ 77819 w 155638"/>
                <a:gd name="connsiteY16" fmla="*/ 24575 h 155638"/>
                <a:gd name="connsiteX17" fmla="*/ 78010 w 155638"/>
                <a:gd name="connsiteY17" fmla="*/ 24575 h 155638"/>
                <a:gd name="connsiteX18" fmla="*/ 115634 w 155638"/>
                <a:gd name="connsiteY18" fmla="*/ 40291 h 155638"/>
                <a:gd name="connsiteX19" fmla="*/ 131064 w 155638"/>
                <a:gd name="connsiteY19" fmla="*/ 78010 h 155638"/>
                <a:gd name="connsiteX20" fmla="*/ 115348 w 155638"/>
                <a:gd name="connsiteY20" fmla="*/ 115634 h 15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5638" h="155638">
                  <a:moveTo>
                    <a:pt x="155639" y="78105"/>
                  </a:moveTo>
                  <a:cubicBezTo>
                    <a:pt x="155639" y="57340"/>
                    <a:pt x="147733" y="37719"/>
                    <a:pt x="133064" y="22955"/>
                  </a:cubicBezTo>
                  <a:cubicBezTo>
                    <a:pt x="118396" y="8192"/>
                    <a:pt x="98870" y="0"/>
                    <a:pt x="78105" y="0"/>
                  </a:cubicBezTo>
                  <a:lnTo>
                    <a:pt x="77819" y="0"/>
                  </a:lnTo>
                  <a:cubicBezTo>
                    <a:pt x="57150" y="0"/>
                    <a:pt x="37624" y="8001"/>
                    <a:pt x="22955" y="22574"/>
                  </a:cubicBezTo>
                  <a:cubicBezTo>
                    <a:pt x="8192" y="37243"/>
                    <a:pt x="0" y="56769"/>
                    <a:pt x="0" y="77534"/>
                  </a:cubicBezTo>
                  <a:cubicBezTo>
                    <a:pt x="0" y="98298"/>
                    <a:pt x="7906" y="117920"/>
                    <a:pt x="22574" y="132683"/>
                  </a:cubicBezTo>
                  <a:cubicBezTo>
                    <a:pt x="37243" y="147447"/>
                    <a:pt x="56769" y="155639"/>
                    <a:pt x="77534" y="155639"/>
                  </a:cubicBezTo>
                  <a:lnTo>
                    <a:pt x="77819" y="155639"/>
                  </a:lnTo>
                  <a:cubicBezTo>
                    <a:pt x="98489" y="155639"/>
                    <a:pt x="117920" y="147638"/>
                    <a:pt x="132683" y="133064"/>
                  </a:cubicBezTo>
                  <a:cubicBezTo>
                    <a:pt x="147447" y="118396"/>
                    <a:pt x="155639" y="98870"/>
                    <a:pt x="155639" y="78105"/>
                  </a:cubicBezTo>
                  <a:close/>
                  <a:moveTo>
                    <a:pt x="115348" y="115634"/>
                  </a:moveTo>
                  <a:cubicBezTo>
                    <a:pt x="105251" y="125635"/>
                    <a:pt x="91631" y="130874"/>
                    <a:pt x="77629" y="131064"/>
                  </a:cubicBezTo>
                  <a:cubicBezTo>
                    <a:pt x="63437" y="131064"/>
                    <a:pt x="50102" y="125444"/>
                    <a:pt x="40005" y="115348"/>
                  </a:cubicBezTo>
                  <a:cubicBezTo>
                    <a:pt x="30004" y="105251"/>
                    <a:pt x="24479" y="91916"/>
                    <a:pt x="24575" y="77629"/>
                  </a:cubicBezTo>
                  <a:cubicBezTo>
                    <a:pt x="24670" y="63341"/>
                    <a:pt x="30194" y="50006"/>
                    <a:pt x="40291" y="40005"/>
                  </a:cubicBezTo>
                  <a:cubicBezTo>
                    <a:pt x="50292" y="30004"/>
                    <a:pt x="63627" y="24575"/>
                    <a:pt x="77819" y="24575"/>
                  </a:cubicBezTo>
                  <a:lnTo>
                    <a:pt x="78010" y="24575"/>
                  </a:lnTo>
                  <a:cubicBezTo>
                    <a:pt x="92202" y="24575"/>
                    <a:pt x="105537" y="30194"/>
                    <a:pt x="115634" y="40291"/>
                  </a:cubicBezTo>
                  <a:cubicBezTo>
                    <a:pt x="125635" y="50387"/>
                    <a:pt x="131159" y="63722"/>
                    <a:pt x="131064" y="78010"/>
                  </a:cubicBezTo>
                  <a:cubicBezTo>
                    <a:pt x="130969" y="92297"/>
                    <a:pt x="125444" y="105632"/>
                    <a:pt x="115348" y="115634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</p:grpSp>
      <p:pic>
        <p:nvPicPr>
          <p:cNvPr id="5" name="Picture 2" descr="Agência Nacional de Energia Elétrica – Wikipédia, a enciclopédia livre">
            <a:extLst>
              <a:ext uri="{FF2B5EF4-FFF2-40B4-BE49-F238E27FC236}">
                <a16:creationId xmlns:a16="http://schemas.microsoft.com/office/drawing/2014/main" id="{198F3003-102A-6F39-C1F2-07453DDFF1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4853" y="65556"/>
            <a:ext cx="1463804" cy="553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A8D28994-4BA7-767A-683F-BC79172E2897}"/>
              </a:ext>
            </a:extLst>
          </p:cNvPr>
          <p:cNvSpPr/>
          <p:nvPr/>
        </p:nvSpPr>
        <p:spPr>
          <a:xfrm>
            <a:off x="8609847" y="-1"/>
            <a:ext cx="3582154" cy="618995"/>
          </a:xfrm>
          <a:prstGeom prst="rect">
            <a:avLst/>
          </a:prstGeom>
          <a:solidFill>
            <a:srgbClr val="FCFC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FEC60130-2BAC-DC01-9650-8313862E957B}"/>
              </a:ext>
            </a:extLst>
          </p:cNvPr>
          <p:cNvSpPr/>
          <p:nvPr/>
        </p:nvSpPr>
        <p:spPr>
          <a:xfrm>
            <a:off x="10137913" y="6172262"/>
            <a:ext cx="1835793" cy="556529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85EFD10E-7490-CA96-9D74-12162AE19B3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24975" b="45757"/>
          <a:stretch/>
        </p:blipFill>
        <p:spPr>
          <a:xfrm>
            <a:off x="9982140" y="6115806"/>
            <a:ext cx="2128897" cy="619125"/>
          </a:xfrm>
          <a:prstGeom prst="rect">
            <a:avLst/>
          </a:prstGeom>
        </p:spPr>
      </p:pic>
      <p:pic>
        <p:nvPicPr>
          <p:cNvPr id="7" name="Picture 28" descr="Logo&#10;&#10;Description automatically generated">
            <a:extLst>
              <a:ext uri="{FF2B5EF4-FFF2-40B4-BE49-F238E27FC236}">
                <a16:creationId xmlns:a16="http://schemas.microsoft.com/office/drawing/2014/main" id="{90A09F30-CC25-AD54-283B-24A968E6429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570093" y="176458"/>
            <a:ext cx="936107" cy="34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9928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298897B3-60FC-873F-A4FE-0CFED7E441C3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id="{806D5B32-3521-5B64-C43B-2A34A68B3E60}"/>
              </a:ext>
            </a:extLst>
          </p:cNvPr>
          <p:cNvSpPr/>
          <p:nvPr/>
        </p:nvSpPr>
        <p:spPr>
          <a:xfrm>
            <a:off x="1706662" y="2057400"/>
            <a:ext cx="2540000" cy="243839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id="{7858D5B7-E844-C331-9F1D-D99179211277}"/>
              </a:ext>
            </a:extLst>
          </p:cNvPr>
          <p:cNvSpPr/>
          <p:nvPr/>
        </p:nvSpPr>
        <p:spPr>
          <a:xfrm>
            <a:off x="7945338" y="2057400"/>
            <a:ext cx="2540000" cy="243839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1BFDD829-FAE1-730B-B34B-94B81BAD0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9921675" cy="769441"/>
          </a:xfrm>
        </p:spPr>
        <p:txBody>
          <a:bodyPr/>
          <a:lstStyle/>
          <a:p>
            <a:r>
              <a:rPr lang="pt-BR" dirty="0">
                <a:solidFill>
                  <a:schemeClr val="bg1"/>
                </a:solidFill>
              </a:rPr>
              <a:t>Num curto espaço de tempo, foram alcançados “</a:t>
            </a:r>
            <a:r>
              <a:rPr lang="pt-BR" i="1" dirty="0" err="1">
                <a:solidFill>
                  <a:schemeClr val="bg1"/>
                </a:solidFill>
              </a:rPr>
              <a:t>quick</a:t>
            </a:r>
            <a:r>
              <a:rPr lang="pt-BR" i="1" dirty="0">
                <a:solidFill>
                  <a:schemeClr val="bg1"/>
                </a:solidFill>
              </a:rPr>
              <a:t> </a:t>
            </a:r>
            <a:r>
              <a:rPr lang="pt-BR" i="1" dirty="0" err="1">
                <a:solidFill>
                  <a:schemeClr val="bg1"/>
                </a:solidFill>
              </a:rPr>
              <a:t>wins</a:t>
            </a:r>
            <a:r>
              <a:rPr lang="pt-BR" i="1" dirty="0">
                <a:solidFill>
                  <a:schemeClr val="bg1"/>
                </a:solidFill>
              </a:rPr>
              <a:t>” </a:t>
            </a:r>
            <a:r>
              <a:rPr lang="pt-BR" dirty="0">
                <a:solidFill>
                  <a:schemeClr val="bg1"/>
                </a:solidFill>
              </a:rPr>
              <a:t>significativos, gerando resultados imediatos e avanço ao projeto</a:t>
            </a: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04C641B9-069B-8BAD-CCF3-79BCA0C5E65D}"/>
              </a:ext>
            </a:extLst>
          </p:cNvPr>
          <p:cNvSpPr/>
          <p:nvPr/>
        </p:nvSpPr>
        <p:spPr>
          <a:xfrm>
            <a:off x="4826000" y="2057400"/>
            <a:ext cx="2540000" cy="243839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6BB1E3E0-9D10-2B35-4B31-035C1772DE08}"/>
              </a:ext>
            </a:extLst>
          </p:cNvPr>
          <p:cNvSpPr/>
          <p:nvPr/>
        </p:nvSpPr>
        <p:spPr>
          <a:xfrm>
            <a:off x="8049841" y="2164806"/>
            <a:ext cx="2333897" cy="224681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35" name="TextBox 49">
            <a:extLst>
              <a:ext uri="{FF2B5EF4-FFF2-40B4-BE49-F238E27FC236}">
                <a16:creationId xmlns:a16="http://schemas.microsoft.com/office/drawing/2014/main" id="{2846092D-0102-54C4-6E1C-C9B2A811B735}"/>
              </a:ext>
            </a:extLst>
          </p:cNvPr>
          <p:cNvSpPr txBox="1"/>
          <p:nvPr/>
        </p:nvSpPr>
        <p:spPr>
          <a:xfrm>
            <a:off x="1808263" y="4587664"/>
            <a:ext cx="2333897" cy="20159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i="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rocesso em curso para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certificação de origem do hidrogênio verde na CCEE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, visando garantir sua rastreabilidade e origem sustentável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O projeto piloto busca ser o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ioneiro a obter essa certificação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36" name="TextBox 49">
            <a:extLst>
              <a:ext uri="{FF2B5EF4-FFF2-40B4-BE49-F238E27FC236}">
                <a16:creationId xmlns:a16="http://schemas.microsoft.com/office/drawing/2014/main" id="{46FFA60C-BBFB-97AD-AE82-384DD69101F3}"/>
              </a:ext>
            </a:extLst>
          </p:cNvPr>
          <p:cNvSpPr txBox="1"/>
          <p:nvPr/>
        </p:nvSpPr>
        <p:spPr>
          <a:xfrm>
            <a:off x="4929051" y="4587664"/>
            <a:ext cx="2333897" cy="18004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 pitchFamily="2" charset="0"/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Substituição do hidrogênio cinza pelo hidrogênio verde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do projeto piloto aumentou a pureza de 90% para 99,9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Maior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ureza, eficiência aprimorada e melhor desempenh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 dos geradores da UTE Pecém</a:t>
            </a:r>
          </a:p>
        </p:txBody>
      </p:sp>
      <p:sp>
        <p:nvSpPr>
          <p:cNvPr id="37" name="TextBox 49">
            <a:extLst>
              <a:ext uri="{FF2B5EF4-FFF2-40B4-BE49-F238E27FC236}">
                <a16:creationId xmlns:a16="http://schemas.microsoft.com/office/drawing/2014/main" id="{D7477E07-DD3C-35D0-609C-27B1B6CF4917}"/>
              </a:ext>
            </a:extLst>
          </p:cNvPr>
          <p:cNvSpPr txBox="1"/>
          <p:nvPr/>
        </p:nvSpPr>
        <p:spPr>
          <a:xfrm>
            <a:off x="8048386" y="4587664"/>
            <a:ext cx="2333897" cy="1508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b="0" i="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A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vanç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 significativo no desenvolvimento e nos primeiros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testes em laboratório da Prova de Conceito (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oC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) do queimador acoplador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, que possibilitará a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co-queima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pic>
        <p:nvPicPr>
          <p:cNvPr id="38" name="Imagem 37">
            <a:extLst>
              <a:ext uri="{FF2B5EF4-FFF2-40B4-BE49-F238E27FC236}">
                <a16:creationId xmlns:a16="http://schemas.microsoft.com/office/drawing/2014/main" id="{DACA4999-A98B-1DCD-72D6-C951F92BF9D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485" b="2320"/>
          <a:stretch/>
        </p:blipFill>
        <p:spPr>
          <a:xfrm>
            <a:off x="2174353" y="2164805"/>
            <a:ext cx="1601716" cy="22065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0" name="Imagem 39">
            <a:extLst>
              <a:ext uri="{FF2B5EF4-FFF2-40B4-BE49-F238E27FC236}">
                <a16:creationId xmlns:a16="http://schemas.microsoft.com/office/drawing/2014/main" id="{E55D8BAB-FCDC-5112-0140-71A32B4C59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29052" y="3475410"/>
            <a:ext cx="1166949" cy="936208"/>
          </a:xfrm>
          <a:prstGeom prst="rect">
            <a:avLst/>
          </a:prstGeom>
        </p:spPr>
      </p:pic>
      <p:pic>
        <p:nvPicPr>
          <p:cNvPr id="42" name="Imagem 41">
            <a:extLst>
              <a:ext uri="{FF2B5EF4-FFF2-40B4-BE49-F238E27FC236}">
                <a16:creationId xmlns:a16="http://schemas.microsoft.com/office/drawing/2014/main" id="{00DD0E0F-A311-A3B2-D3DA-F2422C347B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29051" y="2164806"/>
            <a:ext cx="2333897" cy="1310604"/>
          </a:xfrm>
          <a:prstGeom prst="rect">
            <a:avLst/>
          </a:prstGeom>
        </p:spPr>
      </p:pic>
      <p:pic>
        <p:nvPicPr>
          <p:cNvPr id="44" name="Imagem 43">
            <a:extLst>
              <a:ext uri="{FF2B5EF4-FFF2-40B4-BE49-F238E27FC236}">
                <a16:creationId xmlns:a16="http://schemas.microsoft.com/office/drawing/2014/main" id="{B1B7445F-443D-3B39-3441-725B0165EE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53389" y="2141910"/>
            <a:ext cx="2328894" cy="1333500"/>
          </a:xfrm>
          <a:prstGeom prst="rect">
            <a:avLst/>
          </a:prstGeom>
        </p:spPr>
      </p:pic>
      <p:pic>
        <p:nvPicPr>
          <p:cNvPr id="46" name="Imagem 45">
            <a:extLst>
              <a:ext uri="{FF2B5EF4-FFF2-40B4-BE49-F238E27FC236}">
                <a16:creationId xmlns:a16="http://schemas.microsoft.com/office/drawing/2014/main" id="{7D9CBA46-4378-1ED0-B09C-12C9A05A0EE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53389" y="3470171"/>
            <a:ext cx="1433511" cy="941446"/>
          </a:xfrm>
          <a:prstGeom prst="rect">
            <a:avLst/>
          </a:prstGeom>
        </p:spPr>
      </p:pic>
      <p:pic>
        <p:nvPicPr>
          <p:cNvPr id="48" name="Imagem 47">
            <a:extLst>
              <a:ext uri="{FF2B5EF4-FFF2-40B4-BE49-F238E27FC236}">
                <a16:creationId xmlns:a16="http://schemas.microsoft.com/office/drawing/2014/main" id="{61D943B1-0971-36F0-1CCA-ED1DB1C049A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86900" y="3470171"/>
            <a:ext cx="896838" cy="952419"/>
          </a:xfrm>
          <a:prstGeom prst="rect">
            <a:avLst/>
          </a:prstGeom>
        </p:spPr>
      </p:pic>
      <p:pic>
        <p:nvPicPr>
          <p:cNvPr id="53" name="Imagem 52">
            <a:extLst>
              <a:ext uri="{FF2B5EF4-FFF2-40B4-BE49-F238E27FC236}">
                <a16:creationId xmlns:a16="http://schemas.microsoft.com/office/drawing/2014/main" id="{EEC49452-3EE0-2133-915C-4512CD22C92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6622" t="15285" r="18122" b="44069"/>
          <a:stretch/>
        </p:blipFill>
        <p:spPr>
          <a:xfrm>
            <a:off x="6095999" y="3470170"/>
            <a:ext cx="1166950" cy="952420"/>
          </a:xfrm>
          <a:prstGeom prst="rect">
            <a:avLst/>
          </a:prstGeom>
        </p:spPr>
      </p:pic>
      <p:sp>
        <p:nvSpPr>
          <p:cNvPr id="57" name="ACET">
            <a:extLst>
              <a:ext uri="{FF2B5EF4-FFF2-40B4-BE49-F238E27FC236}">
                <a16:creationId xmlns:a16="http://schemas.microsoft.com/office/drawing/2014/main" id="{8CA1B76E-3FCD-56CB-8984-EDA1ECA572C7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450584" y="1432698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Certificação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  de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Orige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CCEE</a:t>
            </a:r>
          </a:p>
        </p:txBody>
      </p:sp>
      <p:sp>
        <p:nvSpPr>
          <p:cNvPr id="58" name="ACET">
            <a:extLst>
              <a:ext uri="{FF2B5EF4-FFF2-40B4-BE49-F238E27FC236}">
                <a16:creationId xmlns:a16="http://schemas.microsoft.com/office/drawing/2014/main" id="{C70F5395-B54C-53AD-F846-E35AAFF4B3B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1374" y="1432698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Arrefecimento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Gerado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O&amp;M Pecém</a:t>
            </a:r>
          </a:p>
        </p:txBody>
      </p:sp>
      <p:sp>
        <p:nvSpPr>
          <p:cNvPr id="59" name="ACET">
            <a:extLst>
              <a:ext uri="{FF2B5EF4-FFF2-40B4-BE49-F238E27FC236}">
                <a16:creationId xmlns:a16="http://schemas.microsoft.com/office/drawing/2014/main" id="{F2CC18C9-7E31-EE99-7716-96771E08D24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692791" y="1432698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Piloto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 do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Queimado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T Base Book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/>
                <a:ea typeface="+mn-ea"/>
                <a:cs typeface="Arial" panose="020B0604020202020204" pitchFamily="34" charset="0"/>
              </a:rPr>
              <a:t>IATI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35F05EB9-63F2-21F2-F47B-87C385786CB8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35000"/>
                    </a14:imgEffect>
                    <a14:imgEffect>
                      <a14:brightnessContrast bright="94000" contrast="100000"/>
                    </a14:imgEffect>
                  </a14:imgLayer>
                </a14:imgProps>
              </a:ext>
            </a:extLst>
          </a:blip>
          <a:srcRect t="24975" b="45757"/>
          <a:stretch/>
        </p:blipFill>
        <p:spPr>
          <a:xfrm>
            <a:off x="9982140" y="6115806"/>
            <a:ext cx="2128897" cy="619125"/>
          </a:xfrm>
          <a:prstGeom prst="rect">
            <a:avLst/>
          </a:prstGeom>
        </p:spPr>
      </p:pic>
      <p:pic>
        <p:nvPicPr>
          <p:cNvPr id="6" name="Picture 15">
            <a:extLst>
              <a:ext uri="{FF2B5EF4-FFF2-40B4-BE49-F238E27FC236}">
                <a16:creationId xmlns:a16="http://schemas.microsoft.com/office/drawing/2014/main" id="{CE27CD02-F3A8-E280-C911-CDEA317830C9}"/>
              </a:ext>
            </a:extLst>
          </p:cNvPr>
          <p:cNvPicPr>
            <a:picLocks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3" y="175551"/>
            <a:ext cx="889594" cy="32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2714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áfico 28">
            <a:extLst>
              <a:ext uri="{FF2B5EF4-FFF2-40B4-BE49-F238E27FC236}">
                <a16:creationId xmlns:a16="http://schemas.microsoft.com/office/drawing/2014/main" id="{2762105C-4CC8-40C1-A4A3-4EAC6841D1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" y="0"/>
            <a:ext cx="5219701" cy="6858000"/>
          </a:xfrm>
          <a:prstGeom prst="rect">
            <a:avLst/>
          </a:prstGeom>
        </p:spPr>
      </p:pic>
      <p:sp>
        <p:nvSpPr>
          <p:cNvPr id="37" name="TextBox 12">
            <a:extLst>
              <a:ext uri="{FF2B5EF4-FFF2-40B4-BE49-F238E27FC236}">
                <a16:creationId xmlns:a16="http://schemas.microsoft.com/office/drawing/2014/main" id="{CAC46632-131A-4309-A519-B5A1421F32D9}"/>
              </a:ext>
            </a:extLst>
          </p:cNvPr>
          <p:cNvSpPr txBox="1"/>
          <p:nvPr/>
        </p:nvSpPr>
        <p:spPr>
          <a:xfrm>
            <a:off x="0" y="1099562"/>
            <a:ext cx="5219698" cy="2275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641985" marR="5080" lvl="0" indent="-621030" algn="ctr" defTabSz="914400" rtl="0" eaLnBrk="1" fontAlgn="auto" latinLnBrk="0" hangingPunct="1">
              <a:lnSpc>
                <a:spcPct val="100800"/>
              </a:lnSpc>
              <a:spcBef>
                <a:spcPts val="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Formação de Gases</a:t>
            </a:r>
          </a:p>
        </p:txBody>
      </p:sp>
      <p:sp>
        <p:nvSpPr>
          <p:cNvPr id="40" name="TextBox 10">
            <a:extLst>
              <a:ext uri="{FF2B5EF4-FFF2-40B4-BE49-F238E27FC236}">
                <a16:creationId xmlns:a16="http://schemas.microsoft.com/office/drawing/2014/main" id="{9C0C9500-74E9-40BB-B314-FEB652FBD51F}"/>
              </a:ext>
            </a:extLst>
          </p:cNvPr>
          <p:cNvSpPr txBox="1"/>
          <p:nvPr/>
        </p:nvSpPr>
        <p:spPr>
          <a:xfrm>
            <a:off x="-2" y="592139"/>
            <a:ext cx="521970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28FF52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Eletrolisador</a:t>
            </a: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28FF52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 em Operação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28FF52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pic>
        <p:nvPicPr>
          <p:cNvPr id="3" name="4E1B24BD">
            <a:hlinkClick r:id="" action="ppaction://media"/>
            <a:extLst>
              <a:ext uri="{FF2B5EF4-FFF2-40B4-BE49-F238E27FC236}">
                <a16:creationId xmlns:a16="http://schemas.microsoft.com/office/drawing/2014/main" id="{ECA0976F-03F3-49B5-B6AB-FE9542CD5CA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1321531" y="1476899"/>
            <a:ext cx="2576634" cy="4684789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BA3F41A7-E34D-7F65-2422-284EE3D38BF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4975" b="45757"/>
          <a:stretch/>
        </p:blipFill>
        <p:spPr>
          <a:xfrm>
            <a:off x="9982140" y="6115806"/>
            <a:ext cx="2128897" cy="619125"/>
          </a:xfrm>
          <a:prstGeom prst="rect">
            <a:avLst/>
          </a:prstGeom>
        </p:spPr>
      </p:pic>
      <p:sp>
        <p:nvSpPr>
          <p:cNvPr id="6" name="TextBox 12">
            <a:extLst>
              <a:ext uri="{FF2B5EF4-FFF2-40B4-BE49-F238E27FC236}">
                <a16:creationId xmlns:a16="http://schemas.microsoft.com/office/drawing/2014/main" id="{869A41D6-0520-6FD8-283F-7316C7B067A1}"/>
              </a:ext>
            </a:extLst>
          </p:cNvPr>
          <p:cNvSpPr txBox="1"/>
          <p:nvPr/>
        </p:nvSpPr>
        <p:spPr>
          <a:xfrm>
            <a:off x="5219698" y="1099561"/>
            <a:ext cx="6972302" cy="2275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641985" marR="5080" lvl="0" indent="-621030" algn="ctr" defTabSz="914400" rtl="0" eaLnBrk="1" fontAlgn="auto" latinLnBrk="0" hangingPunct="1">
              <a:lnSpc>
                <a:spcPct val="100800"/>
              </a:lnSpc>
              <a:spcBef>
                <a:spcPts val="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Câmera Térmica </a:t>
            </a:r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3F4E1F1C-91F1-3DDC-CC76-70E8BE48C3C1}"/>
              </a:ext>
            </a:extLst>
          </p:cNvPr>
          <p:cNvSpPr txBox="1"/>
          <p:nvPr/>
        </p:nvSpPr>
        <p:spPr>
          <a:xfrm>
            <a:off x="5219699" y="592138"/>
            <a:ext cx="697230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6D32FF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Chama do Gás Hidrogênio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6D32FF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pic>
        <p:nvPicPr>
          <p:cNvPr id="9" name="42E80196">
            <a:hlinkClick r:id="" action="ppaction://media"/>
            <a:extLst>
              <a:ext uri="{FF2B5EF4-FFF2-40B4-BE49-F238E27FC236}">
                <a16:creationId xmlns:a16="http://schemas.microsoft.com/office/drawing/2014/main" id="{9F840482-55B7-5FF1-F0C7-43910FD2D5E0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5906542" y="1564235"/>
            <a:ext cx="5598613" cy="4198959"/>
          </a:xfrm>
          <a:prstGeom prst="rect">
            <a:avLst/>
          </a:prstGeom>
        </p:spPr>
      </p:pic>
      <p:pic>
        <p:nvPicPr>
          <p:cNvPr id="2" name="Picture 28" descr="Logo&#10;&#10;Description automatically generated">
            <a:extLst>
              <a:ext uri="{FF2B5EF4-FFF2-40B4-BE49-F238E27FC236}">
                <a16:creationId xmlns:a16="http://schemas.microsoft.com/office/drawing/2014/main" id="{4C98AB65-9403-F293-C6BE-E3C36BE0B35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570093" y="176458"/>
            <a:ext cx="936107" cy="34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25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58223"/>
    </mc:Choice>
    <mc:Fallback xmlns="">
      <p:transition advTm="5822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21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37489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áfico 18">
            <a:extLst>
              <a:ext uri="{FF2B5EF4-FFF2-40B4-BE49-F238E27FC236}">
                <a16:creationId xmlns:a16="http://schemas.microsoft.com/office/drawing/2014/main" id="{FDB3119E-6AFE-453B-B8AF-6CE8FAAE7E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" y="-47625"/>
            <a:ext cx="5539527" cy="7038975"/>
          </a:xfrm>
          <a:prstGeom prst="rect">
            <a:avLst/>
          </a:prstGeom>
        </p:spPr>
      </p:pic>
      <p:graphicFrame>
        <p:nvGraphicFramePr>
          <p:cNvPr id="4" name="Chart 8">
            <a:extLst>
              <a:ext uri="{FF2B5EF4-FFF2-40B4-BE49-F238E27FC236}">
                <a16:creationId xmlns:a16="http://schemas.microsoft.com/office/drawing/2014/main" id="{ACAC0564-F9CC-488A-9A5E-D57A357240A2}"/>
              </a:ext>
            </a:extLst>
          </p:cNvPr>
          <p:cNvGraphicFramePr/>
          <p:nvPr/>
        </p:nvGraphicFramePr>
        <p:xfrm>
          <a:off x="5265593" y="1963669"/>
          <a:ext cx="7233463" cy="4436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Oval 10">
            <a:extLst>
              <a:ext uri="{FF2B5EF4-FFF2-40B4-BE49-F238E27FC236}">
                <a16:creationId xmlns:a16="http://schemas.microsoft.com/office/drawing/2014/main" id="{BA5BA768-2367-4B56-BF2C-1F004AC13CF6}"/>
              </a:ext>
            </a:extLst>
          </p:cNvPr>
          <p:cNvSpPr/>
          <p:nvPr/>
        </p:nvSpPr>
        <p:spPr>
          <a:xfrm>
            <a:off x="958001" y="2244794"/>
            <a:ext cx="630670" cy="630670"/>
          </a:xfrm>
          <a:prstGeom prst="ellipse">
            <a:avLst/>
          </a:prstGeom>
          <a:solidFill>
            <a:srgbClr val="28FF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3DB8D265-4477-4DB1-9F46-92477B79F4E2}"/>
              </a:ext>
            </a:extLst>
          </p:cNvPr>
          <p:cNvSpPr txBox="1"/>
          <p:nvPr/>
        </p:nvSpPr>
        <p:spPr>
          <a:xfrm>
            <a:off x="1819563" y="2597752"/>
            <a:ext cx="2989989" cy="42460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jeto de Pesquisa e Desenvolvimento </a:t>
            </a:r>
          </a:p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Eletrolisador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TextBox 12">
            <a:extLst>
              <a:ext uri="{FF2B5EF4-FFF2-40B4-BE49-F238E27FC236}">
                <a16:creationId xmlns:a16="http://schemas.microsoft.com/office/drawing/2014/main" id="{DB14B8A3-009D-4080-9458-944055E10B69}"/>
              </a:ext>
            </a:extLst>
          </p:cNvPr>
          <p:cNvSpPr txBox="1"/>
          <p:nvPr/>
        </p:nvSpPr>
        <p:spPr>
          <a:xfrm>
            <a:off x="1819563" y="2252574"/>
            <a:ext cx="3628737" cy="2626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Poppins SemiBold" panose="02000000000000000000" pitchFamily="2" charset="0"/>
              </a:rPr>
              <a:t>Pesquisa &amp; Desenvolvimento</a:t>
            </a:r>
          </a:p>
        </p:txBody>
      </p:sp>
      <p:sp>
        <p:nvSpPr>
          <p:cNvPr id="8" name="Oval 13">
            <a:extLst>
              <a:ext uri="{FF2B5EF4-FFF2-40B4-BE49-F238E27FC236}">
                <a16:creationId xmlns:a16="http://schemas.microsoft.com/office/drawing/2014/main" id="{90D733E1-D056-4E0C-BEB4-5240FFA374CA}"/>
              </a:ext>
            </a:extLst>
          </p:cNvPr>
          <p:cNvSpPr/>
          <p:nvPr/>
        </p:nvSpPr>
        <p:spPr>
          <a:xfrm>
            <a:off x="958001" y="3403525"/>
            <a:ext cx="630670" cy="630670"/>
          </a:xfrm>
          <a:prstGeom prst="ellipse">
            <a:avLst/>
          </a:prstGeom>
          <a:solidFill>
            <a:srgbClr val="6D3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9" name="TextBox 14">
            <a:extLst>
              <a:ext uri="{FF2B5EF4-FFF2-40B4-BE49-F238E27FC236}">
                <a16:creationId xmlns:a16="http://schemas.microsoft.com/office/drawing/2014/main" id="{0F552AF9-41AE-49E1-81DC-991B4C413DBC}"/>
              </a:ext>
            </a:extLst>
          </p:cNvPr>
          <p:cNvSpPr txBox="1"/>
          <p:nvPr/>
        </p:nvSpPr>
        <p:spPr>
          <a:xfrm>
            <a:off x="1819563" y="3756483"/>
            <a:ext cx="3719963" cy="20300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Usina Fotovoltaica 3MWp </a:t>
            </a:r>
          </a:p>
        </p:txBody>
      </p:sp>
      <p:sp>
        <p:nvSpPr>
          <p:cNvPr id="10" name="TextBox 15">
            <a:extLst>
              <a:ext uri="{FF2B5EF4-FFF2-40B4-BE49-F238E27FC236}">
                <a16:creationId xmlns:a16="http://schemas.microsoft.com/office/drawing/2014/main" id="{67581412-076D-4DF7-A404-ACC5B35624CC}"/>
              </a:ext>
            </a:extLst>
          </p:cNvPr>
          <p:cNvSpPr txBox="1"/>
          <p:nvPr/>
        </p:nvSpPr>
        <p:spPr>
          <a:xfrm>
            <a:off x="1819563" y="3475357"/>
            <a:ext cx="3628737" cy="2626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CAPEX EDP</a:t>
            </a:r>
          </a:p>
        </p:txBody>
      </p:sp>
      <p:sp>
        <p:nvSpPr>
          <p:cNvPr id="11" name="Oval 16">
            <a:extLst>
              <a:ext uri="{FF2B5EF4-FFF2-40B4-BE49-F238E27FC236}">
                <a16:creationId xmlns:a16="http://schemas.microsoft.com/office/drawing/2014/main" id="{1C31F521-B618-4332-B111-076998ADD19D}"/>
              </a:ext>
            </a:extLst>
          </p:cNvPr>
          <p:cNvSpPr/>
          <p:nvPr/>
        </p:nvSpPr>
        <p:spPr>
          <a:xfrm>
            <a:off x="958001" y="4562257"/>
            <a:ext cx="630670" cy="630670"/>
          </a:xfrm>
          <a:prstGeom prst="ellipse">
            <a:avLst/>
          </a:prstGeom>
          <a:solidFill>
            <a:srgbClr val="0CD3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2" name="TextBox 17">
            <a:extLst>
              <a:ext uri="{FF2B5EF4-FFF2-40B4-BE49-F238E27FC236}">
                <a16:creationId xmlns:a16="http://schemas.microsoft.com/office/drawing/2014/main" id="{ABB3B72C-B47A-4FD0-BBEE-4EDFFD1F31F2}"/>
              </a:ext>
            </a:extLst>
          </p:cNvPr>
          <p:cNvSpPr txBox="1"/>
          <p:nvPr/>
        </p:nvSpPr>
        <p:spPr>
          <a:xfrm>
            <a:off x="1819563" y="4915215"/>
            <a:ext cx="3215138" cy="42460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trapartida das Executoras no modelo RISE ANEEL</a:t>
            </a:r>
          </a:p>
        </p:txBody>
      </p:sp>
      <p:sp>
        <p:nvSpPr>
          <p:cNvPr id="13" name="TextBox 18">
            <a:extLst>
              <a:ext uri="{FF2B5EF4-FFF2-40B4-BE49-F238E27FC236}">
                <a16:creationId xmlns:a16="http://schemas.microsoft.com/office/drawing/2014/main" id="{17479730-E863-4D1C-89D0-7BB39C8812E3}"/>
              </a:ext>
            </a:extLst>
          </p:cNvPr>
          <p:cNvSpPr txBox="1"/>
          <p:nvPr/>
        </p:nvSpPr>
        <p:spPr>
          <a:xfrm>
            <a:off x="1819563" y="4543807"/>
            <a:ext cx="3628737" cy="2626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Poppins SemiBold" panose="02000000000000000000" pitchFamily="2" charset="0"/>
              </a:rPr>
              <a:t>Contrapartida*</a:t>
            </a:r>
          </a:p>
        </p:txBody>
      </p:sp>
      <p:sp>
        <p:nvSpPr>
          <p:cNvPr id="14" name="TextBox 26">
            <a:extLst>
              <a:ext uri="{FF2B5EF4-FFF2-40B4-BE49-F238E27FC236}">
                <a16:creationId xmlns:a16="http://schemas.microsoft.com/office/drawing/2014/main" id="{C19C99E0-A770-4E8F-86AE-74D64C5FF39F}"/>
              </a:ext>
            </a:extLst>
          </p:cNvPr>
          <p:cNvSpPr txBox="1"/>
          <p:nvPr/>
        </p:nvSpPr>
        <p:spPr>
          <a:xfrm>
            <a:off x="7536584" y="3882087"/>
            <a:ext cx="2649313" cy="6617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Poppins SemiBold" panose="02000000000000000000" pitchFamily="2" charset="0"/>
              </a:rPr>
              <a:t>R$41.9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FT Base Book" pitchFamily="2" charset="0"/>
                <a:ea typeface="+mn-ea"/>
                <a:cs typeface="Poppins SemiBold" panose="02000000000000000000" pitchFamily="2" charset="0"/>
              </a:rPr>
              <a:t>Orçamento do Projeto</a:t>
            </a:r>
          </a:p>
        </p:txBody>
      </p:sp>
      <p:sp>
        <p:nvSpPr>
          <p:cNvPr id="15" name="Freeform 22">
            <a:extLst>
              <a:ext uri="{FF2B5EF4-FFF2-40B4-BE49-F238E27FC236}">
                <a16:creationId xmlns:a16="http://schemas.microsoft.com/office/drawing/2014/main" id="{73A2897C-2650-4FF4-A69D-DEF9D05E9D31}"/>
              </a:ext>
            </a:extLst>
          </p:cNvPr>
          <p:cNvSpPr>
            <a:spLocks noEditPoints="1"/>
          </p:cNvSpPr>
          <p:nvPr/>
        </p:nvSpPr>
        <p:spPr bwMode="auto">
          <a:xfrm>
            <a:off x="1174130" y="4740807"/>
            <a:ext cx="198412" cy="273569"/>
          </a:xfrm>
          <a:custGeom>
            <a:avLst/>
            <a:gdLst>
              <a:gd name="T0" fmla="*/ 129 w 257"/>
              <a:gd name="T1" fmla="*/ 313 h 353"/>
              <a:gd name="T2" fmla="*/ 121 w 257"/>
              <a:gd name="T3" fmla="*/ 321 h 353"/>
              <a:gd name="T4" fmla="*/ 129 w 257"/>
              <a:gd name="T5" fmla="*/ 329 h 353"/>
              <a:gd name="T6" fmla="*/ 137 w 257"/>
              <a:gd name="T7" fmla="*/ 321 h 353"/>
              <a:gd name="T8" fmla="*/ 129 w 257"/>
              <a:gd name="T9" fmla="*/ 313 h 353"/>
              <a:gd name="T10" fmla="*/ 121 w 257"/>
              <a:gd name="T11" fmla="*/ 40 h 353"/>
              <a:gd name="T12" fmla="*/ 137 w 257"/>
              <a:gd name="T13" fmla="*/ 40 h 353"/>
              <a:gd name="T14" fmla="*/ 145 w 257"/>
              <a:gd name="T15" fmla="*/ 32 h 353"/>
              <a:gd name="T16" fmla="*/ 137 w 257"/>
              <a:gd name="T17" fmla="*/ 24 h 353"/>
              <a:gd name="T18" fmla="*/ 121 w 257"/>
              <a:gd name="T19" fmla="*/ 24 h 353"/>
              <a:gd name="T20" fmla="*/ 113 w 257"/>
              <a:gd name="T21" fmla="*/ 32 h 353"/>
              <a:gd name="T22" fmla="*/ 121 w 257"/>
              <a:gd name="T23" fmla="*/ 40 h 353"/>
              <a:gd name="T24" fmla="*/ 32 w 257"/>
              <a:gd name="T25" fmla="*/ 305 h 353"/>
              <a:gd name="T26" fmla="*/ 225 w 257"/>
              <a:gd name="T27" fmla="*/ 305 h 353"/>
              <a:gd name="T28" fmla="*/ 225 w 257"/>
              <a:gd name="T29" fmla="*/ 48 h 353"/>
              <a:gd name="T30" fmla="*/ 32 w 257"/>
              <a:gd name="T31" fmla="*/ 48 h 353"/>
              <a:gd name="T32" fmla="*/ 32 w 257"/>
              <a:gd name="T33" fmla="*/ 305 h 353"/>
              <a:gd name="T34" fmla="*/ 49 w 257"/>
              <a:gd name="T35" fmla="*/ 64 h 353"/>
              <a:gd name="T36" fmla="*/ 209 w 257"/>
              <a:gd name="T37" fmla="*/ 64 h 353"/>
              <a:gd name="T38" fmla="*/ 209 w 257"/>
              <a:gd name="T39" fmla="*/ 289 h 353"/>
              <a:gd name="T40" fmla="*/ 49 w 257"/>
              <a:gd name="T41" fmla="*/ 289 h 353"/>
              <a:gd name="T42" fmla="*/ 49 w 257"/>
              <a:gd name="T43" fmla="*/ 64 h 353"/>
              <a:gd name="T44" fmla="*/ 225 w 257"/>
              <a:gd name="T45" fmla="*/ 0 h 353"/>
              <a:gd name="T46" fmla="*/ 32 w 257"/>
              <a:gd name="T47" fmla="*/ 0 h 353"/>
              <a:gd name="T48" fmla="*/ 0 w 257"/>
              <a:gd name="T49" fmla="*/ 32 h 353"/>
              <a:gd name="T50" fmla="*/ 0 w 257"/>
              <a:gd name="T51" fmla="*/ 321 h 353"/>
              <a:gd name="T52" fmla="*/ 32 w 257"/>
              <a:gd name="T53" fmla="*/ 353 h 353"/>
              <a:gd name="T54" fmla="*/ 225 w 257"/>
              <a:gd name="T55" fmla="*/ 353 h 353"/>
              <a:gd name="T56" fmla="*/ 257 w 257"/>
              <a:gd name="T57" fmla="*/ 321 h 353"/>
              <a:gd name="T58" fmla="*/ 257 w 257"/>
              <a:gd name="T59" fmla="*/ 32 h 353"/>
              <a:gd name="T60" fmla="*/ 225 w 257"/>
              <a:gd name="T61" fmla="*/ 0 h 353"/>
              <a:gd name="T62" fmla="*/ 241 w 257"/>
              <a:gd name="T63" fmla="*/ 321 h 353"/>
              <a:gd name="T64" fmla="*/ 225 w 257"/>
              <a:gd name="T65" fmla="*/ 337 h 353"/>
              <a:gd name="T66" fmla="*/ 32 w 257"/>
              <a:gd name="T67" fmla="*/ 337 h 353"/>
              <a:gd name="T68" fmla="*/ 16 w 257"/>
              <a:gd name="T69" fmla="*/ 321 h 353"/>
              <a:gd name="T70" fmla="*/ 16 w 257"/>
              <a:gd name="T71" fmla="*/ 32 h 353"/>
              <a:gd name="T72" fmla="*/ 32 w 257"/>
              <a:gd name="T73" fmla="*/ 16 h 353"/>
              <a:gd name="T74" fmla="*/ 225 w 257"/>
              <a:gd name="T75" fmla="*/ 16 h 353"/>
              <a:gd name="T76" fmla="*/ 241 w 257"/>
              <a:gd name="T77" fmla="*/ 32 h 353"/>
              <a:gd name="T78" fmla="*/ 241 w 257"/>
              <a:gd name="T79" fmla="*/ 32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57" h="353">
                <a:moveTo>
                  <a:pt x="129" y="313"/>
                </a:moveTo>
                <a:cubicBezTo>
                  <a:pt x="124" y="313"/>
                  <a:pt x="121" y="317"/>
                  <a:pt x="121" y="321"/>
                </a:cubicBezTo>
                <a:cubicBezTo>
                  <a:pt x="121" y="326"/>
                  <a:pt x="124" y="329"/>
                  <a:pt x="129" y="329"/>
                </a:cubicBezTo>
                <a:cubicBezTo>
                  <a:pt x="133" y="329"/>
                  <a:pt x="137" y="326"/>
                  <a:pt x="137" y="321"/>
                </a:cubicBezTo>
                <a:cubicBezTo>
                  <a:pt x="137" y="317"/>
                  <a:pt x="133" y="313"/>
                  <a:pt x="129" y="313"/>
                </a:cubicBezTo>
                <a:moveTo>
                  <a:pt x="121" y="40"/>
                </a:moveTo>
                <a:cubicBezTo>
                  <a:pt x="137" y="40"/>
                  <a:pt x="137" y="40"/>
                  <a:pt x="137" y="40"/>
                </a:cubicBezTo>
                <a:cubicBezTo>
                  <a:pt x="141" y="40"/>
                  <a:pt x="145" y="37"/>
                  <a:pt x="145" y="32"/>
                </a:cubicBezTo>
                <a:cubicBezTo>
                  <a:pt x="145" y="28"/>
                  <a:pt x="141" y="24"/>
                  <a:pt x="137" y="24"/>
                </a:cubicBezTo>
                <a:cubicBezTo>
                  <a:pt x="121" y="24"/>
                  <a:pt x="121" y="24"/>
                  <a:pt x="121" y="24"/>
                </a:cubicBezTo>
                <a:cubicBezTo>
                  <a:pt x="116" y="24"/>
                  <a:pt x="113" y="28"/>
                  <a:pt x="113" y="32"/>
                </a:cubicBezTo>
                <a:cubicBezTo>
                  <a:pt x="113" y="37"/>
                  <a:pt x="116" y="40"/>
                  <a:pt x="121" y="40"/>
                </a:cubicBezTo>
                <a:moveTo>
                  <a:pt x="32" y="305"/>
                </a:moveTo>
                <a:cubicBezTo>
                  <a:pt x="225" y="305"/>
                  <a:pt x="225" y="305"/>
                  <a:pt x="225" y="305"/>
                </a:cubicBezTo>
                <a:cubicBezTo>
                  <a:pt x="225" y="48"/>
                  <a:pt x="225" y="48"/>
                  <a:pt x="225" y="48"/>
                </a:cubicBezTo>
                <a:cubicBezTo>
                  <a:pt x="32" y="48"/>
                  <a:pt x="32" y="48"/>
                  <a:pt x="32" y="48"/>
                </a:cubicBezTo>
                <a:lnTo>
                  <a:pt x="32" y="305"/>
                </a:lnTo>
                <a:close/>
                <a:moveTo>
                  <a:pt x="49" y="64"/>
                </a:moveTo>
                <a:cubicBezTo>
                  <a:pt x="209" y="64"/>
                  <a:pt x="209" y="64"/>
                  <a:pt x="209" y="64"/>
                </a:cubicBezTo>
                <a:cubicBezTo>
                  <a:pt x="209" y="289"/>
                  <a:pt x="209" y="289"/>
                  <a:pt x="209" y="289"/>
                </a:cubicBezTo>
                <a:cubicBezTo>
                  <a:pt x="49" y="289"/>
                  <a:pt x="49" y="289"/>
                  <a:pt x="49" y="289"/>
                </a:cubicBezTo>
                <a:lnTo>
                  <a:pt x="49" y="64"/>
                </a:lnTo>
                <a:close/>
                <a:moveTo>
                  <a:pt x="225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4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5" y="353"/>
                  <a:pt x="32" y="353"/>
                </a:cubicBezTo>
                <a:cubicBezTo>
                  <a:pt x="225" y="353"/>
                  <a:pt x="225" y="353"/>
                  <a:pt x="225" y="353"/>
                </a:cubicBezTo>
                <a:cubicBezTo>
                  <a:pt x="243" y="353"/>
                  <a:pt x="257" y="339"/>
                  <a:pt x="257" y="321"/>
                </a:cubicBezTo>
                <a:cubicBezTo>
                  <a:pt x="257" y="32"/>
                  <a:pt x="257" y="32"/>
                  <a:pt x="257" y="32"/>
                </a:cubicBezTo>
                <a:cubicBezTo>
                  <a:pt x="257" y="14"/>
                  <a:pt x="243" y="0"/>
                  <a:pt x="225" y="0"/>
                </a:cubicBezTo>
                <a:moveTo>
                  <a:pt x="241" y="321"/>
                </a:moveTo>
                <a:cubicBezTo>
                  <a:pt x="241" y="330"/>
                  <a:pt x="234" y="337"/>
                  <a:pt x="225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4" y="337"/>
                  <a:pt x="16" y="330"/>
                  <a:pt x="16" y="32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4" y="16"/>
                  <a:pt x="32" y="16"/>
                </a:cubicBezTo>
                <a:cubicBezTo>
                  <a:pt x="225" y="16"/>
                  <a:pt x="225" y="16"/>
                  <a:pt x="225" y="16"/>
                </a:cubicBezTo>
                <a:cubicBezTo>
                  <a:pt x="234" y="16"/>
                  <a:pt x="241" y="23"/>
                  <a:pt x="241" y="32"/>
                </a:cubicBezTo>
                <a:lnTo>
                  <a:pt x="241" y="321"/>
                </a:lnTo>
                <a:close/>
              </a:path>
            </a:pathLst>
          </a:custGeom>
          <a:solidFill>
            <a:srgbClr val="212E3E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0F851854-AA1A-47FF-90C5-BA4733A49F19}"/>
              </a:ext>
            </a:extLst>
          </p:cNvPr>
          <p:cNvSpPr>
            <a:spLocks noEditPoints="1"/>
          </p:cNvSpPr>
          <p:nvPr/>
        </p:nvSpPr>
        <p:spPr bwMode="auto">
          <a:xfrm>
            <a:off x="1136550" y="3626328"/>
            <a:ext cx="273571" cy="199415"/>
          </a:xfrm>
          <a:custGeom>
            <a:avLst/>
            <a:gdLst>
              <a:gd name="T0" fmla="*/ 351 w 353"/>
              <a:gd name="T1" fmla="*/ 245 h 257"/>
              <a:gd name="T2" fmla="*/ 351 w 353"/>
              <a:gd name="T3" fmla="*/ 245 h 257"/>
              <a:gd name="T4" fmla="*/ 320 w 353"/>
              <a:gd name="T5" fmla="*/ 197 h 257"/>
              <a:gd name="T6" fmla="*/ 321 w 353"/>
              <a:gd name="T7" fmla="*/ 193 h 257"/>
              <a:gd name="T8" fmla="*/ 321 w 353"/>
              <a:gd name="T9" fmla="*/ 16 h 257"/>
              <a:gd name="T10" fmla="*/ 305 w 353"/>
              <a:gd name="T11" fmla="*/ 0 h 257"/>
              <a:gd name="T12" fmla="*/ 48 w 353"/>
              <a:gd name="T13" fmla="*/ 0 h 257"/>
              <a:gd name="T14" fmla="*/ 32 w 353"/>
              <a:gd name="T15" fmla="*/ 16 h 257"/>
              <a:gd name="T16" fmla="*/ 32 w 353"/>
              <a:gd name="T17" fmla="*/ 193 h 257"/>
              <a:gd name="T18" fmla="*/ 32 w 353"/>
              <a:gd name="T19" fmla="*/ 197 h 257"/>
              <a:gd name="T20" fmla="*/ 1 w 353"/>
              <a:gd name="T21" fmla="*/ 245 h 257"/>
              <a:gd name="T22" fmla="*/ 1 w 353"/>
              <a:gd name="T23" fmla="*/ 245 h 257"/>
              <a:gd name="T24" fmla="*/ 0 w 353"/>
              <a:gd name="T25" fmla="*/ 249 h 257"/>
              <a:gd name="T26" fmla="*/ 8 w 353"/>
              <a:gd name="T27" fmla="*/ 257 h 257"/>
              <a:gd name="T28" fmla="*/ 345 w 353"/>
              <a:gd name="T29" fmla="*/ 257 h 257"/>
              <a:gd name="T30" fmla="*/ 353 w 353"/>
              <a:gd name="T31" fmla="*/ 249 h 257"/>
              <a:gd name="T32" fmla="*/ 351 w 353"/>
              <a:gd name="T33" fmla="*/ 245 h 257"/>
              <a:gd name="T34" fmla="*/ 48 w 353"/>
              <a:gd name="T35" fmla="*/ 16 h 257"/>
              <a:gd name="T36" fmla="*/ 305 w 353"/>
              <a:gd name="T37" fmla="*/ 16 h 257"/>
              <a:gd name="T38" fmla="*/ 305 w 353"/>
              <a:gd name="T39" fmla="*/ 193 h 257"/>
              <a:gd name="T40" fmla="*/ 48 w 353"/>
              <a:gd name="T41" fmla="*/ 193 h 257"/>
              <a:gd name="T42" fmla="*/ 48 w 353"/>
              <a:gd name="T43" fmla="*/ 16 h 257"/>
              <a:gd name="T44" fmla="*/ 23 w 353"/>
              <a:gd name="T45" fmla="*/ 241 h 257"/>
              <a:gd name="T46" fmla="*/ 44 w 353"/>
              <a:gd name="T47" fmla="*/ 208 h 257"/>
              <a:gd name="T48" fmla="*/ 48 w 353"/>
              <a:gd name="T49" fmla="*/ 209 h 257"/>
              <a:gd name="T50" fmla="*/ 305 w 353"/>
              <a:gd name="T51" fmla="*/ 209 h 257"/>
              <a:gd name="T52" fmla="*/ 308 w 353"/>
              <a:gd name="T53" fmla="*/ 208 h 257"/>
              <a:gd name="T54" fmla="*/ 330 w 353"/>
              <a:gd name="T55" fmla="*/ 241 h 257"/>
              <a:gd name="T56" fmla="*/ 23 w 353"/>
              <a:gd name="T57" fmla="*/ 241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3" h="257">
                <a:moveTo>
                  <a:pt x="351" y="245"/>
                </a:moveTo>
                <a:cubicBezTo>
                  <a:pt x="351" y="245"/>
                  <a:pt x="351" y="245"/>
                  <a:pt x="351" y="245"/>
                </a:cubicBezTo>
                <a:cubicBezTo>
                  <a:pt x="320" y="197"/>
                  <a:pt x="320" y="197"/>
                  <a:pt x="320" y="197"/>
                </a:cubicBezTo>
                <a:cubicBezTo>
                  <a:pt x="320" y="196"/>
                  <a:pt x="321" y="194"/>
                  <a:pt x="321" y="193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21" y="7"/>
                  <a:pt x="313" y="0"/>
                  <a:pt x="30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39" y="0"/>
                  <a:pt x="32" y="7"/>
                  <a:pt x="32" y="16"/>
                </a:cubicBezTo>
                <a:cubicBezTo>
                  <a:pt x="32" y="193"/>
                  <a:pt x="32" y="193"/>
                  <a:pt x="32" y="193"/>
                </a:cubicBezTo>
                <a:cubicBezTo>
                  <a:pt x="32" y="194"/>
                  <a:pt x="32" y="196"/>
                  <a:pt x="32" y="197"/>
                </a:cubicBezTo>
                <a:cubicBezTo>
                  <a:pt x="1" y="245"/>
                  <a:pt x="1" y="245"/>
                  <a:pt x="1" y="245"/>
                </a:cubicBezTo>
                <a:cubicBezTo>
                  <a:pt x="1" y="245"/>
                  <a:pt x="1" y="245"/>
                  <a:pt x="1" y="245"/>
                </a:cubicBezTo>
                <a:cubicBezTo>
                  <a:pt x="0" y="246"/>
                  <a:pt x="0" y="247"/>
                  <a:pt x="0" y="249"/>
                </a:cubicBezTo>
                <a:cubicBezTo>
                  <a:pt x="0" y="254"/>
                  <a:pt x="3" y="257"/>
                  <a:pt x="8" y="257"/>
                </a:cubicBezTo>
                <a:cubicBezTo>
                  <a:pt x="345" y="257"/>
                  <a:pt x="345" y="257"/>
                  <a:pt x="345" y="257"/>
                </a:cubicBezTo>
                <a:cubicBezTo>
                  <a:pt x="349" y="257"/>
                  <a:pt x="353" y="254"/>
                  <a:pt x="353" y="249"/>
                </a:cubicBezTo>
                <a:cubicBezTo>
                  <a:pt x="353" y="247"/>
                  <a:pt x="352" y="246"/>
                  <a:pt x="351" y="245"/>
                </a:cubicBezTo>
                <a:moveTo>
                  <a:pt x="48" y="16"/>
                </a:moveTo>
                <a:cubicBezTo>
                  <a:pt x="305" y="16"/>
                  <a:pt x="305" y="16"/>
                  <a:pt x="305" y="16"/>
                </a:cubicBezTo>
                <a:cubicBezTo>
                  <a:pt x="305" y="193"/>
                  <a:pt x="305" y="193"/>
                  <a:pt x="305" y="193"/>
                </a:cubicBezTo>
                <a:cubicBezTo>
                  <a:pt x="48" y="193"/>
                  <a:pt x="48" y="193"/>
                  <a:pt x="48" y="193"/>
                </a:cubicBezTo>
                <a:lnTo>
                  <a:pt x="48" y="16"/>
                </a:lnTo>
                <a:close/>
                <a:moveTo>
                  <a:pt x="23" y="241"/>
                </a:moveTo>
                <a:cubicBezTo>
                  <a:pt x="44" y="208"/>
                  <a:pt x="44" y="208"/>
                  <a:pt x="44" y="208"/>
                </a:cubicBezTo>
                <a:cubicBezTo>
                  <a:pt x="45" y="209"/>
                  <a:pt x="47" y="209"/>
                  <a:pt x="48" y="209"/>
                </a:cubicBezTo>
                <a:cubicBezTo>
                  <a:pt x="305" y="209"/>
                  <a:pt x="305" y="209"/>
                  <a:pt x="305" y="209"/>
                </a:cubicBezTo>
                <a:cubicBezTo>
                  <a:pt x="306" y="209"/>
                  <a:pt x="307" y="209"/>
                  <a:pt x="308" y="208"/>
                </a:cubicBezTo>
                <a:cubicBezTo>
                  <a:pt x="330" y="241"/>
                  <a:pt x="330" y="241"/>
                  <a:pt x="330" y="241"/>
                </a:cubicBezTo>
                <a:lnTo>
                  <a:pt x="23" y="241"/>
                </a:lnTo>
                <a:close/>
              </a:path>
            </a:pathLst>
          </a:custGeom>
          <a:solidFill>
            <a:srgbClr val="212E3E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17" name="Freeform 24">
            <a:extLst>
              <a:ext uri="{FF2B5EF4-FFF2-40B4-BE49-F238E27FC236}">
                <a16:creationId xmlns:a16="http://schemas.microsoft.com/office/drawing/2014/main" id="{67E3D19B-E725-4FE1-96DB-4E144CA47BC0}"/>
              </a:ext>
            </a:extLst>
          </p:cNvPr>
          <p:cNvSpPr>
            <a:spLocks noEditPoints="1"/>
          </p:cNvSpPr>
          <p:nvPr/>
        </p:nvSpPr>
        <p:spPr bwMode="auto">
          <a:xfrm>
            <a:off x="1136531" y="2423343"/>
            <a:ext cx="273570" cy="273570"/>
          </a:xfrm>
          <a:custGeom>
            <a:avLst/>
            <a:gdLst>
              <a:gd name="T0" fmla="*/ 321 w 353"/>
              <a:gd name="T1" fmla="*/ 0 h 353"/>
              <a:gd name="T2" fmla="*/ 32 w 353"/>
              <a:gd name="T3" fmla="*/ 0 h 353"/>
              <a:gd name="T4" fmla="*/ 0 w 353"/>
              <a:gd name="T5" fmla="*/ 32 h 353"/>
              <a:gd name="T6" fmla="*/ 0 w 353"/>
              <a:gd name="T7" fmla="*/ 273 h 353"/>
              <a:gd name="T8" fmla="*/ 32 w 353"/>
              <a:gd name="T9" fmla="*/ 305 h 353"/>
              <a:gd name="T10" fmla="*/ 144 w 353"/>
              <a:gd name="T11" fmla="*/ 305 h 353"/>
              <a:gd name="T12" fmla="*/ 144 w 353"/>
              <a:gd name="T13" fmla="*/ 337 h 353"/>
              <a:gd name="T14" fmla="*/ 120 w 353"/>
              <a:gd name="T15" fmla="*/ 337 h 353"/>
              <a:gd name="T16" fmla="*/ 112 w 353"/>
              <a:gd name="T17" fmla="*/ 345 h 353"/>
              <a:gd name="T18" fmla="*/ 120 w 353"/>
              <a:gd name="T19" fmla="*/ 353 h 353"/>
              <a:gd name="T20" fmla="*/ 233 w 353"/>
              <a:gd name="T21" fmla="*/ 353 h 353"/>
              <a:gd name="T22" fmla="*/ 241 w 353"/>
              <a:gd name="T23" fmla="*/ 345 h 353"/>
              <a:gd name="T24" fmla="*/ 233 w 353"/>
              <a:gd name="T25" fmla="*/ 337 h 353"/>
              <a:gd name="T26" fmla="*/ 209 w 353"/>
              <a:gd name="T27" fmla="*/ 337 h 353"/>
              <a:gd name="T28" fmla="*/ 209 w 353"/>
              <a:gd name="T29" fmla="*/ 305 h 353"/>
              <a:gd name="T30" fmla="*/ 321 w 353"/>
              <a:gd name="T31" fmla="*/ 305 h 353"/>
              <a:gd name="T32" fmla="*/ 353 w 353"/>
              <a:gd name="T33" fmla="*/ 273 h 353"/>
              <a:gd name="T34" fmla="*/ 353 w 353"/>
              <a:gd name="T35" fmla="*/ 32 h 353"/>
              <a:gd name="T36" fmla="*/ 321 w 353"/>
              <a:gd name="T37" fmla="*/ 0 h 353"/>
              <a:gd name="T38" fmla="*/ 193 w 353"/>
              <a:gd name="T39" fmla="*/ 337 h 353"/>
              <a:gd name="T40" fmla="*/ 160 w 353"/>
              <a:gd name="T41" fmla="*/ 337 h 353"/>
              <a:gd name="T42" fmla="*/ 160 w 353"/>
              <a:gd name="T43" fmla="*/ 305 h 353"/>
              <a:gd name="T44" fmla="*/ 193 w 353"/>
              <a:gd name="T45" fmla="*/ 305 h 353"/>
              <a:gd name="T46" fmla="*/ 193 w 353"/>
              <a:gd name="T47" fmla="*/ 337 h 353"/>
              <a:gd name="T48" fmla="*/ 337 w 353"/>
              <a:gd name="T49" fmla="*/ 273 h 353"/>
              <a:gd name="T50" fmla="*/ 321 w 353"/>
              <a:gd name="T51" fmla="*/ 289 h 353"/>
              <a:gd name="T52" fmla="*/ 32 w 353"/>
              <a:gd name="T53" fmla="*/ 289 h 353"/>
              <a:gd name="T54" fmla="*/ 16 w 353"/>
              <a:gd name="T55" fmla="*/ 273 h 353"/>
              <a:gd name="T56" fmla="*/ 16 w 353"/>
              <a:gd name="T57" fmla="*/ 257 h 353"/>
              <a:gd name="T58" fmla="*/ 337 w 353"/>
              <a:gd name="T59" fmla="*/ 257 h 353"/>
              <a:gd name="T60" fmla="*/ 337 w 353"/>
              <a:gd name="T61" fmla="*/ 273 h 353"/>
              <a:gd name="T62" fmla="*/ 337 w 353"/>
              <a:gd name="T63" fmla="*/ 241 h 353"/>
              <a:gd name="T64" fmla="*/ 16 w 353"/>
              <a:gd name="T65" fmla="*/ 241 h 353"/>
              <a:gd name="T66" fmla="*/ 16 w 353"/>
              <a:gd name="T67" fmla="*/ 32 h 353"/>
              <a:gd name="T68" fmla="*/ 32 w 353"/>
              <a:gd name="T69" fmla="*/ 16 h 353"/>
              <a:gd name="T70" fmla="*/ 321 w 353"/>
              <a:gd name="T71" fmla="*/ 16 h 353"/>
              <a:gd name="T72" fmla="*/ 337 w 353"/>
              <a:gd name="T73" fmla="*/ 32 h 353"/>
              <a:gd name="T74" fmla="*/ 337 w 353"/>
              <a:gd name="T75" fmla="*/ 24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3" h="353"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91"/>
                  <a:pt x="14" y="305"/>
                  <a:pt x="32" y="305"/>
                </a:cubicBezTo>
                <a:cubicBezTo>
                  <a:pt x="144" y="305"/>
                  <a:pt x="144" y="305"/>
                  <a:pt x="144" y="305"/>
                </a:cubicBezTo>
                <a:cubicBezTo>
                  <a:pt x="144" y="337"/>
                  <a:pt x="144" y="337"/>
                  <a:pt x="144" y="337"/>
                </a:cubicBezTo>
                <a:cubicBezTo>
                  <a:pt x="120" y="337"/>
                  <a:pt x="120" y="337"/>
                  <a:pt x="120" y="337"/>
                </a:cubicBezTo>
                <a:cubicBezTo>
                  <a:pt x="116" y="337"/>
                  <a:pt x="112" y="341"/>
                  <a:pt x="112" y="345"/>
                </a:cubicBezTo>
                <a:cubicBezTo>
                  <a:pt x="112" y="350"/>
                  <a:pt x="116" y="353"/>
                  <a:pt x="120" y="353"/>
                </a:cubicBezTo>
                <a:cubicBezTo>
                  <a:pt x="233" y="353"/>
                  <a:pt x="233" y="353"/>
                  <a:pt x="233" y="353"/>
                </a:cubicBezTo>
                <a:cubicBezTo>
                  <a:pt x="237" y="353"/>
                  <a:pt x="241" y="350"/>
                  <a:pt x="241" y="345"/>
                </a:cubicBezTo>
                <a:cubicBezTo>
                  <a:pt x="241" y="341"/>
                  <a:pt x="237" y="337"/>
                  <a:pt x="233" y="337"/>
                </a:cubicBezTo>
                <a:cubicBezTo>
                  <a:pt x="209" y="337"/>
                  <a:pt x="209" y="337"/>
                  <a:pt x="209" y="337"/>
                </a:cubicBezTo>
                <a:cubicBezTo>
                  <a:pt x="209" y="305"/>
                  <a:pt x="209" y="305"/>
                  <a:pt x="209" y="305"/>
                </a:cubicBezTo>
                <a:cubicBezTo>
                  <a:pt x="321" y="305"/>
                  <a:pt x="321" y="305"/>
                  <a:pt x="321" y="305"/>
                </a:cubicBezTo>
                <a:cubicBezTo>
                  <a:pt x="339" y="305"/>
                  <a:pt x="353" y="291"/>
                  <a:pt x="353" y="273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4"/>
                  <a:pt x="339" y="0"/>
                  <a:pt x="321" y="0"/>
                </a:cubicBezTo>
                <a:moveTo>
                  <a:pt x="193" y="337"/>
                </a:moveTo>
                <a:cubicBezTo>
                  <a:pt x="160" y="337"/>
                  <a:pt x="160" y="337"/>
                  <a:pt x="160" y="337"/>
                </a:cubicBezTo>
                <a:cubicBezTo>
                  <a:pt x="160" y="305"/>
                  <a:pt x="160" y="305"/>
                  <a:pt x="160" y="305"/>
                </a:cubicBezTo>
                <a:cubicBezTo>
                  <a:pt x="193" y="305"/>
                  <a:pt x="193" y="305"/>
                  <a:pt x="193" y="305"/>
                </a:cubicBezTo>
                <a:lnTo>
                  <a:pt x="193" y="337"/>
                </a:lnTo>
                <a:close/>
                <a:moveTo>
                  <a:pt x="337" y="273"/>
                </a:moveTo>
                <a:cubicBezTo>
                  <a:pt x="337" y="282"/>
                  <a:pt x="330" y="289"/>
                  <a:pt x="321" y="289"/>
                </a:cubicBezTo>
                <a:cubicBezTo>
                  <a:pt x="32" y="289"/>
                  <a:pt x="32" y="289"/>
                  <a:pt x="32" y="289"/>
                </a:cubicBezTo>
                <a:cubicBezTo>
                  <a:pt x="23" y="289"/>
                  <a:pt x="16" y="282"/>
                  <a:pt x="16" y="273"/>
                </a:cubicBezTo>
                <a:cubicBezTo>
                  <a:pt x="16" y="257"/>
                  <a:pt x="16" y="257"/>
                  <a:pt x="16" y="257"/>
                </a:cubicBezTo>
                <a:cubicBezTo>
                  <a:pt x="337" y="257"/>
                  <a:pt x="337" y="257"/>
                  <a:pt x="337" y="257"/>
                </a:cubicBezTo>
                <a:lnTo>
                  <a:pt x="337" y="273"/>
                </a:lnTo>
                <a:close/>
                <a:moveTo>
                  <a:pt x="337" y="241"/>
                </a:moveTo>
                <a:cubicBezTo>
                  <a:pt x="16" y="241"/>
                  <a:pt x="16" y="241"/>
                  <a:pt x="16" y="24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3"/>
                  <a:pt x="337" y="32"/>
                </a:cubicBezTo>
                <a:lnTo>
                  <a:pt x="337" y="241"/>
                </a:lnTo>
                <a:close/>
              </a:path>
            </a:pathLst>
          </a:custGeom>
          <a:solidFill>
            <a:srgbClr val="212E3E"/>
          </a:solidFill>
          <a:ln>
            <a:noFill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20" name="TextBox 10">
            <a:extLst>
              <a:ext uri="{FF2B5EF4-FFF2-40B4-BE49-F238E27FC236}">
                <a16:creationId xmlns:a16="http://schemas.microsoft.com/office/drawing/2014/main" id="{E762A3A0-62DF-4505-B953-BC91C9572CA7}"/>
              </a:ext>
            </a:extLst>
          </p:cNvPr>
          <p:cNvSpPr txBox="1"/>
          <p:nvPr/>
        </p:nvSpPr>
        <p:spPr>
          <a:xfrm>
            <a:off x="713331" y="758270"/>
            <a:ext cx="479762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28FF52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Estratégia de Investimento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28FF52"/>
              </a:solidFill>
              <a:effectLst/>
              <a:uLnTx/>
              <a:uFillTx/>
              <a:latin typeface="FT Base Book" pitchFamily="2" charset="0"/>
              <a:ea typeface="+mn-ea"/>
              <a:cs typeface="+mn-cs"/>
            </a:endParaRPr>
          </a:p>
        </p:txBody>
      </p:sp>
      <p:sp>
        <p:nvSpPr>
          <p:cNvPr id="21" name="TextBox 12">
            <a:extLst>
              <a:ext uri="{FF2B5EF4-FFF2-40B4-BE49-F238E27FC236}">
                <a16:creationId xmlns:a16="http://schemas.microsoft.com/office/drawing/2014/main" id="{DD5B4187-4846-4EBC-8E50-5336095EF86C}"/>
              </a:ext>
            </a:extLst>
          </p:cNvPr>
          <p:cNvSpPr txBox="1"/>
          <p:nvPr/>
        </p:nvSpPr>
        <p:spPr>
          <a:xfrm>
            <a:off x="703225" y="1216776"/>
            <a:ext cx="5077254" cy="2355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marL="641985" marR="5080" lvl="0" indent="-621030" algn="l" defTabSz="914400" rtl="0" eaLnBrk="1" fontAlgn="auto" latinLnBrk="0" hangingPunct="1">
              <a:lnSpc>
                <a:spcPct val="100800"/>
              </a:lnSpc>
              <a:spcBef>
                <a:spcPts val="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Estratégia de Investimento P&amp;D/CAPEX</a:t>
            </a:r>
          </a:p>
        </p:txBody>
      </p:sp>
      <p:pic>
        <p:nvPicPr>
          <p:cNvPr id="2" name="Picture 2" descr="Agência Nacional de Energia Elétrica – Wikipédia, a enciclopédia livre">
            <a:extLst>
              <a:ext uri="{FF2B5EF4-FFF2-40B4-BE49-F238E27FC236}">
                <a16:creationId xmlns:a16="http://schemas.microsoft.com/office/drawing/2014/main" id="{3FAA7677-2FBB-0377-62AF-18A42E2C0C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5897" y="6086631"/>
            <a:ext cx="1768043" cy="66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12">
            <a:extLst>
              <a:ext uri="{FF2B5EF4-FFF2-40B4-BE49-F238E27FC236}">
                <a16:creationId xmlns:a16="http://schemas.microsoft.com/office/drawing/2014/main" id="{7B76A437-177D-5E9B-CE78-C0E2F1E16A71}"/>
              </a:ext>
            </a:extLst>
          </p:cNvPr>
          <p:cNvSpPr txBox="1">
            <a:spLocks/>
          </p:cNvSpPr>
          <p:nvPr/>
        </p:nvSpPr>
        <p:spPr>
          <a:xfrm>
            <a:off x="5780479" y="1047770"/>
            <a:ext cx="6173460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rojeto em 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RISE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 reúne empresas, instituições de pesquisa e universidades e busca criar ambientes de inovação para desenvolver produtos tecnológicos de hidrogênio verde</a:t>
            </a:r>
          </a:p>
        </p:txBody>
      </p:sp>
      <p:pic>
        <p:nvPicPr>
          <p:cNvPr id="18" name="Picture 28" descr="Logo&#10;&#10;Description automatically generated">
            <a:extLst>
              <a:ext uri="{FF2B5EF4-FFF2-40B4-BE49-F238E27FC236}">
                <a16:creationId xmlns:a16="http://schemas.microsoft.com/office/drawing/2014/main" id="{D78371F1-B4A5-E08F-073D-E2657991D6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70093" y="176458"/>
            <a:ext cx="936107" cy="34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75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38903"/>
    </mc:Choice>
    <mc:Fallback xmlns="">
      <p:transition advTm="38903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BB7CF972-6013-4FF1-9D9D-75AEAE10E7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6" imgH="276" progId="TCLayout.ActiveDocument.1">
                  <p:embed/>
                </p:oleObj>
              </mc:Choice>
              <mc:Fallback>
                <p:oleObj name="think-cell Slide" r:id="rId3" imgW="276" imgH="276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BB7CF972-6013-4FF1-9D9D-75AEAE10E7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ixaDeTexto 1">
            <a:extLst>
              <a:ext uri="{FF2B5EF4-FFF2-40B4-BE49-F238E27FC236}">
                <a16:creationId xmlns:a16="http://schemas.microsoft.com/office/drawing/2014/main" id="{8667ED5A-3E04-28DE-4CB3-D59DE83EAF81}"/>
              </a:ext>
            </a:extLst>
          </p:cNvPr>
          <p:cNvSpPr txBox="1"/>
          <p:nvPr/>
        </p:nvSpPr>
        <p:spPr>
          <a:xfrm>
            <a:off x="7474227" y="5565913"/>
            <a:ext cx="452230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yo Morae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55 85 99763-1188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yo.moraes@edp.com</a:t>
            </a:r>
          </a:p>
        </p:txBody>
      </p:sp>
    </p:spTree>
    <p:extLst>
      <p:ext uri="{BB962C8B-B14F-4D97-AF65-F5344CB8AC3E}">
        <p14:creationId xmlns:p14="http://schemas.microsoft.com/office/powerpoint/2010/main" val="833114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ubtítulo 2">
            <a:extLst>
              <a:ext uri="{FF2B5EF4-FFF2-40B4-BE49-F238E27FC236}">
                <a16:creationId xmlns:a16="http://schemas.microsoft.com/office/drawing/2014/main" id="{293D2B31-0F23-4AB5-9AA8-DA10F7DDF4D2}"/>
              </a:ext>
            </a:extLst>
          </p:cNvPr>
          <p:cNvSpPr txBox="1">
            <a:spLocks/>
          </p:cNvSpPr>
          <p:nvPr/>
        </p:nvSpPr>
        <p:spPr>
          <a:xfrm>
            <a:off x="521482" y="1784827"/>
            <a:ext cx="5538674" cy="45765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 algn="just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chemeClr val="bg1"/>
                </a:solidFill>
                <a:latin typeface="FT Base Book" pitchFamily="2" charset="0"/>
              </a:rPr>
              <a:t>No modelo tradicional, o setor elétrico se caracteriza pela centralização, com plantas de grande porte, distantes do centro de carga, gerando fluxos unidirecionais de energia, tendo as transmissoras e distribuidoras unicamente as funções de transporte de energia.</a:t>
            </a:r>
          </a:p>
          <a:p>
            <a:pPr marL="342900" indent="-342900" algn="just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bg1"/>
              </a:solidFill>
              <a:latin typeface="FT Base Book" pitchFamily="2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chemeClr val="bg1"/>
                </a:solidFill>
                <a:latin typeface="FT Base Book" pitchFamily="2" charset="0"/>
              </a:rPr>
              <a:t>Nesse modelo, consumidores são passivos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B9F572B4-7652-471F-A1EF-6A8B1EDEA939}"/>
              </a:ext>
            </a:extLst>
          </p:cNvPr>
          <p:cNvSpPr txBox="1"/>
          <p:nvPr/>
        </p:nvSpPr>
        <p:spPr>
          <a:xfrm>
            <a:off x="7414818" y="6333090"/>
            <a:ext cx="42985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200" b="1" dirty="0">
                <a:solidFill>
                  <a:schemeClr val="bg1"/>
                </a:solidFill>
              </a:rPr>
              <a:t>Fonte</a:t>
            </a:r>
            <a:r>
              <a:rPr lang="pt-BR" sz="1200" dirty="0">
                <a:solidFill>
                  <a:schemeClr val="bg1"/>
                </a:solidFill>
              </a:rPr>
              <a:t>: </a:t>
            </a:r>
            <a:r>
              <a:rPr lang="pt-BR" sz="1200" i="0" u="none" strike="noStrike" cap="none" dirty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NILLESEN; POLLITT; WITTELER (2014).</a:t>
            </a:r>
            <a:endParaRPr lang="pt-BR" sz="1200" dirty="0">
              <a:solidFill>
                <a:schemeClr val="bg1"/>
              </a:solidFill>
            </a:endParaRPr>
          </a:p>
        </p:txBody>
      </p: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C01EE598-12F0-2AAB-6BB2-0606511B1596}"/>
              </a:ext>
            </a:extLst>
          </p:cNvPr>
          <p:cNvGrpSpPr/>
          <p:nvPr/>
        </p:nvGrpSpPr>
        <p:grpSpPr>
          <a:xfrm>
            <a:off x="7228985" y="1679747"/>
            <a:ext cx="4405689" cy="838948"/>
            <a:chOff x="6920196" y="3274991"/>
            <a:chExt cx="4405689" cy="838948"/>
          </a:xfrm>
        </p:grpSpPr>
        <p:grpSp>
          <p:nvGrpSpPr>
            <p:cNvPr id="2" name="Graphic 12">
              <a:extLst>
                <a:ext uri="{FF2B5EF4-FFF2-40B4-BE49-F238E27FC236}">
                  <a16:creationId xmlns:a16="http://schemas.microsoft.com/office/drawing/2014/main" id="{380EB961-0EC3-D48C-82C8-92346ED458FF}"/>
                </a:ext>
              </a:extLst>
            </p:cNvPr>
            <p:cNvGrpSpPr/>
            <p:nvPr/>
          </p:nvGrpSpPr>
          <p:grpSpPr>
            <a:xfrm>
              <a:off x="9419919" y="3472636"/>
              <a:ext cx="441608" cy="441434"/>
              <a:chOff x="6865874" y="2105117"/>
              <a:chExt cx="657065" cy="656804"/>
            </a:xfrm>
            <a:solidFill>
              <a:schemeClr val="bg1"/>
            </a:solidFill>
          </p:grpSpPr>
          <p:sp>
            <p:nvSpPr>
              <p:cNvPr id="3" name="Freeform: Shape 182">
                <a:extLst>
                  <a:ext uri="{FF2B5EF4-FFF2-40B4-BE49-F238E27FC236}">
                    <a16:creationId xmlns:a16="http://schemas.microsoft.com/office/drawing/2014/main" id="{6F6CF960-2A95-86B7-EAE4-5AF068B9658F}"/>
                  </a:ext>
                </a:extLst>
              </p:cNvPr>
              <p:cNvSpPr/>
              <p:nvPr/>
            </p:nvSpPr>
            <p:spPr>
              <a:xfrm>
                <a:off x="6948551" y="2207415"/>
                <a:ext cx="271207" cy="87590"/>
              </a:xfrm>
              <a:custGeom>
                <a:avLst/>
                <a:gdLst>
                  <a:gd name="connsiteX0" fmla="*/ 13049 w 271207"/>
                  <a:gd name="connsiteY0" fmla="*/ 87591 h 87590"/>
                  <a:gd name="connsiteX1" fmla="*/ 13145 w 271207"/>
                  <a:gd name="connsiteY1" fmla="*/ 87591 h 87590"/>
                  <a:gd name="connsiteX2" fmla="*/ 26289 w 271207"/>
                  <a:gd name="connsiteY2" fmla="*/ 74541 h 87590"/>
                  <a:gd name="connsiteX3" fmla="*/ 48387 w 271207"/>
                  <a:gd name="connsiteY3" fmla="*/ 34917 h 87590"/>
                  <a:gd name="connsiteX4" fmla="*/ 96203 w 271207"/>
                  <a:gd name="connsiteY4" fmla="*/ 29298 h 87590"/>
                  <a:gd name="connsiteX5" fmla="*/ 118396 w 271207"/>
                  <a:gd name="connsiteY5" fmla="*/ 39299 h 87590"/>
                  <a:gd name="connsiteX6" fmla="*/ 161449 w 271207"/>
                  <a:gd name="connsiteY6" fmla="*/ 54920 h 87590"/>
                  <a:gd name="connsiteX7" fmla="*/ 266033 w 271207"/>
                  <a:gd name="connsiteY7" fmla="*/ 23678 h 87590"/>
                  <a:gd name="connsiteX8" fmla="*/ 268510 w 271207"/>
                  <a:gd name="connsiteY8" fmla="*/ 5295 h 87590"/>
                  <a:gd name="connsiteX9" fmla="*/ 250126 w 271207"/>
                  <a:gd name="connsiteY9" fmla="*/ 2818 h 87590"/>
                  <a:gd name="connsiteX10" fmla="*/ 165449 w 271207"/>
                  <a:gd name="connsiteY10" fmla="*/ 28917 h 87590"/>
                  <a:gd name="connsiteX11" fmla="*/ 130207 w 271207"/>
                  <a:gd name="connsiteY11" fmla="*/ 15772 h 87590"/>
                  <a:gd name="connsiteX12" fmla="*/ 105061 w 271207"/>
                  <a:gd name="connsiteY12" fmla="*/ 4533 h 87590"/>
                  <a:gd name="connsiteX13" fmla="*/ 34004 w 271207"/>
                  <a:gd name="connsiteY13" fmla="*/ 12915 h 87590"/>
                  <a:gd name="connsiteX14" fmla="*/ 0 w 271207"/>
                  <a:gd name="connsiteY14" fmla="*/ 74256 h 87590"/>
                  <a:gd name="connsiteX15" fmla="*/ 13049 w 271207"/>
                  <a:gd name="connsiteY15" fmla="*/ 87495 h 87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1207" h="87590">
                    <a:moveTo>
                      <a:pt x="13049" y="87591"/>
                    </a:moveTo>
                    <a:lnTo>
                      <a:pt x="13145" y="87591"/>
                    </a:lnTo>
                    <a:cubicBezTo>
                      <a:pt x="20383" y="87591"/>
                      <a:pt x="26194" y="81780"/>
                      <a:pt x="26289" y="74541"/>
                    </a:cubicBezTo>
                    <a:cubicBezTo>
                      <a:pt x="26384" y="59206"/>
                      <a:pt x="35052" y="43680"/>
                      <a:pt x="48387" y="34917"/>
                    </a:cubicBezTo>
                    <a:cubicBezTo>
                      <a:pt x="61913" y="25964"/>
                      <a:pt x="80677" y="23773"/>
                      <a:pt x="96203" y="29298"/>
                    </a:cubicBezTo>
                    <a:cubicBezTo>
                      <a:pt x="103823" y="32060"/>
                      <a:pt x="110871" y="35584"/>
                      <a:pt x="118396" y="39299"/>
                    </a:cubicBezTo>
                    <a:cubicBezTo>
                      <a:pt x="131350" y="45776"/>
                      <a:pt x="144685" y="52443"/>
                      <a:pt x="161449" y="54920"/>
                    </a:cubicBezTo>
                    <a:cubicBezTo>
                      <a:pt x="196691" y="60254"/>
                      <a:pt x="231839" y="49776"/>
                      <a:pt x="266033" y="23678"/>
                    </a:cubicBezTo>
                    <a:cubicBezTo>
                      <a:pt x="271844" y="19296"/>
                      <a:pt x="272891" y="11010"/>
                      <a:pt x="268510" y="5295"/>
                    </a:cubicBezTo>
                    <a:cubicBezTo>
                      <a:pt x="264128" y="-516"/>
                      <a:pt x="255842" y="-1563"/>
                      <a:pt x="250126" y="2818"/>
                    </a:cubicBezTo>
                    <a:cubicBezTo>
                      <a:pt x="221456" y="24630"/>
                      <a:pt x="193643" y="33203"/>
                      <a:pt x="165449" y="28917"/>
                    </a:cubicBezTo>
                    <a:cubicBezTo>
                      <a:pt x="152781" y="27012"/>
                      <a:pt x="141827" y="21487"/>
                      <a:pt x="130207" y="15772"/>
                    </a:cubicBezTo>
                    <a:cubicBezTo>
                      <a:pt x="122396" y="11867"/>
                      <a:pt x="114205" y="7771"/>
                      <a:pt x="105061" y="4533"/>
                    </a:cubicBezTo>
                    <a:cubicBezTo>
                      <a:pt x="81725" y="-3754"/>
                      <a:pt x="54578" y="-516"/>
                      <a:pt x="34004" y="12915"/>
                    </a:cubicBezTo>
                    <a:cubicBezTo>
                      <a:pt x="13240" y="26535"/>
                      <a:pt x="190" y="50062"/>
                      <a:pt x="0" y="74256"/>
                    </a:cubicBezTo>
                    <a:cubicBezTo>
                      <a:pt x="0" y="81495"/>
                      <a:pt x="5810" y="87400"/>
                      <a:pt x="13049" y="8749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4" name="Freeform: Shape 183">
                <a:extLst>
                  <a:ext uri="{FF2B5EF4-FFF2-40B4-BE49-F238E27FC236}">
                    <a16:creationId xmlns:a16="http://schemas.microsoft.com/office/drawing/2014/main" id="{82D246D5-48B9-5229-259B-23B534537478}"/>
                  </a:ext>
                </a:extLst>
              </p:cNvPr>
              <p:cNvSpPr/>
              <p:nvPr/>
            </p:nvSpPr>
            <p:spPr>
              <a:xfrm>
                <a:off x="7115715" y="2105117"/>
                <a:ext cx="271207" cy="87590"/>
              </a:xfrm>
              <a:custGeom>
                <a:avLst/>
                <a:gdLst>
                  <a:gd name="connsiteX0" fmla="*/ 13049 w 271207"/>
                  <a:gd name="connsiteY0" fmla="*/ 87591 h 87590"/>
                  <a:gd name="connsiteX1" fmla="*/ 13145 w 271207"/>
                  <a:gd name="connsiteY1" fmla="*/ 87591 h 87590"/>
                  <a:gd name="connsiteX2" fmla="*/ 26289 w 271207"/>
                  <a:gd name="connsiteY2" fmla="*/ 74541 h 87590"/>
                  <a:gd name="connsiteX3" fmla="*/ 48387 w 271207"/>
                  <a:gd name="connsiteY3" fmla="*/ 34917 h 87590"/>
                  <a:gd name="connsiteX4" fmla="*/ 96203 w 271207"/>
                  <a:gd name="connsiteY4" fmla="*/ 29298 h 87590"/>
                  <a:gd name="connsiteX5" fmla="*/ 118396 w 271207"/>
                  <a:gd name="connsiteY5" fmla="*/ 39299 h 87590"/>
                  <a:gd name="connsiteX6" fmla="*/ 161449 w 271207"/>
                  <a:gd name="connsiteY6" fmla="*/ 54920 h 87590"/>
                  <a:gd name="connsiteX7" fmla="*/ 266033 w 271207"/>
                  <a:gd name="connsiteY7" fmla="*/ 23678 h 87590"/>
                  <a:gd name="connsiteX8" fmla="*/ 268510 w 271207"/>
                  <a:gd name="connsiteY8" fmla="*/ 5295 h 87590"/>
                  <a:gd name="connsiteX9" fmla="*/ 250127 w 271207"/>
                  <a:gd name="connsiteY9" fmla="*/ 2818 h 87590"/>
                  <a:gd name="connsiteX10" fmla="*/ 165449 w 271207"/>
                  <a:gd name="connsiteY10" fmla="*/ 28917 h 87590"/>
                  <a:gd name="connsiteX11" fmla="*/ 130207 w 271207"/>
                  <a:gd name="connsiteY11" fmla="*/ 15772 h 87590"/>
                  <a:gd name="connsiteX12" fmla="*/ 105061 w 271207"/>
                  <a:gd name="connsiteY12" fmla="*/ 4533 h 87590"/>
                  <a:gd name="connsiteX13" fmla="*/ 34004 w 271207"/>
                  <a:gd name="connsiteY13" fmla="*/ 12915 h 87590"/>
                  <a:gd name="connsiteX14" fmla="*/ 0 w 271207"/>
                  <a:gd name="connsiteY14" fmla="*/ 74256 h 87590"/>
                  <a:gd name="connsiteX15" fmla="*/ 13049 w 271207"/>
                  <a:gd name="connsiteY15" fmla="*/ 87495 h 87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1207" h="87590">
                    <a:moveTo>
                      <a:pt x="13049" y="87591"/>
                    </a:moveTo>
                    <a:lnTo>
                      <a:pt x="13145" y="87591"/>
                    </a:lnTo>
                    <a:cubicBezTo>
                      <a:pt x="20384" y="87591"/>
                      <a:pt x="26194" y="81780"/>
                      <a:pt x="26289" y="74541"/>
                    </a:cubicBezTo>
                    <a:cubicBezTo>
                      <a:pt x="26384" y="59206"/>
                      <a:pt x="35052" y="43680"/>
                      <a:pt x="48387" y="34917"/>
                    </a:cubicBezTo>
                    <a:cubicBezTo>
                      <a:pt x="62008" y="25964"/>
                      <a:pt x="80772" y="23773"/>
                      <a:pt x="96203" y="29298"/>
                    </a:cubicBezTo>
                    <a:cubicBezTo>
                      <a:pt x="103823" y="32060"/>
                      <a:pt x="110871" y="35489"/>
                      <a:pt x="118396" y="39299"/>
                    </a:cubicBezTo>
                    <a:cubicBezTo>
                      <a:pt x="131350" y="45776"/>
                      <a:pt x="144685" y="52443"/>
                      <a:pt x="161449" y="54920"/>
                    </a:cubicBezTo>
                    <a:cubicBezTo>
                      <a:pt x="196596" y="60254"/>
                      <a:pt x="231839" y="49776"/>
                      <a:pt x="266033" y="23678"/>
                    </a:cubicBezTo>
                    <a:cubicBezTo>
                      <a:pt x="271844" y="19296"/>
                      <a:pt x="272891" y="11010"/>
                      <a:pt x="268510" y="5295"/>
                    </a:cubicBezTo>
                    <a:cubicBezTo>
                      <a:pt x="264128" y="-516"/>
                      <a:pt x="255937" y="-1563"/>
                      <a:pt x="250127" y="2818"/>
                    </a:cubicBezTo>
                    <a:cubicBezTo>
                      <a:pt x="221456" y="24726"/>
                      <a:pt x="193739" y="33203"/>
                      <a:pt x="165449" y="28917"/>
                    </a:cubicBezTo>
                    <a:cubicBezTo>
                      <a:pt x="152781" y="27012"/>
                      <a:pt x="141827" y="21487"/>
                      <a:pt x="130207" y="15772"/>
                    </a:cubicBezTo>
                    <a:cubicBezTo>
                      <a:pt x="122396" y="11867"/>
                      <a:pt x="114300" y="7771"/>
                      <a:pt x="105061" y="4533"/>
                    </a:cubicBezTo>
                    <a:cubicBezTo>
                      <a:pt x="81725" y="-3754"/>
                      <a:pt x="54578" y="-516"/>
                      <a:pt x="34004" y="12915"/>
                    </a:cubicBezTo>
                    <a:cubicBezTo>
                      <a:pt x="13240" y="26535"/>
                      <a:pt x="191" y="50062"/>
                      <a:pt x="0" y="74256"/>
                    </a:cubicBezTo>
                    <a:cubicBezTo>
                      <a:pt x="0" y="81495"/>
                      <a:pt x="5810" y="87400"/>
                      <a:pt x="13049" y="8749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5" name="Freeform: Shape 184">
                <a:extLst>
                  <a:ext uri="{FF2B5EF4-FFF2-40B4-BE49-F238E27FC236}">
                    <a16:creationId xmlns:a16="http://schemas.microsoft.com/office/drawing/2014/main" id="{70E4EF4B-F06E-7C10-5F64-00CF7DFCAEA0}"/>
                  </a:ext>
                </a:extLst>
              </p:cNvPr>
              <p:cNvSpPr/>
              <p:nvPr/>
            </p:nvSpPr>
            <p:spPr>
              <a:xfrm>
                <a:off x="7251732" y="2206558"/>
                <a:ext cx="271207" cy="87495"/>
              </a:xfrm>
              <a:custGeom>
                <a:avLst/>
                <a:gdLst>
                  <a:gd name="connsiteX0" fmla="*/ 104966 w 271207"/>
                  <a:gd name="connsiteY0" fmla="*/ 4533 h 87495"/>
                  <a:gd name="connsiteX1" fmla="*/ 33909 w 271207"/>
                  <a:gd name="connsiteY1" fmla="*/ 12915 h 87495"/>
                  <a:gd name="connsiteX2" fmla="*/ 0 w 271207"/>
                  <a:gd name="connsiteY2" fmla="*/ 74256 h 87495"/>
                  <a:gd name="connsiteX3" fmla="*/ 13049 w 271207"/>
                  <a:gd name="connsiteY3" fmla="*/ 87495 h 87495"/>
                  <a:gd name="connsiteX4" fmla="*/ 13145 w 271207"/>
                  <a:gd name="connsiteY4" fmla="*/ 87495 h 87495"/>
                  <a:gd name="connsiteX5" fmla="*/ 26289 w 271207"/>
                  <a:gd name="connsiteY5" fmla="*/ 74446 h 87495"/>
                  <a:gd name="connsiteX6" fmla="*/ 48387 w 271207"/>
                  <a:gd name="connsiteY6" fmla="*/ 34822 h 87495"/>
                  <a:gd name="connsiteX7" fmla="*/ 96203 w 271207"/>
                  <a:gd name="connsiteY7" fmla="*/ 29202 h 87495"/>
                  <a:gd name="connsiteX8" fmla="*/ 118396 w 271207"/>
                  <a:gd name="connsiteY8" fmla="*/ 39204 h 87495"/>
                  <a:gd name="connsiteX9" fmla="*/ 161449 w 271207"/>
                  <a:gd name="connsiteY9" fmla="*/ 54825 h 87495"/>
                  <a:gd name="connsiteX10" fmla="*/ 266033 w 271207"/>
                  <a:gd name="connsiteY10" fmla="*/ 23583 h 87495"/>
                  <a:gd name="connsiteX11" fmla="*/ 268510 w 271207"/>
                  <a:gd name="connsiteY11" fmla="*/ 5199 h 87495"/>
                  <a:gd name="connsiteX12" fmla="*/ 250126 w 271207"/>
                  <a:gd name="connsiteY12" fmla="*/ 2723 h 87495"/>
                  <a:gd name="connsiteX13" fmla="*/ 165449 w 271207"/>
                  <a:gd name="connsiteY13" fmla="*/ 28821 h 87495"/>
                  <a:gd name="connsiteX14" fmla="*/ 130207 w 271207"/>
                  <a:gd name="connsiteY14" fmla="*/ 15677 h 87495"/>
                  <a:gd name="connsiteX15" fmla="*/ 105061 w 271207"/>
                  <a:gd name="connsiteY15" fmla="*/ 4437 h 8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1207" h="87495">
                    <a:moveTo>
                      <a:pt x="104966" y="4533"/>
                    </a:moveTo>
                    <a:cubicBezTo>
                      <a:pt x="81725" y="-3754"/>
                      <a:pt x="54483" y="-516"/>
                      <a:pt x="33909" y="12915"/>
                    </a:cubicBezTo>
                    <a:cubicBezTo>
                      <a:pt x="13145" y="26535"/>
                      <a:pt x="191" y="50062"/>
                      <a:pt x="0" y="74256"/>
                    </a:cubicBezTo>
                    <a:cubicBezTo>
                      <a:pt x="0" y="81495"/>
                      <a:pt x="5810" y="87400"/>
                      <a:pt x="13049" y="87495"/>
                    </a:cubicBezTo>
                    <a:lnTo>
                      <a:pt x="13145" y="87495"/>
                    </a:lnTo>
                    <a:cubicBezTo>
                      <a:pt x="20384" y="87495"/>
                      <a:pt x="26194" y="81685"/>
                      <a:pt x="26289" y="74446"/>
                    </a:cubicBezTo>
                    <a:cubicBezTo>
                      <a:pt x="26384" y="59111"/>
                      <a:pt x="35052" y="43585"/>
                      <a:pt x="48387" y="34822"/>
                    </a:cubicBezTo>
                    <a:cubicBezTo>
                      <a:pt x="61913" y="25869"/>
                      <a:pt x="80677" y="23678"/>
                      <a:pt x="96203" y="29202"/>
                    </a:cubicBezTo>
                    <a:cubicBezTo>
                      <a:pt x="103823" y="31965"/>
                      <a:pt x="110871" y="35489"/>
                      <a:pt x="118396" y="39204"/>
                    </a:cubicBezTo>
                    <a:cubicBezTo>
                      <a:pt x="131350" y="45681"/>
                      <a:pt x="144685" y="52348"/>
                      <a:pt x="161449" y="54825"/>
                    </a:cubicBezTo>
                    <a:cubicBezTo>
                      <a:pt x="196691" y="60159"/>
                      <a:pt x="231839" y="49681"/>
                      <a:pt x="266033" y="23583"/>
                    </a:cubicBezTo>
                    <a:cubicBezTo>
                      <a:pt x="271844" y="19201"/>
                      <a:pt x="272891" y="10914"/>
                      <a:pt x="268510" y="5199"/>
                    </a:cubicBezTo>
                    <a:cubicBezTo>
                      <a:pt x="264128" y="-611"/>
                      <a:pt x="255937" y="-1659"/>
                      <a:pt x="250126" y="2723"/>
                    </a:cubicBezTo>
                    <a:cubicBezTo>
                      <a:pt x="221456" y="24630"/>
                      <a:pt x="193643" y="33108"/>
                      <a:pt x="165449" y="28821"/>
                    </a:cubicBezTo>
                    <a:cubicBezTo>
                      <a:pt x="152781" y="26916"/>
                      <a:pt x="141827" y="21487"/>
                      <a:pt x="130207" y="15677"/>
                    </a:cubicBezTo>
                    <a:cubicBezTo>
                      <a:pt x="122396" y="11772"/>
                      <a:pt x="114205" y="7676"/>
                      <a:pt x="105061" y="44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1" name="Freeform: Shape 185">
                <a:extLst>
                  <a:ext uri="{FF2B5EF4-FFF2-40B4-BE49-F238E27FC236}">
                    <a16:creationId xmlns:a16="http://schemas.microsoft.com/office/drawing/2014/main" id="{BBCFB1F1-81E2-5892-1B8E-BCC44350F96A}"/>
                  </a:ext>
                </a:extLst>
              </p:cNvPr>
              <p:cNvSpPr/>
              <p:nvPr/>
            </p:nvSpPr>
            <p:spPr>
              <a:xfrm>
                <a:off x="6865874" y="2292724"/>
                <a:ext cx="657034" cy="469197"/>
              </a:xfrm>
              <a:custGeom>
                <a:avLst/>
                <a:gdLst>
                  <a:gd name="connsiteX0" fmla="*/ 650462 w 657034"/>
                  <a:gd name="connsiteY0" fmla="*/ 141061 h 469197"/>
                  <a:gd name="connsiteX1" fmla="*/ 637318 w 657034"/>
                  <a:gd name="connsiteY1" fmla="*/ 141061 h 469197"/>
                  <a:gd name="connsiteX2" fmla="*/ 425291 w 657034"/>
                  <a:gd name="connsiteY2" fmla="*/ 263648 h 469197"/>
                  <a:gd name="connsiteX3" fmla="*/ 425291 w 657034"/>
                  <a:gd name="connsiteY3" fmla="*/ 152491 h 469197"/>
                  <a:gd name="connsiteX4" fmla="*/ 418433 w 657034"/>
                  <a:gd name="connsiteY4" fmla="*/ 140966 h 469197"/>
                  <a:gd name="connsiteX5" fmla="*/ 405003 w 657034"/>
                  <a:gd name="connsiteY5" fmla="*/ 141442 h 469197"/>
                  <a:gd name="connsiteX6" fmla="*/ 194215 w 657034"/>
                  <a:gd name="connsiteY6" fmla="*/ 275935 h 469197"/>
                  <a:gd name="connsiteX7" fmla="*/ 194215 w 657034"/>
                  <a:gd name="connsiteY7" fmla="*/ 95055 h 469197"/>
                  <a:gd name="connsiteX8" fmla="*/ 186881 w 657034"/>
                  <a:gd name="connsiteY8" fmla="*/ 83244 h 469197"/>
                  <a:gd name="connsiteX9" fmla="*/ 18955 w 657034"/>
                  <a:gd name="connsiteY9" fmla="*/ 1329 h 469197"/>
                  <a:gd name="connsiteX10" fmla="*/ 6191 w 657034"/>
                  <a:gd name="connsiteY10" fmla="*/ 1996 h 469197"/>
                  <a:gd name="connsiteX11" fmla="*/ 0 w 657034"/>
                  <a:gd name="connsiteY11" fmla="*/ 13140 h 469197"/>
                  <a:gd name="connsiteX12" fmla="*/ 0 w 657034"/>
                  <a:gd name="connsiteY12" fmla="*/ 456053 h 469197"/>
                  <a:gd name="connsiteX13" fmla="*/ 13145 w 657034"/>
                  <a:gd name="connsiteY13" fmla="*/ 469197 h 469197"/>
                  <a:gd name="connsiteX14" fmla="*/ 412147 w 657034"/>
                  <a:gd name="connsiteY14" fmla="*/ 469197 h 469197"/>
                  <a:gd name="connsiteX15" fmla="*/ 413290 w 657034"/>
                  <a:gd name="connsiteY15" fmla="*/ 469197 h 469197"/>
                  <a:gd name="connsiteX16" fmla="*/ 643890 w 657034"/>
                  <a:gd name="connsiteY16" fmla="*/ 469197 h 469197"/>
                  <a:gd name="connsiteX17" fmla="*/ 657035 w 657034"/>
                  <a:gd name="connsiteY17" fmla="*/ 456053 h 469197"/>
                  <a:gd name="connsiteX18" fmla="*/ 657035 w 657034"/>
                  <a:gd name="connsiteY18" fmla="*/ 152586 h 469197"/>
                  <a:gd name="connsiteX19" fmla="*/ 650462 w 657034"/>
                  <a:gd name="connsiteY19" fmla="*/ 141156 h 469197"/>
                  <a:gd name="connsiteX20" fmla="*/ 167926 w 657034"/>
                  <a:gd name="connsiteY20" fmla="*/ 103151 h 469197"/>
                  <a:gd name="connsiteX21" fmla="*/ 167926 w 657034"/>
                  <a:gd name="connsiteY21" fmla="*/ 162397 h 469197"/>
                  <a:gd name="connsiteX22" fmla="*/ 26384 w 657034"/>
                  <a:gd name="connsiteY22" fmla="*/ 162397 h 469197"/>
                  <a:gd name="connsiteX23" fmla="*/ 26384 w 657034"/>
                  <a:gd name="connsiteY23" fmla="*/ 34095 h 469197"/>
                  <a:gd name="connsiteX24" fmla="*/ 167926 w 657034"/>
                  <a:gd name="connsiteY24" fmla="*/ 103151 h 469197"/>
                  <a:gd name="connsiteX25" fmla="*/ 26384 w 657034"/>
                  <a:gd name="connsiteY25" fmla="*/ 442813 h 469197"/>
                  <a:gd name="connsiteX26" fmla="*/ 26384 w 657034"/>
                  <a:gd name="connsiteY26" fmla="*/ 188686 h 469197"/>
                  <a:gd name="connsiteX27" fmla="*/ 167926 w 657034"/>
                  <a:gd name="connsiteY27" fmla="*/ 188686 h 469197"/>
                  <a:gd name="connsiteX28" fmla="*/ 167926 w 657034"/>
                  <a:gd name="connsiteY28" fmla="*/ 442813 h 469197"/>
                  <a:gd name="connsiteX29" fmla="*/ 26384 w 657034"/>
                  <a:gd name="connsiteY29" fmla="*/ 442813 h 469197"/>
                  <a:gd name="connsiteX30" fmla="*/ 630746 w 657034"/>
                  <a:gd name="connsiteY30" fmla="*/ 442813 h 469197"/>
                  <a:gd name="connsiteX31" fmla="*/ 412147 w 657034"/>
                  <a:gd name="connsiteY31" fmla="*/ 442813 h 469197"/>
                  <a:gd name="connsiteX32" fmla="*/ 411004 w 657034"/>
                  <a:gd name="connsiteY32" fmla="*/ 442813 h 469197"/>
                  <a:gd name="connsiteX33" fmla="*/ 194215 w 657034"/>
                  <a:gd name="connsiteY33" fmla="*/ 442813 h 469197"/>
                  <a:gd name="connsiteX34" fmla="*/ 194215 w 657034"/>
                  <a:gd name="connsiteY34" fmla="*/ 307082 h 469197"/>
                  <a:gd name="connsiteX35" fmla="*/ 398907 w 657034"/>
                  <a:gd name="connsiteY35" fmla="*/ 176494 h 469197"/>
                  <a:gd name="connsiteX36" fmla="*/ 398907 w 657034"/>
                  <a:gd name="connsiteY36" fmla="*/ 286412 h 469197"/>
                  <a:gd name="connsiteX37" fmla="*/ 405479 w 657034"/>
                  <a:gd name="connsiteY37" fmla="*/ 297842 h 469197"/>
                  <a:gd name="connsiteX38" fmla="*/ 418624 w 657034"/>
                  <a:gd name="connsiteY38" fmla="*/ 297842 h 469197"/>
                  <a:gd name="connsiteX39" fmla="*/ 630650 w 657034"/>
                  <a:gd name="connsiteY39" fmla="*/ 175256 h 469197"/>
                  <a:gd name="connsiteX40" fmla="*/ 630650 w 657034"/>
                  <a:gd name="connsiteY40" fmla="*/ 442813 h 469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57034" h="469197">
                    <a:moveTo>
                      <a:pt x="650462" y="141061"/>
                    </a:moveTo>
                    <a:cubicBezTo>
                      <a:pt x="646367" y="138680"/>
                      <a:pt x="641413" y="138680"/>
                      <a:pt x="637318" y="141061"/>
                    </a:cubicBezTo>
                    <a:lnTo>
                      <a:pt x="425291" y="263648"/>
                    </a:lnTo>
                    <a:lnTo>
                      <a:pt x="425291" y="152491"/>
                    </a:lnTo>
                    <a:cubicBezTo>
                      <a:pt x="425291" y="147728"/>
                      <a:pt x="422720" y="143252"/>
                      <a:pt x="418433" y="140966"/>
                    </a:cubicBezTo>
                    <a:cubicBezTo>
                      <a:pt x="414242" y="138680"/>
                      <a:pt x="409099" y="138870"/>
                      <a:pt x="405003" y="141442"/>
                    </a:cubicBezTo>
                    <a:lnTo>
                      <a:pt x="194215" y="275935"/>
                    </a:lnTo>
                    <a:lnTo>
                      <a:pt x="194215" y="95055"/>
                    </a:lnTo>
                    <a:cubicBezTo>
                      <a:pt x="194215" y="90007"/>
                      <a:pt x="191357" y="85435"/>
                      <a:pt x="186881" y="83244"/>
                    </a:cubicBezTo>
                    <a:lnTo>
                      <a:pt x="18955" y="1329"/>
                    </a:lnTo>
                    <a:cubicBezTo>
                      <a:pt x="14859" y="-671"/>
                      <a:pt x="10096" y="-385"/>
                      <a:pt x="6191" y="1996"/>
                    </a:cubicBezTo>
                    <a:cubicBezTo>
                      <a:pt x="2381" y="4377"/>
                      <a:pt x="0" y="8568"/>
                      <a:pt x="0" y="13140"/>
                    </a:cubicBezTo>
                    <a:lnTo>
                      <a:pt x="0" y="456053"/>
                    </a:lnTo>
                    <a:cubicBezTo>
                      <a:pt x="0" y="463292"/>
                      <a:pt x="5905" y="469197"/>
                      <a:pt x="13145" y="469197"/>
                    </a:cubicBezTo>
                    <a:lnTo>
                      <a:pt x="412147" y="469197"/>
                    </a:lnTo>
                    <a:cubicBezTo>
                      <a:pt x="412147" y="469197"/>
                      <a:pt x="412909" y="469197"/>
                      <a:pt x="413290" y="469197"/>
                    </a:cubicBezTo>
                    <a:lnTo>
                      <a:pt x="643890" y="469197"/>
                    </a:lnTo>
                    <a:cubicBezTo>
                      <a:pt x="651129" y="469197"/>
                      <a:pt x="657035" y="463292"/>
                      <a:pt x="657035" y="456053"/>
                    </a:cubicBezTo>
                    <a:lnTo>
                      <a:pt x="657035" y="152586"/>
                    </a:lnTo>
                    <a:cubicBezTo>
                      <a:pt x="657035" y="147919"/>
                      <a:pt x="654558" y="143537"/>
                      <a:pt x="650462" y="141156"/>
                    </a:cubicBezTo>
                    <a:close/>
                    <a:moveTo>
                      <a:pt x="167926" y="103151"/>
                    </a:moveTo>
                    <a:lnTo>
                      <a:pt x="167926" y="162397"/>
                    </a:lnTo>
                    <a:lnTo>
                      <a:pt x="26384" y="162397"/>
                    </a:lnTo>
                    <a:lnTo>
                      <a:pt x="26384" y="34095"/>
                    </a:lnTo>
                    <a:lnTo>
                      <a:pt x="167926" y="103151"/>
                    </a:lnTo>
                    <a:close/>
                    <a:moveTo>
                      <a:pt x="26384" y="442813"/>
                    </a:moveTo>
                    <a:lnTo>
                      <a:pt x="26384" y="188686"/>
                    </a:lnTo>
                    <a:lnTo>
                      <a:pt x="167926" y="188686"/>
                    </a:lnTo>
                    <a:lnTo>
                      <a:pt x="167926" y="442813"/>
                    </a:lnTo>
                    <a:lnTo>
                      <a:pt x="26384" y="442813"/>
                    </a:lnTo>
                    <a:close/>
                    <a:moveTo>
                      <a:pt x="630746" y="442813"/>
                    </a:moveTo>
                    <a:lnTo>
                      <a:pt x="412147" y="442813"/>
                    </a:lnTo>
                    <a:cubicBezTo>
                      <a:pt x="412147" y="442813"/>
                      <a:pt x="411385" y="442813"/>
                      <a:pt x="411004" y="442813"/>
                    </a:cubicBezTo>
                    <a:lnTo>
                      <a:pt x="194215" y="442813"/>
                    </a:lnTo>
                    <a:lnTo>
                      <a:pt x="194215" y="307082"/>
                    </a:lnTo>
                    <a:lnTo>
                      <a:pt x="398907" y="176494"/>
                    </a:lnTo>
                    <a:lnTo>
                      <a:pt x="398907" y="286412"/>
                    </a:lnTo>
                    <a:cubicBezTo>
                      <a:pt x="398907" y="291080"/>
                      <a:pt x="401384" y="295461"/>
                      <a:pt x="405479" y="297842"/>
                    </a:cubicBezTo>
                    <a:cubicBezTo>
                      <a:pt x="409575" y="300224"/>
                      <a:pt x="414528" y="300224"/>
                      <a:pt x="418624" y="297842"/>
                    </a:cubicBezTo>
                    <a:lnTo>
                      <a:pt x="630650" y="175256"/>
                    </a:lnTo>
                    <a:lnTo>
                      <a:pt x="630650" y="44281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pic>
          <p:nvPicPr>
            <p:cNvPr id="33" name="Graphic 14">
              <a:extLst>
                <a:ext uri="{FF2B5EF4-FFF2-40B4-BE49-F238E27FC236}">
                  <a16:creationId xmlns:a16="http://schemas.microsoft.com/office/drawing/2014/main" id="{1E452589-EE47-31AD-AC99-3936FEAC4F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484277" y="3401436"/>
              <a:ext cx="503398" cy="503400"/>
            </a:xfrm>
            <a:prstGeom prst="rect">
              <a:avLst/>
            </a:prstGeom>
          </p:spPr>
        </p:pic>
        <p:sp>
          <p:nvSpPr>
            <p:cNvPr id="34" name="Retângulo: Cantos Arredondados 33">
              <a:extLst>
                <a:ext uri="{FF2B5EF4-FFF2-40B4-BE49-F238E27FC236}">
                  <a16:creationId xmlns:a16="http://schemas.microsoft.com/office/drawing/2014/main" id="{32A7DCD4-515C-9A63-D09C-1C5728DAB1E8}"/>
                </a:ext>
              </a:extLst>
            </p:cNvPr>
            <p:cNvSpPr/>
            <p:nvPr/>
          </p:nvSpPr>
          <p:spPr>
            <a:xfrm>
              <a:off x="6920196" y="3274991"/>
              <a:ext cx="4405689" cy="838948"/>
            </a:xfrm>
            <a:prstGeom prst="round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7" name="CaixaDeTexto 36">
              <a:extLst>
                <a:ext uri="{FF2B5EF4-FFF2-40B4-BE49-F238E27FC236}">
                  <a16:creationId xmlns:a16="http://schemas.microsoft.com/office/drawing/2014/main" id="{C481B53B-C02F-CC49-F3D1-601A6BA65FA5}"/>
                </a:ext>
              </a:extLst>
            </p:cNvPr>
            <p:cNvSpPr txBox="1"/>
            <p:nvPr/>
          </p:nvSpPr>
          <p:spPr>
            <a:xfrm>
              <a:off x="7525591" y="3502070"/>
              <a:ext cx="109036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b="1" dirty="0">
                  <a:solidFill>
                    <a:schemeClr val="bg1"/>
                  </a:solidFill>
                  <a:latin typeface="FT Base Book" pitchFamily="2" charset="0"/>
                </a:rPr>
                <a:t>Geração</a:t>
              </a:r>
            </a:p>
          </p:txBody>
        </p:sp>
      </p:grpSp>
      <p:grpSp>
        <p:nvGrpSpPr>
          <p:cNvPr id="42" name="Agrupar 41">
            <a:extLst>
              <a:ext uri="{FF2B5EF4-FFF2-40B4-BE49-F238E27FC236}">
                <a16:creationId xmlns:a16="http://schemas.microsoft.com/office/drawing/2014/main" id="{9C5F5512-0362-7B00-7064-E78F171A835A}"/>
              </a:ext>
            </a:extLst>
          </p:cNvPr>
          <p:cNvGrpSpPr/>
          <p:nvPr/>
        </p:nvGrpSpPr>
        <p:grpSpPr>
          <a:xfrm>
            <a:off x="7228985" y="3412021"/>
            <a:ext cx="4405689" cy="838948"/>
            <a:chOff x="6920196" y="4316201"/>
            <a:chExt cx="4405689" cy="838948"/>
          </a:xfrm>
        </p:grpSpPr>
        <p:sp>
          <p:nvSpPr>
            <p:cNvPr id="15" name="Freeform: Shape 85">
              <a:extLst>
                <a:ext uri="{FF2B5EF4-FFF2-40B4-BE49-F238E27FC236}">
                  <a16:creationId xmlns:a16="http://schemas.microsoft.com/office/drawing/2014/main" id="{D7B5B3DF-0BB8-33C4-9B8E-056EC4C36759}"/>
                </a:ext>
              </a:extLst>
            </p:cNvPr>
            <p:cNvSpPr/>
            <p:nvPr/>
          </p:nvSpPr>
          <p:spPr>
            <a:xfrm>
              <a:off x="10609162" y="4516634"/>
              <a:ext cx="253628" cy="460662"/>
            </a:xfrm>
            <a:custGeom>
              <a:avLst/>
              <a:gdLst>
                <a:gd name="connsiteX0" fmla="*/ 296132 w 309371"/>
                <a:gd name="connsiteY0" fmla="*/ 55887 h 655693"/>
                <a:gd name="connsiteX1" fmla="*/ 279083 w 309371"/>
                <a:gd name="connsiteY1" fmla="*/ 55887 h 655693"/>
                <a:gd name="connsiteX2" fmla="*/ 287274 w 309371"/>
                <a:gd name="connsiteY2" fmla="*/ 15692 h 655693"/>
                <a:gd name="connsiteX3" fmla="*/ 277082 w 309371"/>
                <a:gd name="connsiteY3" fmla="*/ 261 h 655693"/>
                <a:gd name="connsiteX4" fmla="*/ 261652 w 309371"/>
                <a:gd name="connsiteY4" fmla="*/ 10453 h 655693"/>
                <a:gd name="connsiteX5" fmla="*/ 252413 w 309371"/>
                <a:gd name="connsiteY5" fmla="*/ 55887 h 655693"/>
                <a:gd name="connsiteX6" fmla="*/ 56769 w 309371"/>
                <a:gd name="connsiteY6" fmla="*/ 55887 h 655693"/>
                <a:gd name="connsiteX7" fmla="*/ 47530 w 309371"/>
                <a:gd name="connsiteY7" fmla="*/ 10453 h 655693"/>
                <a:gd name="connsiteX8" fmla="*/ 32099 w 309371"/>
                <a:gd name="connsiteY8" fmla="*/ 261 h 655693"/>
                <a:gd name="connsiteX9" fmla="*/ 21907 w 309371"/>
                <a:gd name="connsiteY9" fmla="*/ 15692 h 655693"/>
                <a:gd name="connsiteX10" fmla="*/ 30099 w 309371"/>
                <a:gd name="connsiteY10" fmla="*/ 55887 h 655693"/>
                <a:gd name="connsiteX11" fmla="*/ 13049 w 309371"/>
                <a:gd name="connsiteY11" fmla="*/ 55887 h 655693"/>
                <a:gd name="connsiteX12" fmla="*/ 0 w 309371"/>
                <a:gd name="connsiteY12" fmla="*/ 68937 h 655693"/>
                <a:gd name="connsiteX13" fmla="*/ 13049 w 309371"/>
                <a:gd name="connsiteY13" fmla="*/ 81986 h 655693"/>
                <a:gd name="connsiteX14" fmla="*/ 35433 w 309371"/>
                <a:gd name="connsiteY14" fmla="*/ 81986 h 655693"/>
                <a:gd name="connsiteX15" fmla="*/ 55340 w 309371"/>
                <a:gd name="connsiteY15" fmla="*/ 179808 h 655693"/>
                <a:gd name="connsiteX16" fmla="*/ 47530 w 309371"/>
                <a:gd name="connsiteY16" fmla="*/ 318873 h 655693"/>
                <a:gd name="connsiteX17" fmla="*/ 39433 w 309371"/>
                <a:gd name="connsiteY17" fmla="*/ 318873 h 655693"/>
                <a:gd name="connsiteX18" fmla="*/ 26384 w 309371"/>
                <a:gd name="connsiteY18" fmla="*/ 331922 h 655693"/>
                <a:gd name="connsiteX19" fmla="*/ 39433 w 309371"/>
                <a:gd name="connsiteY19" fmla="*/ 344971 h 655693"/>
                <a:gd name="connsiteX20" fmla="*/ 46006 w 309371"/>
                <a:gd name="connsiteY20" fmla="*/ 344971 h 655693"/>
                <a:gd name="connsiteX21" fmla="*/ 39148 w 309371"/>
                <a:gd name="connsiteY21" fmla="*/ 466510 h 655693"/>
                <a:gd name="connsiteX22" fmla="*/ 29242 w 309371"/>
                <a:gd name="connsiteY22" fmla="*/ 466510 h 655693"/>
                <a:gd name="connsiteX23" fmla="*/ 16192 w 309371"/>
                <a:gd name="connsiteY23" fmla="*/ 479559 h 655693"/>
                <a:gd name="connsiteX24" fmla="*/ 29242 w 309371"/>
                <a:gd name="connsiteY24" fmla="*/ 492609 h 655693"/>
                <a:gd name="connsiteX25" fmla="*/ 37719 w 309371"/>
                <a:gd name="connsiteY25" fmla="*/ 492609 h 655693"/>
                <a:gd name="connsiteX26" fmla="*/ 29337 w 309371"/>
                <a:gd name="connsiteY26" fmla="*/ 641675 h 655693"/>
                <a:gd name="connsiteX27" fmla="*/ 39433 w 309371"/>
                <a:gd name="connsiteY27" fmla="*/ 655200 h 655693"/>
                <a:gd name="connsiteX28" fmla="*/ 42481 w 309371"/>
                <a:gd name="connsiteY28" fmla="*/ 655581 h 655693"/>
                <a:gd name="connsiteX29" fmla="*/ 54483 w 309371"/>
                <a:gd name="connsiteY29" fmla="*/ 647676 h 655693"/>
                <a:gd name="connsiteX30" fmla="*/ 121158 w 309371"/>
                <a:gd name="connsiteY30" fmla="*/ 492704 h 655693"/>
                <a:gd name="connsiteX31" fmla="*/ 181737 w 309371"/>
                <a:gd name="connsiteY31" fmla="*/ 492704 h 655693"/>
                <a:gd name="connsiteX32" fmla="*/ 254794 w 309371"/>
                <a:gd name="connsiteY32" fmla="*/ 648152 h 655693"/>
                <a:gd name="connsiteX33" fmla="*/ 269843 w 309371"/>
                <a:gd name="connsiteY33" fmla="*/ 655296 h 655693"/>
                <a:gd name="connsiteX34" fmla="*/ 279749 w 309371"/>
                <a:gd name="connsiteY34" fmla="*/ 641865 h 655693"/>
                <a:gd name="connsiteX35" fmla="*/ 271367 w 309371"/>
                <a:gd name="connsiteY35" fmla="*/ 492799 h 655693"/>
                <a:gd name="connsiteX36" fmla="*/ 280035 w 309371"/>
                <a:gd name="connsiteY36" fmla="*/ 492799 h 655693"/>
                <a:gd name="connsiteX37" fmla="*/ 293084 w 309371"/>
                <a:gd name="connsiteY37" fmla="*/ 479750 h 655693"/>
                <a:gd name="connsiteX38" fmla="*/ 280035 w 309371"/>
                <a:gd name="connsiteY38" fmla="*/ 466701 h 655693"/>
                <a:gd name="connsiteX39" fmla="*/ 269939 w 309371"/>
                <a:gd name="connsiteY39" fmla="*/ 466701 h 655693"/>
                <a:gd name="connsiteX40" fmla="*/ 263081 w 309371"/>
                <a:gd name="connsiteY40" fmla="*/ 345162 h 655693"/>
                <a:gd name="connsiteX41" fmla="*/ 269939 w 309371"/>
                <a:gd name="connsiteY41" fmla="*/ 345162 h 655693"/>
                <a:gd name="connsiteX42" fmla="*/ 282988 w 309371"/>
                <a:gd name="connsiteY42" fmla="*/ 332112 h 655693"/>
                <a:gd name="connsiteX43" fmla="*/ 269939 w 309371"/>
                <a:gd name="connsiteY43" fmla="*/ 319063 h 655693"/>
                <a:gd name="connsiteX44" fmla="*/ 261652 w 309371"/>
                <a:gd name="connsiteY44" fmla="*/ 319063 h 655693"/>
                <a:gd name="connsiteX45" fmla="*/ 253841 w 309371"/>
                <a:gd name="connsiteY45" fmla="*/ 180855 h 655693"/>
                <a:gd name="connsiteX46" fmla="*/ 273939 w 309371"/>
                <a:gd name="connsiteY46" fmla="*/ 82176 h 655693"/>
                <a:gd name="connsiteX47" fmla="*/ 296323 w 309371"/>
                <a:gd name="connsiteY47" fmla="*/ 82176 h 655693"/>
                <a:gd name="connsiteX48" fmla="*/ 309372 w 309371"/>
                <a:gd name="connsiteY48" fmla="*/ 69127 h 655693"/>
                <a:gd name="connsiteX49" fmla="*/ 296323 w 309371"/>
                <a:gd name="connsiteY49" fmla="*/ 56078 h 655693"/>
                <a:gd name="connsiteX50" fmla="*/ 89726 w 309371"/>
                <a:gd name="connsiteY50" fmla="*/ 466701 h 655693"/>
                <a:gd name="connsiteX51" fmla="*/ 154876 w 309371"/>
                <a:gd name="connsiteY51" fmla="*/ 418504 h 655693"/>
                <a:gd name="connsiteX52" fmla="*/ 219170 w 309371"/>
                <a:gd name="connsiteY52" fmla="*/ 466701 h 655693"/>
                <a:gd name="connsiteX53" fmla="*/ 89821 w 309371"/>
                <a:gd name="connsiteY53" fmla="*/ 466701 h 655693"/>
                <a:gd name="connsiteX54" fmla="*/ 94488 w 309371"/>
                <a:gd name="connsiteY54" fmla="*/ 318968 h 655693"/>
                <a:gd name="connsiteX55" fmla="*/ 154210 w 309371"/>
                <a:gd name="connsiteY55" fmla="*/ 268390 h 655693"/>
                <a:gd name="connsiteX56" fmla="*/ 215360 w 309371"/>
                <a:gd name="connsiteY56" fmla="*/ 318968 h 655693"/>
                <a:gd name="connsiteX57" fmla="*/ 94393 w 309371"/>
                <a:gd name="connsiteY57" fmla="*/ 318968 h 655693"/>
                <a:gd name="connsiteX58" fmla="*/ 209836 w 309371"/>
                <a:gd name="connsiteY58" fmla="*/ 345162 h 655693"/>
                <a:gd name="connsiteX59" fmla="*/ 154972 w 309371"/>
                <a:gd name="connsiteY59" fmla="*/ 385833 h 655693"/>
                <a:gd name="connsiteX60" fmla="*/ 100775 w 309371"/>
                <a:gd name="connsiteY60" fmla="*/ 345162 h 655693"/>
                <a:gd name="connsiteX61" fmla="*/ 209836 w 309371"/>
                <a:gd name="connsiteY61" fmla="*/ 345162 h 655693"/>
                <a:gd name="connsiteX62" fmla="*/ 228886 w 309371"/>
                <a:gd name="connsiteY62" fmla="*/ 205335 h 655693"/>
                <a:gd name="connsiteX63" fmla="*/ 234220 w 309371"/>
                <a:gd name="connsiteY63" fmla="*/ 300489 h 655693"/>
                <a:gd name="connsiteX64" fmla="*/ 174593 w 309371"/>
                <a:gd name="connsiteY64" fmla="*/ 251245 h 655693"/>
                <a:gd name="connsiteX65" fmla="*/ 228886 w 309371"/>
                <a:gd name="connsiteY65" fmla="*/ 205335 h 655693"/>
                <a:gd name="connsiteX66" fmla="*/ 154115 w 309371"/>
                <a:gd name="connsiteY66" fmla="*/ 234291 h 655693"/>
                <a:gd name="connsiteX67" fmla="*/ 102965 w 309371"/>
                <a:gd name="connsiteY67" fmla="*/ 192000 h 655693"/>
                <a:gd name="connsiteX68" fmla="*/ 204121 w 309371"/>
                <a:gd name="connsiteY68" fmla="*/ 192000 h 655693"/>
                <a:gd name="connsiteX69" fmla="*/ 154115 w 309371"/>
                <a:gd name="connsiteY69" fmla="*/ 234291 h 655693"/>
                <a:gd name="connsiteX70" fmla="*/ 119920 w 309371"/>
                <a:gd name="connsiteY70" fmla="*/ 165806 h 655693"/>
                <a:gd name="connsiteX71" fmla="*/ 79343 w 309371"/>
                <a:gd name="connsiteY71" fmla="*/ 165806 h 655693"/>
                <a:gd name="connsiteX72" fmla="*/ 68485 w 309371"/>
                <a:gd name="connsiteY72" fmla="*/ 112656 h 655693"/>
                <a:gd name="connsiteX73" fmla="*/ 119920 w 309371"/>
                <a:gd name="connsiteY73" fmla="*/ 165806 h 655693"/>
                <a:gd name="connsiteX74" fmla="*/ 75343 w 309371"/>
                <a:gd name="connsiteY74" fmla="*/ 82081 h 655693"/>
                <a:gd name="connsiteX75" fmla="*/ 229267 w 309371"/>
                <a:gd name="connsiteY75" fmla="*/ 82081 h 655693"/>
                <a:gd name="connsiteX76" fmla="*/ 150590 w 309371"/>
                <a:gd name="connsiteY76" fmla="*/ 159900 h 655693"/>
                <a:gd name="connsiteX77" fmla="*/ 75248 w 309371"/>
                <a:gd name="connsiteY77" fmla="*/ 82081 h 655693"/>
                <a:gd name="connsiteX78" fmla="*/ 80201 w 309371"/>
                <a:gd name="connsiteY78" fmla="*/ 207144 h 655693"/>
                <a:gd name="connsiteX79" fmla="*/ 133826 w 309371"/>
                <a:gd name="connsiteY79" fmla="*/ 251436 h 655693"/>
                <a:gd name="connsiteX80" fmla="*/ 74866 w 309371"/>
                <a:gd name="connsiteY80" fmla="*/ 301347 h 655693"/>
                <a:gd name="connsiteX81" fmla="*/ 80201 w 309371"/>
                <a:gd name="connsiteY81" fmla="*/ 207144 h 655693"/>
                <a:gd name="connsiteX82" fmla="*/ 133064 w 309371"/>
                <a:gd name="connsiteY82" fmla="*/ 402026 h 655693"/>
                <a:gd name="connsiteX83" fmla="*/ 66389 w 309371"/>
                <a:gd name="connsiteY83" fmla="*/ 451365 h 655693"/>
                <a:gd name="connsiteX84" fmla="*/ 71818 w 309371"/>
                <a:gd name="connsiteY84" fmla="*/ 356020 h 655693"/>
                <a:gd name="connsiteX85" fmla="*/ 133160 w 309371"/>
                <a:gd name="connsiteY85" fmla="*/ 402026 h 655693"/>
                <a:gd name="connsiteX86" fmla="*/ 176879 w 309371"/>
                <a:gd name="connsiteY86" fmla="*/ 402121 h 655693"/>
                <a:gd name="connsiteX87" fmla="*/ 237458 w 309371"/>
                <a:gd name="connsiteY87" fmla="*/ 357258 h 655693"/>
                <a:gd name="connsiteX88" fmla="*/ 242792 w 309371"/>
                <a:gd name="connsiteY88" fmla="*/ 451556 h 655693"/>
                <a:gd name="connsiteX89" fmla="*/ 176879 w 309371"/>
                <a:gd name="connsiteY89" fmla="*/ 402121 h 655693"/>
                <a:gd name="connsiteX90" fmla="*/ 230029 w 309371"/>
                <a:gd name="connsiteY90" fmla="*/ 165806 h 655693"/>
                <a:gd name="connsiteX91" fmla="*/ 181927 w 309371"/>
                <a:gd name="connsiteY91" fmla="*/ 165806 h 655693"/>
                <a:gd name="connsiteX92" fmla="*/ 242221 w 309371"/>
                <a:gd name="connsiteY92" fmla="*/ 106084 h 655693"/>
                <a:gd name="connsiteX93" fmla="*/ 230029 w 309371"/>
                <a:gd name="connsiteY93" fmla="*/ 165806 h 655693"/>
                <a:gd name="connsiteX94" fmla="*/ 59627 w 309371"/>
                <a:gd name="connsiteY94" fmla="*/ 569475 h 655693"/>
                <a:gd name="connsiteX95" fmla="*/ 63913 w 309371"/>
                <a:gd name="connsiteY95" fmla="*/ 492799 h 655693"/>
                <a:gd name="connsiteX96" fmla="*/ 92583 w 309371"/>
                <a:gd name="connsiteY96" fmla="*/ 492799 h 655693"/>
                <a:gd name="connsiteX97" fmla="*/ 59627 w 309371"/>
                <a:gd name="connsiteY97" fmla="*/ 569475 h 655693"/>
                <a:gd name="connsiteX98" fmla="*/ 249746 w 309371"/>
                <a:gd name="connsiteY98" fmla="*/ 576048 h 655693"/>
                <a:gd name="connsiteX99" fmla="*/ 210693 w 309371"/>
                <a:gd name="connsiteY99" fmla="*/ 492894 h 655693"/>
                <a:gd name="connsiteX100" fmla="*/ 245078 w 309371"/>
                <a:gd name="connsiteY100" fmla="*/ 492894 h 655693"/>
                <a:gd name="connsiteX101" fmla="*/ 249746 w 309371"/>
                <a:gd name="connsiteY101" fmla="*/ 576048 h 65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309371" h="655693">
                  <a:moveTo>
                    <a:pt x="296132" y="55887"/>
                  </a:moveTo>
                  <a:lnTo>
                    <a:pt x="279083" y="55887"/>
                  </a:lnTo>
                  <a:lnTo>
                    <a:pt x="287274" y="15692"/>
                  </a:lnTo>
                  <a:cubicBezTo>
                    <a:pt x="288703" y="8643"/>
                    <a:pt x="284131" y="1690"/>
                    <a:pt x="277082" y="261"/>
                  </a:cubicBezTo>
                  <a:cubicBezTo>
                    <a:pt x="270034" y="-1167"/>
                    <a:pt x="263081" y="3405"/>
                    <a:pt x="261652" y="10453"/>
                  </a:cubicBezTo>
                  <a:lnTo>
                    <a:pt x="252413" y="55887"/>
                  </a:lnTo>
                  <a:lnTo>
                    <a:pt x="56769" y="55887"/>
                  </a:lnTo>
                  <a:lnTo>
                    <a:pt x="47530" y="10453"/>
                  </a:lnTo>
                  <a:cubicBezTo>
                    <a:pt x="46101" y="3405"/>
                    <a:pt x="39148" y="-1167"/>
                    <a:pt x="32099" y="261"/>
                  </a:cubicBezTo>
                  <a:cubicBezTo>
                    <a:pt x="25051" y="1690"/>
                    <a:pt x="20479" y="8643"/>
                    <a:pt x="21907" y="15692"/>
                  </a:cubicBezTo>
                  <a:lnTo>
                    <a:pt x="30099" y="55887"/>
                  </a:lnTo>
                  <a:lnTo>
                    <a:pt x="13049" y="55887"/>
                  </a:lnTo>
                  <a:cubicBezTo>
                    <a:pt x="5810" y="55887"/>
                    <a:pt x="0" y="61793"/>
                    <a:pt x="0" y="68937"/>
                  </a:cubicBezTo>
                  <a:cubicBezTo>
                    <a:pt x="0" y="76080"/>
                    <a:pt x="5810" y="81986"/>
                    <a:pt x="13049" y="81986"/>
                  </a:cubicBezTo>
                  <a:lnTo>
                    <a:pt x="35433" y="81986"/>
                  </a:lnTo>
                  <a:lnTo>
                    <a:pt x="55340" y="179808"/>
                  </a:lnTo>
                  <a:lnTo>
                    <a:pt x="47530" y="318873"/>
                  </a:lnTo>
                  <a:lnTo>
                    <a:pt x="39433" y="318873"/>
                  </a:lnTo>
                  <a:cubicBezTo>
                    <a:pt x="32194" y="318873"/>
                    <a:pt x="26384" y="324778"/>
                    <a:pt x="26384" y="331922"/>
                  </a:cubicBezTo>
                  <a:cubicBezTo>
                    <a:pt x="26384" y="339066"/>
                    <a:pt x="32194" y="344971"/>
                    <a:pt x="39433" y="344971"/>
                  </a:cubicBezTo>
                  <a:lnTo>
                    <a:pt x="46006" y="344971"/>
                  </a:lnTo>
                  <a:lnTo>
                    <a:pt x="39148" y="466510"/>
                  </a:lnTo>
                  <a:lnTo>
                    <a:pt x="29242" y="466510"/>
                  </a:lnTo>
                  <a:cubicBezTo>
                    <a:pt x="22003" y="466510"/>
                    <a:pt x="16192" y="472416"/>
                    <a:pt x="16192" y="479559"/>
                  </a:cubicBezTo>
                  <a:cubicBezTo>
                    <a:pt x="16192" y="486703"/>
                    <a:pt x="22003" y="492609"/>
                    <a:pt x="29242" y="492609"/>
                  </a:cubicBezTo>
                  <a:lnTo>
                    <a:pt x="37719" y="492609"/>
                  </a:lnTo>
                  <a:lnTo>
                    <a:pt x="29337" y="641675"/>
                  </a:lnTo>
                  <a:cubicBezTo>
                    <a:pt x="28956" y="648057"/>
                    <a:pt x="33242" y="653676"/>
                    <a:pt x="39433" y="655200"/>
                  </a:cubicBezTo>
                  <a:cubicBezTo>
                    <a:pt x="40481" y="655391"/>
                    <a:pt x="41434" y="655581"/>
                    <a:pt x="42481" y="655581"/>
                  </a:cubicBezTo>
                  <a:cubicBezTo>
                    <a:pt x="47625" y="655581"/>
                    <a:pt x="52388" y="652533"/>
                    <a:pt x="54483" y="647676"/>
                  </a:cubicBezTo>
                  <a:lnTo>
                    <a:pt x="121158" y="492704"/>
                  </a:lnTo>
                  <a:lnTo>
                    <a:pt x="181737" y="492704"/>
                  </a:lnTo>
                  <a:lnTo>
                    <a:pt x="254794" y="648152"/>
                  </a:lnTo>
                  <a:cubicBezTo>
                    <a:pt x="257461" y="653867"/>
                    <a:pt x="263747" y="656820"/>
                    <a:pt x="269843" y="655296"/>
                  </a:cubicBezTo>
                  <a:cubicBezTo>
                    <a:pt x="275939" y="653772"/>
                    <a:pt x="280035" y="648152"/>
                    <a:pt x="279749" y="641865"/>
                  </a:cubicBezTo>
                  <a:lnTo>
                    <a:pt x="271367" y="492799"/>
                  </a:lnTo>
                  <a:lnTo>
                    <a:pt x="280035" y="492799"/>
                  </a:lnTo>
                  <a:cubicBezTo>
                    <a:pt x="287274" y="492799"/>
                    <a:pt x="293084" y="486894"/>
                    <a:pt x="293084" y="479750"/>
                  </a:cubicBezTo>
                  <a:cubicBezTo>
                    <a:pt x="293084" y="472606"/>
                    <a:pt x="287274" y="466701"/>
                    <a:pt x="280035" y="466701"/>
                  </a:cubicBezTo>
                  <a:lnTo>
                    <a:pt x="269939" y="466701"/>
                  </a:lnTo>
                  <a:lnTo>
                    <a:pt x="263081" y="345162"/>
                  </a:lnTo>
                  <a:lnTo>
                    <a:pt x="269939" y="345162"/>
                  </a:lnTo>
                  <a:cubicBezTo>
                    <a:pt x="277178" y="345162"/>
                    <a:pt x="282988" y="339256"/>
                    <a:pt x="282988" y="332112"/>
                  </a:cubicBezTo>
                  <a:cubicBezTo>
                    <a:pt x="282988" y="324969"/>
                    <a:pt x="277178" y="319063"/>
                    <a:pt x="269939" y="319063"/>
                  </a:cubicBezTo>
                  <a:lnTo>
                    <a:pt x="261652" y="319063"/>
                  </a:lnTo>
                  <a:lnTo>
                    <a:pt x="253841" y="180855"/>
                  </a:lnTo>
                  <a:lnTo>
                    <a:pt x="273939" y="82176"/>
                  </a:lnTo>
                  <a:lnTo>
                    <a:pt x="296323" y="82176"/>
                  </a:lnTo>
                  <a:cubicBezTo>
                    <a:pt x="303562" y="82176"/>
                    <a:pt x="309372" y="76271"/>
                    <a:pt x="309372" y="69127"/>
                  </a:cubicBezTo>
                  <a:cubicBezTo>
                    <a:pt x="309372" y="61983"/>
                    <a:pt x="303562" y="56078"/>
                    <a:pt x="296323" y="56078"/>
                  </a:cubicBezTo>
                  <a:close/>
                  <a:moveTo>
                    <a:pt x="89726" y="466701"/>
                  </a:moveTo>
                  <a:lnTo>
                    <a:pt x="154876" y="418504"/>
                  </a:lnTo>
                  <a:lnTo>
                    <a:pt x="219170" y="466701"/>
                  </a:lnTo>
                  <a:lnTo>
                    <a:pt x="89821" y="466701"/>
                  </a:lnTo>
                  <a:close/>
                  <a:moveTo>
                    <a:pt x="94488" y="318968"/>
                  </a:moveTo>
                  <a:lnTo>
                    <a:pt x="154210" y="268390"/>
                  </a:lnTo>
                  <a:lnTo>
                    <a:pt x="215360" y="318968"/>
                  </a:lnTo>
                  <a:lnTo>
                    <a:pt x="94393" y="318968"/>
                  </a:lnTo>
                  <a:close/>
                  <a:moveTo>
                    <a:pt x="209836" y="345162"/>
                  </a:moveTo>
                  <a:lnTo>
                    <a:pt x="154972" y="385833"/>
                  </a:lnTo>
                  <a:lnTo>
                    <a:pt x="100775" y="345162"/>
                  </a:lnTo>
                  <a:lnTo>
                    <a:pt x="209836" y="345162"/>
                  </a:lnTo>
                  <a:close/>
                  <a:moveTo>
                    <a:pt x="228886" y="205335"/>
                  </a:moveTo>
                  <a:lnTo>
                    <a:pt x="234220" y="300489"/>
                  </a:lnTo>
                  <a:lnTo>
                    <a:pt x="174593" y="251245"/>
                  </a:lnTo>
                  <a:lnTo>
                    <a:pt x="228886" y="205335"/>
                  </a:lnTo>
                  <a:close/>
                  <a:moveTo>
                    <a:pt x="154115" y="234291"/>
                  </a:moveTo>
                  <a:lnTo>
                    <a:pt x="102965" y="192000"/>
                  </a:lnTo>
                  <a:lnTo>
                    <a:pt x="204121" y="192000"/>
                  </a:lnTo>
                  <a:lnTo>
                    <a:pt x="154115" y="234291"/>
                  </a:lnTo>
                  <a:close/>
                  <a:moveTo>
                    <a:pt x="119920" y="165806"/>
                  </a:moveTo>
                  <a:lnTo>
                    <a:pt x="79343" y="165806"/>
                  </a:lnTo>
                  <a:lnTo>
                    <a:pt x="68485" y="112656"/>
                  </a:lnTo>
                  <a:lnTo>
                    <a:pt x="119920" y="165806"/>
                  </a:lnTo>
                  <a:close/>
                  <a:moveTo>
                    <a:pt x="75343" y="82081"/>
                  </a:moveTo>
                  <a:lnTo>
                    <a:pt x="229267" y="82081"/>
                  </a:lnTo>
                  <a:lnTo>
                    <a:pt x="150590" y="159900"/>
                  </a:lnTo>
                  <a:lnTo>
                    <a:pt x="75248" y="82081"/>
                  </a:lnTo>
                  <a:close/>
                  <a:moveTo>
                    <a:pt x="80201" y="207144"/>
                  </a:moveTo>
                  <a:lnTo>
                    <a:pt x="133826" y="251436"/>
                  </a:lnTo>
                  <a:lnTo>
                    <a:pt x="74866" y="301347"/>
                  </a:lnTo>
                  <a:lnTo>
                    <a:pt x="80201" y="207144"/>
                  </a:lnTo>
                  <a:close/>
                  <a:moveTo>
                    <a:pt x="133064" y="402026"/>
                  </a:moveTo>
                  <a:lnTo>
                    <a:pt x="66389" y="451365"/>
                  </a:lnTo>
                  <a:lnTo>
                    <a:pt x="71818" y="356020"/>
                  </a:lnTo>
                  <a:lnTo>
                    <a:pt x="133160" y="402026"/>
                  </a:lnTo>
                  <a:close/>
                  <a:moveTo>
                    <a:pt x="176879" y="402121"/>
                  </a:moveTo>
                  <a:lnTo>
                    <a:pt x="237458" y="357258"/>
                  </a:lnTo>
                  <a:lnTo>
                    <a:pt x="242792" y="451556"/>
                  </a:lnTo>
                  <a:lnTo>
                    <a:pt x="176879" y="402121"/>
                  </a:lnTo>
                  <a:close/>
                  <a:moveTo>
                    <a:pt x="230029" y="165806"/>
                  </a:moveTo>
                  <a:lnTo>
                    <a:pt x="181927" y="165806"/>
                  </a:lnTo>
                  <a:lnTo>
                    <a:pt x="242221" y="106084"/>
                  </a:lnTo>
                  <a:lnTo>
                    <a:pt x="230029" y="165806"/>
                  </a:lnTo>
                  <a:close/>
                  <a:moveTo>
                    <a:pt x="59627" y="569475"/>
                  </a:moveTo>
                  <a:lnTo>
                    <a:pt x="63913" y="492799"/>
                  </a:lnTo>
                  <a:lnTo>
                    <a:pt x="92583" y="492799"/>
                  </a:lnTo>
                  <a:lnTo>
                    <a:pt x="59627" y="569475"/>
                  </a:lnTo>
                  <a:close/>
                  <a:moveTo>
                    <a:pt x="249746" y="576048"/>
                  </a:moveTo>
                  <a:lnTo>
                    <a:pt x="210693" y="492894"/>
                  </a:lnTo>
                  <a:lnTo>
                    <a:pt x="245078" y="492894"/>
                  </a:lnTo>
                  <a:lnTo>
                    <a:pt x="249746" y="5760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" name="Freeform: Shape 185">
              <a:extLst>
                <a:ext uri="{FF2B5EF4-FFF2-40B4-BE49-F238E27FC236}">
                  <a16:creationId xmlns:a16="http://schemas.microsoft.com/office/drawing/2014/main" id="{80FC894D-D7EC-C8A1-14EC-5748F393CEEC}"/>
                </a:ext>
              </a:extLst>
            </p:cNvPr>
            <p:cNvSpPr/>
            <p:nvPr/>
          </p:nvSpPr>
          <p:spPr>
            <a:xfrm>
              <a:off x="9511378" y="4516634"/>
              <a:ext cx="253628" cy="460662"/>
            </a:xfrm>
            <a:custGeom>
              <a:avLst/>
              <a:gdLst>
                <a:gd name="connsiteX0" fmla="*/ 352044 w 365188"/>
                <a:gd name="connsiteY0" fmla="*/ 133541 h 655891"/>
                <a:gd name="connsiteX1" fmla="*/ 195643 w 365188"/>
                <a:gd name="connsiteY1" fmla="*/ 133541 h 655891"/>
                <a:gd name="connsiteX2" fmla="*/ 195643 w 365188"/>
                <a:gd name="connsiteY2" fmla="*/ 26289 h 655891"/>
                <a:gd name="connsiteX3" fmla="*/ 229648 w 365188"/>
                <a:gd name="connsiteY3" fmla="*/ 26289 h 655891"/>
                <a:gd name="connsiteX4" fmla="*/ 242792 w 365188"/>
                <a:gd name="connsiteY4" fmla="*/ 13145 h 655891"/>
                <a:gd name="connsiteX5" fmla="*/ 229648 w 365188"/>
                <a:gd name="connsiteY5" fmla="*/ 0 h 655891"/>
                <a:gd name="connsiteX6" fmla="*/ 135446 w 365188"/>
                <a:gd name="connsiteY6" fmla="*/ 0 h 655891"/>
                <a:gd name="connsiteX7" fmla="*/ 122301 w 365188"/>
                <a:gd name="connsiteY7" fmla="*/ 13145 h 655891"/>
                <a:gd name="connsiteX8" fmla="*/ 135446 w 365188"/>
                <a:gd name="connsiteY8" fmla="*/ 26289 h 655891"/>
                <a:gd name="connsiteX9" fmla="*/ 169450 w 365188"/>
                <a:gd name="connsiteY9" fmla="*/ 26289 h 655891"/>
                <a:gd name="connsiteX10" fmla="*/ 169450 w 365188"/>
                <a:gd name="connsiteY10" fmla="*/ 133541 h 655891"/>
                <a:gd name="connsiteX11" fmla="*/ 13144 w 365188"/>
                <a:gd name="connsiteY11" fmla="*/ 133541 h 655891"/>
                <a:gd name="connsiteX12" fmla="*/ 0 w 365188"/>
                <a:gd name="connsiteY12" fmla="*/ 146685 h 655891"/>
                <a:gd name="connsiteX13" fmla="*/ 13144 w 365188"/>
                <a:gd name="connsiteY13" fmla="*/ 159830 h 655891"/>
                <a:gd name="connsiteX14" fmla="*/ 48673 w 365188"/>
                <a:gd name="connsiteY14" fmla="*/ 159830 h 655891"/>
                <a:gd name="connsiteX15" fmla="*/ 50482 w 365188"/>
                <a:gd name="connsiteY15" fmla="*/ 162306 h 655891"/>
                <a:gd name="connsiteX16" fmla="*/ 152114 w 365188"/>
                <a:gd name="connsiteY16" fmla="*/ 255937 h 655891"/>
                <a:gd name="connsiteX17" fmla="*/ 60198 w 365188"/>
                <a:gd name="connsiteY17" fmla="*/ 255937 h 655891"/>
                <a:gd name="connsiteX18" fmla="*/ 47054 w 365188"/>
                <a:gd name="connsiteY18" fmla="*/ 269081 h 655891"/>
                <a:gd name="connsiteX19" fmla="*/ 60198 w 365188"/>
                <a:gd name="connsiteY19" fmla="*/ 282226 h 655891"/>
                <a:gd name="connsiteX20" fmla="*/ 169450 w 365188"/>
                <a:gd name="connsiteY20" fmla="*/ 282226 h 655891"/>
                <a:gd name="connsiteX21" fmla="*/ 169450 w 365188"/>
                <a:gd name="connsiteY21" fmla="*/ 423291 h 655891"/>
                <a:gd name="connsiteX22" fmla="*/ 135446 w 365188"/>
                <a:gd name="connsiteY22" fmla="*/ 423291 h 655891"/>
                <a:gd name="connsiteX23" fmla="*/ 122301 w 365188"/>
                <a:gd name="connsiteY23" fmla="*/ 436436 h 655891"/>
                <a:gd name="connsiteX24" fmla="*/ 135446 w 365188"/>
                <a:gd name="connsiteY24" fmla="*/ 449580 h 655891"/>
                <a:gd name="connsiteX25" fmla="*/ 169450 w 365188"/>
                <a:gd name="connsiteY25" fmla="*/ 449580 h 655891"/>
                <a:gd name="connsiteX26" fmla="*/ 169450 w 365188"/>
                <a:gd name="connsiteY26" fmla="*/ 642747 h 655891"/>
                <a:gd name="connsiteX27" fmla="*/ 182594 w 365188"/>
                <a:gd name="connsiteY27" fmla="*/ 655892 h 655891"/>
                <a:gd name="connsiteX28" fmla="*/ 195739 w 365188"/>
                <a:gd name="connsiteY28" fmla="*/ 642747 h 655891"/>
                <a:gd name="connsiteX29" fmla="*/ 195739 w 365188"/>
                <a:gd name="connsiteY29" fmla="*/ 449580 h 655891"/>
                <a:gd name="connsiteX30" fmla="*/ 229743 w 365188"/>
                <a:gd name="connsiteY30" fmla="*/ 449580 h 655891"/>
                <a:gd name="connsiteX31" fmla="*/ 242888 w 365188"/>
                <a:gd name="connsiteY31" fmla="*/ 436436 h 655891"/>
                <a:gd name="connsiteX32" fmla="*/ 229743 w 365188"/>
                <a:gd name="connsiteY32" fmla="*/ 423291 h 655891"/>
                <a:gd name="connsiteX33" fmla="*/ 195739 w 365188"/>
                <a:gd name="connsiteY33" fmla="*/ 423291 h 655891"/>
                <a:gd name="connsiteX34" fmla="*/ 195739 w 365188"/>
                <a:gd name="connsiteY34" fmla="*/ 282226 h 655891"/>
                <a:gd name="connsiteX35" fmla="*/ 304991 w 365188"/>
                <a:gd name="connsiteY35" fmla="*/ 282226 h 655891"/>
                <a:gd name="connsiteX36" fmla="*/ 318135 w 365188"/>
                <a:gd name="connsiteY36" fmla="*/ 269081 h 655891"/>
                <a:gd name="connsiteX37" fmla="*/ 304991 w 365188"/>
                <a:gd name="connsiteY37" fmla="*/ 255937 h 655891"/>
                <a:gd name="connsiteX38" fmla="*/ 214217 w 365188"/>
                <a:gd name="connsiteY38" fmla="*/ 255937 h 655891"/>
                <a:gd name="connsiteX39" fmla="*/ 308229 w 365188"/>
                <a:gd name="connsiteY39" fmla="*/ 161925 h 655891"/>
                <a:gd name="connsiteX40" fmla="*/ 309658 w 365188"/>
                <a:gd name="connsiteY40" fmla="*/ 159830 h 655891"/>
                <a:gd name="connsiteX41" fmla="*/ 352044 w 365188"/>
                <a:gd name="connsiteY41" fmla="*/ 159830 h 655891"/>
                <a:gd name="connsiteX42" fmla="*/ 365188 w 365188"/>
                <a:gd name="connsiteY42" fmla="*/ 146685 h 655891"/>
                <a:gd name="connsiteX43" fmla="*/ 352044 w 365188"/>
                <a:gd name="connsiteY43" fmla="*/ 133541 h 655891"/>
                <a:gd name="connsiteX44" fmla="*/ 169450 w 365188"/>
                <a:gd name="connsiteY44" fmla="*/ 159734 h 655891"/>
                <a:gd name="connsiteX45" fmla="*/ 169450 w 365188"/>
                <a:gd name="connsiteY45" fmla="*/ 236220 h 655891"/>
                <a:gd name="connsiteX46" fmla="*/ 86392 w 365188"/>
                <a:gd name="connsiteY46" fmla="*/ 159734 h 655891"/>
                <a:gd name="connsiteX47" fmla="*/ 169450 w 365188"/>
                <a:gd name="connsiteY47" fmla="*/ 159734 h 655891"/>
                <a:gd name="connsiteX48" fmla="*/ 195643 w 365188"/>
                <a:gd name="connsiteY48" fmla="*/ 237363 h 655891"/>
                <a:gd name="connsiteX49" fmla="*/ 195643 w 365188"/>
                <a:gd name="connsiteY49" fmla="*/ 159734 h 655891"/>
                <a:gd name="connsiteX50" fmla="*/ 273272 w 365188"/>
                <a:gd name="connsiteY50" fmla="*/ 159734 h 655891"/>
                <a:gd name="connsiteX51" fmla="*/ 195643 w 365188"/>
                <a:gd name="connsiteY51" fmla="*/ 237363 h 65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65188" h="655891">
                  <a:moveTo>
                    <a:pt x="352044" y="133541"/>
                  </a:moveTo>
                  <a:lnTo>
                    <a:pt x="195643" y="133541"/>
                  </a:lnTo>
                  <a:lnTo>
                    <a:pt x="195643" y="26289"/>
                  </a:lnTo>
                  <a:lnTo>
                    <a:pt x="229648" y="26289"/>
                  </a:lnTo>
                  <a:cubicBezTo>
                    <a:pt x="236887" y="26289"/>
                    <a:pt x="242792" y="20384"/>
                    <a:pt x="242792" y="13145"/>
                  </a:cubicBezTo>
                  <a:cubicBezTo>
                    <a:pt x="242792" y="5906"/>
                    <a:pt x="236887" y="0"/>
                    <a:pt x="229648" y="0"/>
                  </a:cubicBezTo>
                  <a:lnTo>
                    <a:pt x="135446" y="0"/>
                  </a:lnTo>
                  <a:cubicBezTo>
                    <a:pt x="128207" y="0"/>
                    <a:pt x="122301" y="5906"/>
                    <a:pt x="122301" y="13145"/>
                  </a:cubicBezTo>
                  <a:cubicBezTo>
                    <a:pt x="122301" y="20384"/>
                    <a:pt x="128207" y="26289"/>
                    <a:pt x="135446" y="26289"/>
                  </a:cubicBezTo>
                  <a:lnTo>
                    <a:pt x="169450" y="26289"/>
                  </a:lnTo>
                  <a:lnTo>
                    <a:pt x="169450" y="133541"/>
                  </a:lnTo>
                  <a:lnTo>
                    <a:pt x="13144" y="133541"/>
                  </a:lnTo>
                  <a:cubicBezTo>
                    <a:pt x="5906" y="133541"/>
                    <a:pt x="0" y="139446"/>
                    <a:pt x="0" y="146685"/>
                  </a:cubicBezTo>
                  <a:cubicBezTo>
                    <a:pt x="0" y="153924"/>
                    <a:pt x="5906" y="159830"/>
                    <a:pt x="13144" y="159830"/>
                  </a:cubicBezTo>
                  <a:lnTo>
                    <a:pt x="48673" y="159830"/>
                  </a:lnTo>
                  <a:cubicBezTo>
                    <a:pt x="49244" y="160687"/>
                    <a:pt x="49720" y="161639"/>
                    <a:pt x="50482" y="162306"/>
                  </a:cubicBezTo>
                  <a:lnTo>
                    <a:pt x="152114" y="255937"/>
                  </a:lnTo>
                  <a:lnTo>
                    <a:pt x="60198" y="255937"/>
                  </a:lnTo>
                  <a:cubicBezTo>
                    <a:pt x="52959" y="255937"/>
                    <a:pt x="47054" y="261842"/>
                    <a:pt x="47054" y="269081"/>
                  </a:cubicBezTo>
                  <a:cubicBezTo>
                    <a:pt x="47054" y="276320"/>
                    <a:pt x="52959" y="282226"/>
                    <a:pt x="60198" y="282226"/>
                  </a:cubicBezTo>
                  <a:lnTo>
                    <a:pt x="169450" y="282226"/>
                  </a:lnTo>
                  <a:lnTo>
                    <a:pt x="169450" y="423291"/>
                  </a:lnTo>
                  <a:lnTo>
                    <a:pt x="135446" y="423291"/>
                  </a:lnTo>
                  <a:cubicBezTo>
                    <a:pt x="128207" y="423291"/>
                    <a:pt x="122301" y="429197"/>
                    <a:pt x="122301" y="436436"/>
                  </a:cubicBezTo>
                  <a:cubicBezTo>
                    <a:pt x="122301" y="443675"/>
                    <a:pt x="128207" y="449580"/>
                    <a:pt x="135446" y="449580"/>
                  </a:cubicBezTo>
                  <a:lnTo>
                    <a:pt x="169450" y="449580"/>
                  </a:lnTo>
                  <a:lnTo>
                    <a:pt x="169450" y="642747"/>
                  </a:lnTo>
                  <a:cubicBezTo>
                    <a:pt x="169450" y="649986"/>
                    <a:pt x="175355" y="655892"/>
                    <a:pt x="182594" y="655892"/>
                  </a:cubicBezTo>
                  <a:cubicBezTo>
                    <a:pt x="189833" y="655892"/>
                    <a:pt x="195739" y="649986"/>
                    <a:pt x="195739" y="642747"/>
                  </a:cubicBezTo>
                  <a:lnTo>
                    <a:pt x="195739" y="449580"/>
                  </a:lnTo>
                  <a:lnTo>
                    <a:pt x="229743" y="449580"/>
                  </a:lnTo>
                  <a:cubicBezTo>
                    <a:pt x="236982" y="449580"/>
                    <a:pt x="242888" y="443675"/>
                    <a:pt x="242888" y="436436"/>
                  </a:cubicBezTo>
                  <a:cubicBezTo>
                    <a:pt x="242888" y="429197"/>
                    <a:pt x="236982" y="423291"/>
                    <a:pt x="229743" y="423291"/>
                  </a:cubicBezTo>
                  <a:lnTo>
                    <a:pt x="195739" y="423291"/>
                  </a:lnTo>
                  <a:lnTo>
                    <a:pt x="195739" y="282226"/>
                  </a:lnTo>
                  <a:lnTo>
                    <a:pt x="304991" y="282226"/>
                  </a:lnTo>
                  <a:cubicBezTo>
                    <a:pt x="312230" y="282226"/>
                    <a:pt x="318135" y="276320"/>
                    <a:pt x="318135" y="269081"/>
                  </a:cubicBezTo>
                  <a:cubicBezTo>
                    <a:pt x="318135" y="261842"/>
                    <a:pt x="312230" y="255937"/>
                    <a:pt x="304991" y="255937"/>
                  </a:cubicBezTo>
                  <a:lnTo>
                    <a:pt x="214217" y="255937"/>
                  </a:lnTo>
                  <a:lnTo>
                    <a:pt x="308229" y="161925"/>
                  </a:lnTo>
                  <a:cubicBezTo>
                    <a:pt x="308896" y="161258"/>
                    <a:pt x="309182" y="160496"/>
                    <a:pt x="309658" y="159830"/>
                  </a:cubicBezTo>
                  <a:lnTo>
                    <a:pt x="352044" y="159830"/>
                  </a:lnTo>
                  <a:cubicBezTo>
                    <a:pt x="359283" y="159830"/>
                    <a:pt x="365188" y="153924"/>
                    <a:pt x="365188" y="146685"/>
                  </a:cubicBezTo>
                  <a:cubicBezTo>
                    <a:pt x="365188" y="139446"/>
                    <a:pt x="359283" y="133541"/>
                    <a:pt x="352044" y="133541"/>
                  </a:cubicBezTo>
                  <a:close/>
                  <a:moveTo>
                    <a:pt x="169450" y="159734"/>
                  </a:moveTo>
                  <a:lnTo>
                    <a:pt x="169450" y="236220"/>
                  </a:lnTo>
                  <a:lnTo>
                    <a:pt x="86392" y="159734"/>
                  </a:lnTo>
                  <a:lnTo>
                    <a:pt x="169450" y="159734"/>
                  </a:lnTo>
                  <a:close/>
                  <a:moveTo>
                    <a:pt x="195643" y="237363"/>
                  </a:moveTo>
                  <a:lnTo>
                    <a:pt x="195643" y="159734"/>
                  </a:lnTo>
                  <a:lnTo>
                    <a:pt x="273272" y="159734"/>
                  </a:lnTo>
                  <a:lnTo>
                    <a:pt x="195643" y="237363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35" name="Retângulo: Cantos Arredondados 34">
              <a:extLst>
                <a:ext uri="{FF2B5EF4-FFF2-40B4-BE49-F238E27FC236}">
                  <a16:creationId xmlns:a16="http://schemas.microsoft.com/office/drawing/2014/main" id="{269326A6-7BC0-47D7-5530-9FD6F1CB22F5}"/>
                </a:ext>
              </a:extLst>
            </p:cNvPr>
            <p:cNvSpPr/>
            <p:nvPr/>
          </p:nvSpPr>
          <p:spPr>
            <a:xfrm>
              <a:off x="6920196" y="4316201"/>
              <a:ext cx="4405689" cy="838948"/>
            </a:xfrm>
            <a:prstGeom prst="round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8" name="CaixaDeTexto 37">
              <a:extLst>
                <a:ext uri="{FF2B5EF4-FFF2-40B4-BE49-F238E27FC236}">
                  <a16:creationId xmlns:a16="http://schemas.microsoft.com/office/drawing/2014/main" id="{0DB55C07-A920-7548-E8A9-344C36ADD35F}"/>
                </a:ext>
              </a:extLst>
            </p:cNvPr>
            <p:cNvSpPr txBox="1"/>
            <p:nvPr/>
          </p:nvSpPr>
          <p:spPr>
            <a:xfrm>
              <a:off x="7085186" y="4413504"/>
              <a:ext cx="19711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chemeClr val="bg1"/>
                  </a:solidFill>
                  <a:latin typeface="FT Base Book" pitchFamily="2" charset="0"/>
                </a:rPr>
                <a:t>Transmissão</a:t>
              </a:r>
            </a:p>
            <a:p>
              <a:pPr algn="ctr"/>
              <a:r>
                <a:rPr lang="pt-BR" b="1" dirty="0">
                  <a:solidFill>
                    <a:schemeClr val="bg1"/>
                  </a:solidFill>
                  <a:latin typeface="FT Base Book" pitchFamily="2" charset="0"/>
                </a:rPr>
                <a:t>Distribuição</a:t>
              </a:r>
            </a:p>
          </p:txBody>
        </p:sp>
      </p:grpSp>
      <p:grpSp>
        <p:nvGrpSpPr>
          <p:cNvPr id="40" name="Agrupar 39">
            <a:extLst>
              <a:ext uri="{FF2B5EF4-FFF2-40B4-BE49-F238E27FC236}">
                <a16:creationId xmlns:a16="http://schemas.microsoft.com/office/drawing/2014/main" id="{B584E234-AD8C-812D-F3C0-C47A7025E1DB}"/>
              </a:ext>
            </a:extLst>
          </p:cNvPr>
          <p:cNvGrpSpPr/>
          <p:nvPr/>
        </p:nvGrpSpPr>
        <p:grpSpPr>
          <a:xfrm>
            <a:off x="7228985" y="5173323"/>
            <a:ext cx="4405689" cy="838948"/>
            <a:chOff x="6920196" y="5357411"/>
            <a:chExt cx="4405689" cy="838948"/>
          </a:xfrm>
        </p:grpSpPr>
        <p:grpSp>
          <p:nvGrpSpPr>
            <p:cNvPr id="19" name="Graphic 8">
              <a:extLst>
                <a:ext uri="{FF2B5EF4-FFF2-40B4-BE49-F238E27FC236}">
                  <a16:creationId xmlns:a16="http://schemas.microsoft.com/office/drawing/2014/main" id="{D474ABE6-42BC-8B00-777B-589BD1392312}"/>
                </a:ext>
              </a:extLst>
            </p:cNvPr>
            <p:cNvGrpSpPr/>
            <p:nvPr/>
          </p:nvGrpSpPr>
          <p:grpSpPr>
            <a:xfrm>
              <a:off x="10136954" y="5602834"/>
              <a:ext cx="441842" cy="441586"/>
              <a:chOff x="7931071" y="2204189"/>
              <a:chExt cx="657415" cy="657034"/>
            </a:xfrm>
            <a:solidFill>
              <a:schemeClr val="bg1"/>
            </a:solidFill>
          </p:grpSpPr>
          <p:sp>
            <p:nvSpPr>
              <p:cNvPr id="20" name="Freeform: Shape 176">
                <a:extLst>
                  <a:ext uri="{FF2B5EF4-FFF2-40B4-BE49-F238E27FC236}">
                    <a16:creationId xmlns:a16="http://schemas.microsoft.com/office/drawing/2014/main" id="{19FC8B89-D169-C957-99F0-09106E05A11E}"/>
                  </a:ext>
                </a:extLst>
              </p:cNvPr>
              <p:cNvSpPr/>
              <p:nvPr/>
            </p:nvSpPr>
            <p:spPr>
              <a:xfrm>
                <a:off x="7931071" y="2204189"/>
                <a:ext cx="657415" cy="657034"/>
              </a:xfrm>
              <a:custGeom>
                <a:avLst/>
                <a:gdLst>
                  <a:gd name="connsiteX0" fmla="*/ 644271 w 657415"/>
                  <a:gd name="connsiteY0" fmla="*/ 630746 h 657034"/>
                  <a:gd name="connsiteX1" fmla="*/ 587597 w 657415"/>
                  <a:gd name="connsiteY1" fmla="*/ 630746 h 657034"/>
                  <a:gd name="connsiteX2" fmla="*/ 587597 w 657415"/>
                  <a:gd name="connsiteY2" fmla="*/ 13145 h 657034"/>
                  <a:gd name="connsiteX3" fmla="*/ 574453 w 657415"/>
                  <a:gd name="connsiteY3" fmla="*/ 0 h 657034"/>
                  <a:gd name="connsiteX4" fmla="*/ 82963 w 657415"/>
                  <a:gd name="connsiteY4" fmla="*/ 0 h 657034"/>
                  <a:gd name="connsiteX5" fmla="*/ 69818 w 657415"/>
                  <a:gd name="connsiteY5" fmla="*/ 13145 h 657034"/>
                  <a:gd name="connsiteX6" fmla="*/ 69818 w 657415"/>
                  <a:gd name="connsiteY6" fmla="*/ 630746 h 657034"/>
                  <a:gd name="connsiteX7" fmla="*/ 13144 w 657415"/>
                  <a:gd name="connsiteY7" fmla="*/ 630746 h 657034"/>
                  <a:gd name="connsiteX8" fmla="*/ 0 w 657415"/>
                  <a:gd name="connsiteY8" fmla="*/ 643890 h 657034"/>
                  <a:gd name="connsiteX9" fmla="*/ 13144 w 657415"/>
                  <a:gd name="connsiteY9" fmla="*/ 657035 h 657034"/>
                  <a:gd name="connsiteX10" fmla="*/ 644271 w 657415"/>
                  <a:gd name="connsiteY10" fmla="*/ 657035 h 657034"/>
                  <a:gd name="connsiteX11" fmla="*/ 657416 w 657415"/>
                  <a:gd name="connsiteY11" fmla="*/ 643890 h 657034"/>
                  <a:gd name="connsiteX12" fmla="*/ 644271 w 657415"/>
                  <a:gd name="connsiteY12" fmla="*/ 630746 h 657034"/>
                  <a:gd name="connsiteX13" fmla="*/ 261938 w 657415"/>
                  <a:gd name="connsiteY13" fmla="*/ 628936 h 657034"/>
                  <a:gd name="connsiteX14" fmla="*/ 261938 w 657415"/>
                  <a:gd name="connsiteY14" fmla="*/ 469392 h 657034"/>
                  <a:gd name="connsiteX15" fmla="*/ 395573 w 657415"/>
                  <a:gd name="connsiteY15" fmla="*/ 469392 h 657034"/>
                  <a:gd name="connsiteX16" fmla="*/ 395573 w 657415"/>
                  <a:gd name="connsiteY16" fmla="*/ 628936 h 657034"/>
                  <a:gd name="connsiteX17" fmla="*/ 261938 w 657415"/>
                  <a:gd name="connsiteY17" fmla="*/ 628936 h 657034"/>
                  <a:gd name="connsiteX18" fmla="*/ 421767 w 657415"/>
                  <a:gd name="connsiteY18" fmla="*/ 630746 h 657034"/>
                  <a:gd name="connsiteX19" fmla="*/ 421767 w 657415"/>
                  <a:gd name="connsiteY19" fmla="*/ 456248 h 657034"/>
                  <a:gd name="connsiteX20" fmla="*/ 408623 w 657415"/>
                  <a:gd name="connsiteY20" fmla="*/ 443103 h 657034"/>
                  <a:gd name="connsiteX21" fmla="*/ 248793 w 657415"/>
                  <a:gd name="connsiteY21" fmla="*/ 443103 h 657034"/>
                  <a:gd name="connsiteX22" fmla="*/ 235649 w 657415"/>
                  <a:gd name="connsiteY22" fmla="*/ 456248 h 657034"/>
                  <a:gd name="connsiteX23" fmla="*/ 235649 w 657415"/>
                  <a:gd name="connsiteY23" fmla="*/ 630746 h 657034"/>
                  <a:gd name="connsiteX24" fmla="*/ 96107 w 657415"/>
                  <a:gd name="connsiteY24" fmla="*/ 630746 h 657034"/>
                  <a:gd name="connsiteX25" fmla="*/ 96107 w 657415"/>
                  <a:gd name="connsiteY25" fmla="*/ 26289 h 657034"/>
                  <a:gd name="connsiteX26" fmla="*/ 561308 w 657415"/>
                  <a:gd name="connsiteY26" fmla="*/ 26289 h 657034"/>
                  <a:gd name="connsiteX27" fmla="*/ 561308 w 657415"/>
                  <a:gd name="connsiteY27" fmla="*/ 630746 h 657034"/>
                  <a:gd name="connsiteX28" fmla="*/ 421672 w 657415"/>
                  <a:gd name="connsiteY28" fmla="*/ 630746 h 65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57415" h="657034">
                    <a:moveTo>
                      <a:pt x="644271" y="630746"/>
                    </a:moveTo>
                    <a:lnTo>
                      <a:pt x="587597" y="630746"/>
                    </a:lnTo>
                    <a:lnTo>
                      <a:pt x="587597" y="13145"/>
                    </a:lnTo>
                    <a:cubicBezTo>
                      <a:pt x="587597" y="5906"/>
                      <a:pt x="581692" y="0"/>
                      <a:pt x="574453" y="0"/>
                    </a:cubicBezTo>
                    <a:lnTo>
                      <a:pt x="82963" y="0"/>
                    </a:lnTo>
                    <a:cubicBezTo>
                      <a:pt x="75724" y="0"/>
                      <a:pt x="69818" y="5906"/>
                      <a:pt x="69818" y="13145"/>
                    </a:cubicBezTo>
                    <a:lnTo>
                      <a:pt x="69818" y="630746"/>
                    </a:lnTo>
                    <a:lnTo>
                      <a:pt x="13144" y="630746"/>
                    </a:lnTo>
                    <a:cubicBezTo>
                      <a:pt x="5905" y="630746"/>
                      <a:pt x="0" y="636651"/>
                      <a:pt x="0" y="643890"/>
                    </a:cubicBezTo>
                    <a:cubicBezTo>
                      <a:pt x="0" y="651129"/>
                      <a:pt x="5905" y="657035"/>
                      <a:pt x="13144" y="657035"/>
                    </a:cubicBezTo>
                    <a:lnTo>
                      <a:pt x="644271" y="657035"/>
                    </a:lnTo>
                    <a:cubicBezTo>
                      <a:pt x="651510" y="657035"/>
                      <a:pt x="657416" y="651129"/>
                      <a:pt x="657416" y="643890"/>
                    </a:cubicBezTo>
                    <a:cubicBezTo>
                      <a:pt x="657416" y="636651"/>
                      <a:pt x="651510" y="630746"/>
                      <a:pt x="644271" y="630746"/>
                    </a:cubicBezTo>
                    <a:close/>
                    <a:moveTo>
                      <a:pt x="261938" y="628936"/>
                    </a:moveTo>
                    <a:lnTo>
                      <a:pt x="261938" y="469392"/>
                    </a:lnTo>
                    <a:lnTo>
                      <a:pt x="395573" y="469392"/>
                    </a:lnTo>
                    <a:lnTo>
                      <a:pt x="395573" y="628936"/>
                    </a:lnTo>
                    <a:lnTo>
                      <a:pt x="261938" y="628936"/>
                    </a:lnTo>
                    <a:close/>
                    <a:moveTo>
                      <a:pt x="421767" y="630746"/>
                    </a:moveTo>
                    <a:lnTo>
                      <a:pt x="421767" y="456248"/>
                    </a:lnTo>
                    <a:cubicBezTo>
                      <a:pt x="421767" y="449009"/>
                      <a:pt x="415862" y="443103"/>
                      <a:pt x="408623" y="443103"/>
                    </a:cubicBezTo>
                    <a:lnTo>
                      <a:pt x="248793" y="443103"/>
                    </a:lnTo>
                    <a:cubicBezTo>
                      <a:pt x="241554" y="443103"/>
                      <a:pt x="235649" y="449009"/>
                      <a:pt x="235649" y="456248"/>
                    </a:cubicBezTo>
                    <a:lnTo>
                      <a:pt x="235649" y="630746"/>
                    </a:lnTo>
                    <a:lnTo>
                      <a:pt x="96107" y="630746"/>
                    </a:lnTo>
                    <a:lnTo>
                      <a:pt x="96107" y="26289"/>
                    </a:lnTo>
                    <a:lnTo>
                      <a:pt x="561308" y="26289"/>
                    </a:lnTo>
                    <a:lnTo>
                      <a:pt x="561308" y="630746"/>
                    </a:lnTo>
                    <a:lnTo>
                      <a:pt x="421672" y="6307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1" name="Freeform: Shape 177">
                <a:extLst>
                  <a:ext uri="{FF2B5EF4-FFF2-40B4-BE49-F238E27FC236}">
                    <a16:creationId xmlns:a16="http://schemas.microsoft.com/office/drawing/2014/main" id="{8164397A-6726-E3C8-D658-EC28950524F8}"/>
                  </a:ext>
                </a:extLst>
              </p:cNvPr>
              <p:cNvSpPr/>
              <p:nvPr/>
            </p:nvSpPr>
            <p:spPr>
              <a:xfrm>
                <a:off x="8073946" y="2460888"/>
                <a:ext cx="149732" cy="149733"/>
              </a:xfrm>
              <a:custGeom>
                <a:avLst/>
                <a:gdLst>
                  <a:gd name="connsiteX0" fmla="*/ 136589 w 149732"/>
                  <a:gd name="connsiteY0" fmla="*/ 0 h 149733"/>
                  <a:gd name="connsiteX1" fmla="*/ 13145 w 149732"/>
                  <a:gd name="connsiteY1" fmla="*/ 0 h 149733"/>
                  <a:gd name="connsiteX2" fmla="*/ 0 w 149732"/>
                  <a:gd name="connsiteY2" fmla="*/ 13145 h 149733"/>
                  <a:gd name="connsiteX3" fmla="*/ 0 w 149732"/>
                  <a:gd name="connsiteY3" fmla="*/ 136589 h 149733"/>
                  <a:gd name="connsiteX4" fmla="*/ 13145 w 149732"/>
                  <a:gd name="connsiteY4" fmla="*/ 149733 h 149733"/>
                  <a:gd name="connsiteX5" fmla="*/ 136589 w 149732"/>
                  <a:gd name="connsiteY5" fmla="*/ 149733 h 149733"/>
                  <a:gd name="connsiteX6" fmla="*/ 149733 w 149732"/>
                  <a:gd name="connsiteY6" fmla="*/ 136589 h 149733"/>
                  <a:gd name="connsiteX7" fmla="*/ 149733 w 149732"/>
                  <a:gd name="connsiteY7" fmla="*/ 13145 h 149733"/>
                  <a:gd name="connsiteX8" fmla="*/ 136589 w 149732"/>
                  <a:gd name="connsiteY8" fmla="*/ 0 h 149733"/>
                  <a:gd name="connsiteX9" fmla="*/ 123444 w 149732"/>
                  <a:gd name="connsiteY9" fmla="*/ 123444 h 149733"/>
                  <a:gd name="connsiteX10" fmla="*/ 26289 w 149732"/>
                  <a:gd name="connsiteY10" fmla="*/ 123444 h 149733"/>
                  <a:gd name="connsiteX11" fmla="*/ 26289 w 149732"/>
                  <a:gd name="connsiteY11" fmla="*/ 26289 h 149733"/>
                  <a:gd name="connsiteX12" fmla="*/ 123444 w 149732"/>
                  <a:gd name="connsiteY12" fmla="*/ 26289 h 149733"/>
                  <a:gd name="connsiteX13" fmla="*/ 123444 w 149732"/>
                  <a:gd name="connsiteY13" fmla="*/ 123444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9732" h="149733">
                    <a:moveTo>
                      <a:pt x="136589" y="0"/>
                    </a:moveTo>
                    <a:lnTo>
                      <a:pt x="13145" y="0"/>
                    </a:lnTo>
                    <a:cubicBezTo>
                      <a:pt x="5906" y="0"/>
                      <a:pt x="0" y="5906"/>
                      <a:pt x="0" y="13145"/>
                    </a:cubicBezTo>
                    <a:lnTo>
                      <a:pt x="0" y="136589"/>
                    </a:lnTo>
                    <a:cubicBezTo>
                      <a:pt x="0" y="143828"/>
                      <a:pt x="5906" y="149733"/>
                      <a:pt x="13145" y="149733"/>
                    </a:cubicBezTo>
                    <a:lnTo>
                      <a:pt x="136589" y="149733"/>
                    </a:lnTo>
                    <a:cubicBezTo>
                      <a:pt x="143828" y="149733"/>
                      <a:pt x="149733" y="143828"/>
                      <a:pt x="149733" y="136589"/>
                    </a:cubicBezTo>
                    <a:lnTo>
                      <a:pt x="149733" y="13145"/>
                    </a:lnTo>
                    <a:cubicBezTo>
                      <a:pt x="149733" y="5906"/>
                      <a:pt x="143828" y="0"/>
                      <a:pt x="136589" y="0"/>
                    </a:cubicBezTo>
                    <a:close/>
                    <a:moveTo>
                      <a:pt x="123444" y="123444"/>
                    </a:moveTo>
                    <a:lnTo>
                      <a:pt x="26289" y="123444"/>
                    </a:lnTo>
                    <a:lnTo>
                      <a:pt x="26289" y="26289"/>
                    </a:lnTo>
                    <a:lnTo>
                      <a:pt x="123444" y="26289"/>
                    </a:lnTo>
                    <a:lnTo>
                      <a:pt x="123444" y="1234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2" name="Freeform: Shape 178">
                <a:extLst>
                  <a:ext uri="{FF2B5EF4-FFF2-40B4-BE49-F238E27FC236}">
                    <a16:creationId xmlns:a16="http://schemas.microsoft.com/office/drawing/2014/main" id="{59FD95AB-26A3-5315-71A2-B59EADA50FEC}"/>
                  </a:ext>
                </a:extLst>
              </p:cNvPr>
              <p:cNvSpPr/>
              <p:nvPr/>
            </p:nvSpPr>
            <p:spPr>
              <a:xfrm>
                <a:off x="8073946" y="2269816"/>
                <a:ext cx="149732" cy="149733"/>
              </a:xfrm>
              <a:custGeom>
                <a:avLst/>
                <a:gdLst>
                  <a:gd name="connsiteX0" fmla="*/ 136589 w 149732"/>
                  <a:gd name="connsiteY0" fmla="*/ 0 h 149733"/>
                  <a:gd name="connsiteX1" fmla="*/ 13145 w 149732"/>
                  <a:gd name="connsiteY1" fmla="*/ 0 h 149733"/>
                  <a:gd name="connsiteX2" fmla="*/ 0 w 149732"/>
                  <a:gd name="connsiteY2" fmla="*/ 13145 h 149733"/>
                  <a:gd name="connsiteX3" fmla="*/ 0 w 149732"/>
                  <a:gd name="connsiteY3" fmla="*/ 136589 h 149733"/>
                  <a:gd name="connsiteX4" fmla="*/ 13145 w 149732"/>
                  <a:gd name="connsiteY4" fmla="*/ 149733 h 149733"/>
                  <a:gd name="connsiteX5" fmla="*/ 136589 w 149732"/>
                  <a:gd name="connsiteY5" fmla="*/ 149733 h 149733"/>
                  <a:gd name="connsiteX6" fmla="*/ 149733 w 149732"/>
                  <a:gd name="connsiteY6" fmla="*/ 136589 h 149733"/>
                  <a:gd name="connsiteX7" fmla="*/ 149733 w 149732"/>
                  <a:gd name="connsiteY7" fmla="*/ 13145 h 149733"/>
                  <a:gd name="connsiteX8" fmla="*/ 136589 w 149732"/>
                  <a:gd name="connsiteY8" fmla="*/ 0 h 149733"/>
                  <a:gd name="connsiteX9" fmla="*/ 123444 w 149732"/>
                  <a:gd name="connsiteY9" fmla="*/ 123444 h 149733"/>
                  <a:gd name="connsiteX10" fmla="*/ 26289 w 149732"/>
                  <a:gd name="connsiteY10" fmla="*/ 123444 h 149733"/>
                  <a:gd name="connsiteX11" fmla="*/ 26289 w 149732"/>
                  <a:gd name="connsiteY11" fmla="*/ 26289 h 149733"/>
                  <a:gd name="connsiteX12" fmla="*/ 123444 w 149732"/>
                  <a:gd name="connsiteY12" fmla="*/ 26289 h 149733"/>
                  <a:gd name="connsiteX13" fmla="*/ 123444 w 149732"/>
                  <a:gd name="connsiteY13" fmla="*/ 123444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9732" h="149733">
                    <a:moveTo>
                      <a:pt x="136589" y="0"/>
                    </a:moveTo>
                    <a:lnTo>
                      <a:pt x="13145" y="0"/>
                    </a:lnTo>
                    <a:cubicBezTo>
                      <a:pt x="5906" y="0"/>
                      <a:pt x="0" y="5906"/>
                      <a:pt x="0" y="13145"/>
                    </a:cubicBezTo>
                    <a:lnTo>
                      <a:pt x="0" y="136589"/>
                    </a:lnTo>
                    <a:cubicBezTo>
                      <a:pt x="0" y="143828"/>
                      <a:pt x="5906" y="149733"/>
                      <a:pt x="13145" y="149733"/>
                    </a:cubicBezTo>
                    <a:lnTo>
                      <a:pt x="136589" y="149733"/>
                    </a:lnTo>
                    <a:cubicBezTo>
                      <a:pt x="143828" y="149733"/>
                      <a:pt x="149733" y="143828"/>
                      <a:pt x="149733" y="136589"/>
                    </a:cubicBezTo>
                    <a:lnTo>
                      <a:pt x="149733" y="13145"/>
                    </a:lnTo>
                    <a:cubicBezTo>
                      <a:pt x="149733" y="5906"/>
                      <a:pt x="143828" y="0"/>
                      <a:pt x="136589" y="0"/>
                    </a:cubicBezTo>
                    <a:close/>
                    <a:moveTo>
                      <a:pt x="123444" y="123444"/>
                    </a:moveTo>
                    <a:lnTo>
                      <a:pt x="26289" y="123444"/>
                    </a:lnTo>
                    <a:lnTo>
                      <a:pt x="26289" y="26289"/>
                    </a:lnTo>
                    <a:lnTo>
                      <a:pt x="123444" y="26289"/>
                    </a:lnTo>
                    <a:lnTo>
                      <a:pt x="123444" y="1234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3" name="Freeform: Shape 179">
                <a:extLst>
                  <a:ext uri="{FF2B5EF4-FFF2-40B4-BE49-F238E27FC236}">
                    <a16:creationId xmlns:a16="http://schemas.microsoft.com/office/drawing/2014/main" id="{DC9FF7C1-3777-CFC3-8896-66E21870F50D}"/>
                  </a:ext>
                </a:extLst>
              </p:cNvPr>
              <p:cNvSpPr/>
              <p:nvPr/>
            </p:nvSpPr>
            <p:spPr>
              <a:xfrm>
                <a:off x="8295878" y="2460888"/>
                <a:ext cx="149732" cy="149733"/>
              </a:xfrm>
              <a:custGeom>
                <a:avLst/>
                <a:gdLst>
                  <a:gd name="connsiteX0" fmla="*/ 136589 w 149732"/>
                  <a:gd name="connsiteY0" fmla="*/ 0 h 149733"/>
                  <a:gd name="connsiteX1" fmla="*/ 13144 w 149732"/>
                  <a:gd name="connsiteY1" fmla="*/ 0 h 149733"/>
                  <a:gd name="connsiteX2" fmla="*/ 0 w 149732"/>
                  <a:gd name="connsiteY2" fmla="*/ 13145 h 149733"/>
                  <a:gd name="connsiteX3" fmla="*/ 0 w 149732"/>
                  <a:gd name="connsiteY3" fmla="*/ 136589 h 149733"/>
                  <a:gd name="connsiteX4" fmla="*/ 13144 w 149732"/>
                  <a:gd name="connsiteY4" fmla="*/ 149733 h 149733"/>
                  <a:gd name="connsiteX5" fmla="*/ 136589 w 149732"/>
                  <a:gd name="connsiteY5" fmla="*/ 149733 h 149733"/>
                  <a:gd name="connsiteX6" fmla="*/ 149733 w 149732"/>
                  <a:gd name="connsiteY6" fmla="*/ 136589 h 149733"/>
                  <a:gd name="connsiteX7" fmla="*/ 149733 w 149732"/>
                  <a:gd name="connsiteY7" fmla="*/ 13145 h 149733"/>
                  <a:gd name="connsiteX8" fmla="*/ 136589 w 149732"/>
                  <a:gd name="connsiteY8" fmla="*/ 0 h 149733"/>
                  <a:gd name="connsiteX9" fmla="*/ 123444 w 149732"/>
                  <a:gd name="connsiteY9" fmla="*/ 123444 h 149733"/>
                  <a:gd name="connsiteX10" fmla="*/ 26289 w 149732"/>
                  <a:gd name="connsiteY10" fmla="*/ 123444 h 149733"/>
                  <a:gd name="connsiteX11" fmla="*/ 26289 w 149732"/>
                  <a:gd name="connsiteY11" fmla="*/ 26289 h 149733"/>
                  <a:gd name="connsiteX12" fmla="*/ 123444 w 149732"/>
                  <a:gd name="connsiteY12" fmla="*/ 26289 h 149733"/>
                  <a:gd name="connsiteX13" fmla="*/ 123444 w 149732"/>
                  <a:gd name="connsiteY13" fmla="*/ 123444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9732" h="149733">
                    <a:moveTo>
                      <a:pt x="136589" y="0"/>
                    </a:moveTo>
                    <a:lnTo>
                      <a:pt x="13144" y="0"/>
                    </a:lnTo>
                    <a:cubicBezTo>
                      <a:pt x="5905" y="0"/>
                      <a:pt x="0" y="5906"/>
                      <a:pt x="0" y="13145"/>
                    </a:cubicBezTo>
                    <a:lnTo>
                      <a:pt x="0" y="136589"/>
                    </a:lnTo>
                    <a:cubicBezTo>
                      <a:pt x="0" y="143828"/>
                      <a:pt x="5905" y="149733"/>
                      <a:pt x="13144" y="149733"/>
                    </a:cubicBezTo>
                    <a:lnTo>
                      <a:pt x="136589" y="149733"/>
                    </a:lnTo>
                    <a:cubicBezTo>
                      <a:pt x="143827" y="149733"/>
                      <a:pt x="149733" y="143828"/>
                      <a:pt x="149733" y="136589"/>
                    </a:cubicBezTo>
                    <a:lnTo>
                      <a:pt x="149733" y="13145"/>
                    </a:lnTo>
                    <a:cubicBezTo>
                      <a:pt x="149733" y="5906"/>
                      <a:pt x="143827" y="0"/>
                      <a:pt x="136589" y="0"/>
                    </a:cubicBezTo>
                    <a:close/>
                    <a:moveTo>
                      <a:pt x="123444" y="123444"/>
                    </a:moveTo>
                    <a:lnTo>
                      <a:pt x="26289" y="123444"/>
                    </a:lnTo>
                    <a:lnTo>
                      <a:pt x="26289" y="26289"/>
                    </a:lnTo>
                    <a:lnTo>
                      <a:pt x="123444" y="26289"/>
                    </a:lnTo>
                    <a:lnTo>
                      <a:pt x="123444" y="1234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4" name="Freeform: Shape 180">
                <a:extLst>
                  <a:ext uri="{FF2B5EF4-FFF2-40B4-BE49-F238E27FC236}">
                    <a16:creationId xmlns:a16="http://schemas.microsoft.com/office/drawing/2014/main" id="{5B5E2964-81D2-C590-1038-ED35264EEBB6}"/>
                  </a:ext>
                </a:extLst>
              </p:cNvPr>
              <p:cNvSpPr/>
              <p:nvPr/>
            </p:nvSpPr>
            <p:spPr>
              <a:xfrm>
                <a:off x="8295878" y="2269816"/>
                <a:ext cx="149732" cy="149733"/>
              </a:xfrm>
              <a:custGeom>
                <a:avLst/>
                <a:gdLst>
                  <a:gd name="connsiteX0" fmla="*/ 136589 w 149732"/>
                  <a:gd name="connsiteY0" fmla="*/ 0 h 149733"/>
                  <a:gd name="connsiteX1" fmla="*/ 13144 w 149732"/>
                  <a:gd name="connsiteY1" fmla="*/ 0 h 149733"/>
                  <a:gd name="connsiteX2" fmla="*/ 0 w 149732"/>
                  <a:gd name="connsiteY2" fmla="*/ 13145 h 149733"/>
                  <a:gd name="connsiteX3" fmla="*/ 0 w 149732"/>
                  <a:gd name="connsiteY3" fmla="*/ 136589 h 149733"/>
                  <a:gd name="connsiteX4" fmla="*/ 13144 w 149732"/>
                  <a:gd name="connsiteY4" fmla="*/ 149733 h 149733"/>
                  <a:gd name="connsiteX5" fmla="*/ 136589 w 149732"/>
                  <a:gd name="connsiteY5" fmla="*/ 149733 h 149733"/>
                  <a:gd name="connsiteX6" fmla="*/ 149733 w 149732"/>
                  <a:gd name="connsiteY6" fmla="*/ 136589 h 149733"/>
                  <a:gd name="connsiteX7" fmla="*/ 149733 w 149732"/>
                  <a:gd name="connsiteY7" fmla="*/ 13145 h 149733"/>
                  <a:gd name="connsiteX8" fmla="*/ 136589 w 149732"/>
                  <a:gd name="connsiteY8" fmla="*/ 0 h 149733"/>
                  <a:gd name="connsiteX9" fmla="*/ 123444 w 149732"/>
                  <a:gd name="connsiteY9" fmla="*/ 123444 h 149733"/>
                  <a:gd name="connsiteX10" fmla="*/ 26289 w 149732"/>
                  <a:gd name="connsiteY10" fmla="*/ 123444 h 149733"/>
                  <a:gd name="connsiteX11" fmla="*/ 26289 w 149732"/>
                  <a:gd name="connsiteY11" fmla="*/ 26289 h 149733"/>
                  <a:gd name="connsiteX12" fmla="*/ 123444 w 149732"/>
                  <a:gd name="connsiteY12" fmla="*/ 26289 h 149733"/>
                  <a:gd name="connsiteX13" fmla="*/ 123444 w 149732"/>
                  <a:gd name="connsiteY13" fmla="*/ 123444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9732" h="149733">
                    <a:moveTo>
                      <a:pt x="136589" y="0"/>
                    </a:moveTo>
                    <a:lnTo>
                      <a:pt x="13144" y="0"/>
                    </a:lnTo>
                    <a:cubicBezTo>
                      <a:pt x="5905" y="0"/>
                      <a:pt x="0" y="5906"/>
                      <a:pt x="0" y="13145"/>
                    </a:cubicBezTo>
                    <a:lnTo>
                      <a:pt x="0" y="136589"/>
                    </a:lnTo>
                    <a:cubicBezTo>
                      <a:pt x="0" y="143828"/>
                      <a:pt x="5905" y="149733"/>
                      <a:pt x="13144" y="149733"/>
                    </a:cubicBezTo>
                    <a:lnTo>
                      <a:pt x="136589" y="149733"/>
                    </a:lnTo>
                    <a:cubicBezTo>
                      <a:pt x="143827" y="149733"/>
                      <a:pt x="149733" y="143828"/>
                      <a:pt x="149733" y="136589"/>
                    </a:cubicBezTo>
                    <a:lnTo>
                      <a:pt x="149733" y="13145"/>
                    </a:lnTo>
                    <a:cubicBezTo>
                      <a:pt x="149733" y="5906"/>
                      <a:pt x="143827" y="0"/>
                      <a:pt x="136589" y="0"/>
                    </a:cubicBezTo>
                    <a:close/>
                    <a:moveTo>
                      <a:pt x="123444" y="123444"/>
                    </a:moveTo>
                    <a:lnTo>
                      <a:pt x="26289" y="123444"/>
                    </a:lnTo>
                    <a:lnTo>
                      <a:pt x="26289" y="26289"/>
                    </a:lnTo>
                    <a:lnTo>
                      <a:pt x="123444" y="26289"/>
                    </a:lnTo>
                    <a:lnTo>
                      <a:pt x="123444" y="1234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" name="Freeform: Shape 193">
              <a:extLst>
                <a:ext uri="{FF2B5EF4-FFF2-40B4-BE49-F238E27FC236}">
                  <a16:creationId xmlns:a16="http://schemas.microsoft.com/office/drawing/2014/main" id="{21852414-5D90-F99F-01E7-C522DE5CAECB}"/>
                </a:ext>
              </a:extLst>
            </p:cNvPr>
            <p:cNvSpPr/>
            <p:nvPr/>
          </p:nvSpPr>
          <p:spPr>
            <a:xfrm>
              <a:off x="10748983" y="5573853"/>
              <a:ext cx="440804" cy="441492"/>
            </a:xfrm>
            <a:custGeom>
              <a:avLst/>
              <a:gdLst>
                <a:gd name="connsiteX0" fmla="*/ 650792 w 655869"/>
                <a:gd name="connsiteY0" fmla="*/ 245888 h 656891"/>
                <a:gd name="connsiteX1" fmla="*/ 335990 w 655869"/>
                <a:gd name="connsiteY1" fmla="*/ 2715 h 656891"/>
                <a:gd name="connsiteX2" fmla="*/ 319893 w 655869"/>
                <a:gd name="connsiteY2" fmla="*/ 2715 h 656891"/>
                <a:gd name="connsiteX3" fmla="*/ 5092 w 655869"/>
                <a:gd name="connsiteY3" fmla="*/ 245888 h 656891"/>
                <a:gd name="connsiteX4" fmla="*/ 710 w 655869"/>
                <a:gd name="connsiteY4" fmla="*/ 260556 h 656891"/>
                <a:gd name="connsiteX5" fmla="*/ 13188 w 655869"/>
                <a:gd name="connsiteY5" fmla="*/ 269415 h 656891"/>
                <a:gd name="connsiteX6" fmla="*/ 115868 w 655869"/>
                <a:gd name="connsiteY6" fmla="*/ 269415 h 656891"/>
                <a:gd name="connsiteX7" fmla="*/ 115868 w 655869"/>
                <a:gd name="connsiteY7" fmla="*/ 643747 h 656891"/>
                <a:gd name="connsiteX8" fmla="*/ 129012 w 655869"/>
                <a:gd name="connsiteY8" fmla="*/ 656892 h 656891"/>
                <a:gd name="connsiteX9" fmla="*/ 244836 w 655869"/>
                <a:gd name="connsiteY9" fmla="*/ 656892 h 656891"/>
                <a:gd name="connsiteX10" fmla="*/ 257981 w 655869"/>
                <a:gd name="connsiteY10" fmla="*/ 643747 h 656891"/>
                <a:gd name="connsiteX11" fmla="*/ 257981 w 655869"/>
                <a:gd name="connsiteY11" fmla="*/ 451342 h 656891"/>
                <a:gd name="connsiteX12" fmla="*/ 398379 w 655869"/>
                <a:gd name="connsiteY12" fmla="*/ 451342 h 656891"/>
                <a:gd name="connsiteX13" fmla="*/ 398379 w 655869"/>
                <a:gd name="connsiteY13" fmla="*/ 643747 h 656891"/>
                <a:gd name="connsiteX14" fmla="*/ 411524 w 655869"/>
                <a:gd name="connsiteY14" fmla="*/ 656892 h 656891"/>
                <a:gd name="connsiteX15" fmla="*/ 527348 w 655869"/>
                <a:gd name="connsiteY15" fmla="*/ 656892 h 656891"/>
                <a:gd name="connsiteX16" fmla="*/ 540492 w 655869"/>
                <a:gd name="connsiteY16" fmla="*/ 643747 h 656891"/>
                <a:gd name="connsiteX17" fmla="*/ 540492 w 655869"/>
                <a:gd name="connsiteY17" fmla="*/ 269510 h 656891"/>
                <a:gd name="connsiteX18" fmla="*/ 642695 w 655869"/>
                <a:gd name="connsiteY18" fmla="*/ 269510 h 656891"/>
                <a:gd name="connsiteX19" fmla="*/ 655173 w 655869"/>
                <a:gd name="connsiteY19" fmla="*/ 260652 h 656891"/>
                <a:gd name="connsiteX20" fmla="*/ 650792 w 655869"/>
                <a:gd name="connsiteY20" fmla="*/ 245983 h 656891"/>
                <a:gd name="connsiteX21" fmla="*/ 514298 w 655869"/>
                <a:gd name="connsiteY21" fmla="*/ 630603 h 656891"/>
                <a:gd name="connsiteX22" fmla="*/ 424763 w 655869"/>
                <a:gd name="connsiteY22" fmla="*/ 630603 h 656891"/>
                <a:gd name="connsiteX23" fmla="*/ 424763 w 655869"/>
                <a:gd name="connsiteY23" fmla="*/ 438198 h 656891"/>
                <a:gd name="connsiteX24" fmla="*/ 411619 w 655869"/>
                <a:gd name="connsiteY24" fmla="*/ 425053 h 656891"/>
                <a:gd name="connsiteX25" fmla="*/ 244836 w 655869"/>
                <a:gd name="connsiteY25" fmla="*/ 425053 h 656891"/>
                <a:gd name="connsiteX26" fmla="*/ 231692 w 655869"/>
                <a:gd name="connsiteY26" fmla="*/ 438198 h 656891"/>
                <a:gd name="connsiteX27" fmla="*/ 231692 w 655869"/>
                <a:gd name="connsiteY27" fmla="*/ 630603 h 656891"/>
                <a:gd name="connsiteX28" fmla="*/ 142157 w 655869"/>
                <a:gd name="connsiteY28" fmla="*/ 630603 h 656891"/>
                <a:gd name="connsiteX29" fmla="*/ 142157 w 655869"/>
                <a:gd name="connsiteY29" fmla="*/ 269986 h 656891"/>
                <a:gd name="connsiteX30" fmla="*/ 514298 w 655869"/>
                <a:gd name="connsiteY30" fmla="*/ 269986 h 656891"/>
                <a:gd name="connsiteX31" fmla="*/ 514298 w 655869"/>
                <a:gd name="connsiteY31" fmla="*/ 630603 h 656891"/>
                <a:gd name="connsiteX32" fmla="*/ 51669 w 655869"/>
                <a:gd name="connsiteY32" fmla="*/ 243221 h 656891"/>
                <a:gd name="connsiteX33" fmla="*/ 327894 w 655869"/>
                <a:gd name="connsiteY33" fmla="*/ 29766 h 656891"/>
                <a:gd name="connsiteX34" fmla="*/ 604215 w 655869"/>
                <a:gd name="connsiteY34" fmla="*/ 243221 h 656891"/>
                <a:gd name="connsiteX35" fmla="*/ 51669 w 655869"/>
                <a:gd name="connsiteY35" fmla="*/ 243221 h 656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55869" h="656891">
                  <a:moveTo>
                    <a:pt x="650792" y="245888"/>
                  </a:moveTo>
                  <a:lnTo>
                    <a:pt x="335990" y="2715"/>
                  </a:lnTo>
                  <a:cubicBezTo>
                    <a:pt x="331228" y="-905"/>
                    <a:pt x="324656" y="-905"/>
                    <a:pt x="319893" y="2715"/>
                  </a:cubicBezTo>
                  <a:lnTo>
                    <a:pt x="5092" y="245888"/>
                  </a:lnTo>
                  <a:cubicBezTo>
                    <a:pt x="615" y="249317"/>
                    <a:pt x="-1099" y="255222"/>
                    <a:pt x="710" y="260556"/>
                  </a:cubicBezTo>
                  <a:cubicBezTo>
                    <a:pt x="2520" y="265890"/>
                    <a:pt x="7568" y="269415"/>
                    <a:pt x="13188" y="269415"/>
                  </a:cubicBezTo>
                  <a:lnTo>
                    <a:pt x="115868" y="269415"/>
                  </a:lnTo>
                  <a:lnTo>
                    <a:pt x="115868" y="643747"/>
                  </a:lnTo>
                  <a:cubicBezTo>
                    <a:pt x="115868" y="650986"/>
                    <a:pt x="121773" y="656892"/>
                    <a:pt x="129012" y="656892"/>
                  </a:cubicBezTo>
                  <a:lnTo>
                    <a:pt x="244836" y="656892"/>
                  </a:lnTo>
                  <a:cubicBezTo>
                    <a:pt x="252075" y="656892"/>
                    <a:pt x="257981" y="650986"/>
                    <a:pt x="257981" y="643747"/>
                  </a:cubicBezTo>
                  <a:lnTo>
                    <a:pt x="257981" y="451342"/>
                  </a:lnTo>
                  <a:lnTo>
                    <a:pt x="398379" y="451342"/>
                  </a:lnTo>
                  <a:lnTo>
                    <a:pt x="398379" y="643747"/>
                  </a:lnTo>
                  <a:cubicBezTo>
                    <a:pt x="398379" y="650986"/>
                    <a:pt x="404285" y="656892"/>
                    <a:pt x="411524" y="656892"/>
                  </a:cubicBezTo>
                  <a:lnTo>
                    <a:pt x="527348" y="656892"/>
                  </a:lnTo>
                  <a:cubicBezTo>
                    <a:pt x="534587" y="656892"/>
                    <a:pt x="540492" y="650986"/>
                    <a:pt x="540492" y="643747"/>
                  </a:cubicBezTo>
                  <a:lnTo>
                    <a:pt x="540492" y="269510"/>
                  </a:lnTo>
                  <a:lnTo>
                    <a:pt x="642695" y="269510"/>
                  </a:lnTo>
                  <a:cubicBezTo>
                    <a:pt x="648315" y="269510"/>
                    <a:pt x="653363" y="265890"/>
                    <a:pt x="655173" y="260652"/>
                  </a:cubicBezTo>
                  <a:cubicBezTo>
                    <a:pt x="656983" y="255318"/>
                    <a:pt x="655173" y="249412"/>
                    <a:pt x="650792" y="245983"/>
                  </a:cubicBezTo>
                  <a:close/>
                  <a:moveTo>
                    <a:pt x="514298" y="630603"/>
                  </a:moveTo>
                  <a:lnTo>
                    <a:pt x="424763" y="630603"/>
                  </a:lnTo>
                  <a:lnTo>
                    <a:pt x="424763" y="438198"/>
                  </a:lnTo>
                  <a:cubicBezTo>
                    <a:pt x="424763" y="430959"/>
                    <a:pt x="418858" y="425053"/>
                    <a:pt x="411619" y="425053"/>
                  </a:cubicBezTo>
                  <a:lnTo>
                    <a:pt x="244836" y="425053"/>
                  </a:lnTo>
                  <a:cubicBezTo>
                    <a:pt x="237597" y="425053"/>
                    <a:pt x="231692" y="430959"/>
                    <a:pt x="231692" y="438198"/>
                  </a:cubicBezTo>
                  <a:lnTo>
                    <a:pt x="231692" y="630603"/>
                  </a:lnTo>
                  <a:lnTo>
                    <a:pt x="142157" y="630603"/>
                  </a:lnTo>
                  <a:lnTo>
                    <a:pt x="142157" y="269986"/>
                  </a:lnTo>
                  <a:lnTo>
                    <a:pt x="514298" y="269986"/>
                  </a:lnTo>
                  <a:lnTo>
                    <a:pt x="514298" y="630603"/>
                  </a:lnTo>
                  <a:close/>
                  <a:moveTo>
                    <a:pt x="51669" y="243221"/>
                  </a:moveTo>
                  <a:lnTo>
                    <a:pt x="327894" y="29766"/>
                  </a:lnTo>
                  <a:lnTo>
                    <a:pt x="604215" y="243221"/>
                  </a:lnTo>
                  <a:lnTo>
                    <a:pt x="51669" y="24322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grpSp>
          <p:nvGrpSpPr>
            <p:cNvPr id="26" name="Graphic 16">
              <a:extLst>
                <a:ext uri="{FF2B5EF4-FFF2-40B4-BE49-F238E27FC236}">
                  <a16:creationId xmlns:a16="http://schemas.microsoft.com/office/drawing/2014/main" id="{343A1775-445E-B03E-B5D6-D992F665077C}"/>
                </a:ext>
              </a:extLst>
            </p:cNvPr>
            <p:cNvGrpSpPr/>
            <p:nvPr/>
          </p:nvGrpSpPr>
          <p:grpSpPr>
            <a:xfrm>
              <a:off x="9438838" y="5573850"/>
              <a:ext cx="440840" cy="441498"/>
              <a:chOff x="5849916" y="2104736"/>
              <a:chExt cx="655922" cy="656899"/>
            </a:xfrm>
            <a:solidFill>
              <a:schemeClr val="bg1"/>
            </a:solidFill>
          </p:grpSpPr>
          <p:sp>
            <p:nvSpPr>
              <p:cNvPr id="27" name="Freeform: Shape 187">
                <a:extLst>
                  <a:ext uri="{FF2B5EF4-FFF2-40B4-BE49-F238E27FC236}">
                    <a16:creationId xmlns:a16="http://schemas.microsoft.com/office/drawing/2014/main" id="{019DA3A1-A50A-F6BB-ECBE-F7229E4574CA}"/>
                  </a:ext>
                </a:extLst>
              </p:cNvPr>
              <p:cNvSpPr/>
              <p:nvPr/>
            </p:nvSpPr>
            <p:spPr>
              <a:xfrm>
                <a:off x="5849916" y="2288724"/>
                <a:ext cx="193928" cy="472911"/>
              </a:xfrm>
              <a:custGeom>
                <a:avLst/>
                <a:gdLst>
                  <a:gd name="connsiteX0" fmla="*/ 186500 w 193928"/>
                  <a:gd name="connsiteY0" fmla="*/ 83054 h 472911"/>
                  <a:gd name="connsiteX1" fmla="*/ 18955 w 193928"/>
                  <a:gd name="connsiteY1" fmla="*/ 1329 h 472911"/>
                  <a:gd name="connsiteX2" fmla="*/ 6191 w 193928"/>
                  <a:gd name="connsiteY2" fmla="*/ 1996 h 472911"/>
                  <a:gd name="connsiteX3" fmla="*/ 0 w 193928"/>
                  <a:gd name="connsiteY3" fmla="*/ 13140 h 472911"/>
                  <a:gd name="connsiteX4" fmla="*/ 0 w 193928"/>
                  <a:gd name="connsiteY4" fmla="*/ 459767 h 472911"/>
                  <a:gd name="connsiteX5" fmla="*/ 13145 w 193928"/>
                  <a:gd name="connsiteY5" fmla="*/ 472912 h 472911"/>
                  <a:gd name="connsiteX6" fmla="*/ 180785 w 193928"/>
                  <a:gd name="connsiteY6" fmla="*/ 472912 h 472911"/>
                  <a:gd name="connsiteX7" fmla="*/ 193929 w 193928"/>
                  <a:gd name="connsiteY7" fmla="*/ 459767 h 472911"/>
                  <a:gd name="connsiteX8" fmla="*/ 193929 w 193928"/>
                  <a:gd name="connsiteY8" fmla="*/ 94865 h 472911"/>
                  <a:gd name="connsiteX9" fmla="*/ 186595 w 193928"/>
                  <a:gd name="connsiteY9" fmla="*/ 83054 h 472911"/>
                  <a:gd name="connsiteX10" fmla="*/ 167640 w 193928"/>
                  <a:gd name="connsiteY10" fmla="*/ 103056 h 472911"/>
                  <a:gd name="connsiteX11" fmla="*/ 167640 w 193928"/>
                  <a:gd name="connsiteY11" fmla="*/ 162206 h 472911"/>
                  <a:gd name="connsiteX12" fmla="*/ 26289 w 193928"/>
                  <a:gd name="connsiteY12" fmla="*/ 162206 h 472911"/>
                  <a:gd name="connsiteX13" fmla="*/ 26289 w 193928"/>
                  <a:gd name="connsiteY13" fmla="*/ 34095 h 472911"/>
                  <a:gd name="connsiteX14" fmla="*/ 167640 w 193928"/>
                  <a:gd name="connsiteY14" fmla="*/ 103056 h 472911"/>
                  <a:gd name="connsiteX15" fmla="*/ 26289 w 193928"/>
                  <a:gd name="connsiteY15" fmla="*/ 446623 h 472911"/>
                  <a:gd name="connsiteX16" fmla="*/ 26289 w 193928"/>
                  <a:gd name="connsiteY16" fmla="*/ 188495 h 472911"/>
                  <a:gd name="connsiteX17" fmla="*/ 167640 w 193928"/>
                  <a:gd name="connsiteY17" fmla="*/ 188495 h 472911"/>
                  <a:gd name="connsiteX18" fmla="*/ 167640 w 193928"/>
                  <a:gd name="connsiteY18" fmla="*/ 446623 h 472911"/>
                  <a:gd name="connsiteX19" fmla="*/ 26289 w 193928"/>
                  <a:gd name="connsiteY19" fmla="*/ 446623 h 472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3928" h="472911">
                    <a:moveTo>
                      <a:pt x="186500" y="83054"/>
                    </a:moveTo>
                    <a:lnTo>
                      <a:pt x="18955" y="1329"/>
                    </a:lnTo>
                    <a:cubicBezTo>
                      <a:pt x="14859" y="-671"/>
                      <a:pt x="10097" y="-385"/>
                      <a:pt x="6191" y="1996"/>
                    </a:cubicBezTo>
                    <a:cubicBezTo>
                      <a:pt x="2381" y="4377"/>
                      <a:pt x="0" y="8568"/>
                      <a:pt x="0" y="13140"/>
                    </a:cubicBezTo>
                    <a:lnTo>
                      <a:pt x="0" y="459767"/>
                    </a:lnTo>
                    <a:cubicBezTo>
                      <a:pt x="0" y="467006"/>
                      <a:pt x="5906" y="472912"/>
                      <a:pt x="13145" y="472912"/>
                    </a:cubicBezTo>
                    <a:lnTo>
                      <a:pt x="180785" y="472912"/>
                    </a:lnTo>
                    <a:cubicBezTo>
                      <a:pt x="188024" y="472912"/>
                      <a:pt x="193929" y="467006"/>
                      <a:pt x="193929" y="459767"/>
                    </a:cubicBezTo>
                    <a:lnTo>
                      <a:pt x="193929" y="94865"/>
                    </a:lnTo>
                    <a:cubicBezTo>
                      <a:pt x="193929" y="89816"/>
                      <a:pt x="191072" y="85244"/>
                      <a:pt x="186595" y="83054"/>
                    </a:cubicBezTo>
                    <a:close/>
                    <a:moveTo>
                      <a:pt x="167640" y="103056"/>
                    </a:moveTo>
                    <a:lnTo>
                      <a:pt x="167640" y="162206"/>
                    </a:lnTo>
                    <a:lnTo>
                      <a:pt x="26289" y="162206"/>
                    </a:lnTo>
                    <a:lnTo>
                      <a:pt x="26289" y="34095"/>
                    </a:lnTo>
                    <a:lnTo>
                      <a:pt x="167640" y="103056"/>
                    </a:lnTo>
                    <a:close/>
                    <a:moveTo>
                      <a:pt x="26289" y="446623"/>
                    </a:moveTo>
                    <a:lnTo>
                      <a:pt x="26289" y="188495"/>
                    </a:lnTo>
                    <a:lnTo>
                      <a:pt x="167640" y="188495"/>
                    </a:lnTo>
                    <a:lnTo>
                      <a:pt x="167640" y="446623"/>
                    </a:lnTo>
                    <a:lnTo>
                      <a:pt x="26289" y="44662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reeform: Shape 188">
                <a:extLst>
                  <a:ext uri="{FF2B5EF4-FFF2-40B4-BE49-F238E27FC236}">
                    <a16:creationId xmlns:a16="http://schemas.microsoft.com/office/drawing/2014/main" id="{3FEB77F8-83E3-501A-0DA2-1F6F4AD6645A}"/>
                  </a:ext>
                </a:extLst>
              </p:cNvPr>
              <p:cNvSpPr/>
              <p:nvPr/>
            </p:nvSpPr>
            <p:spPr>
              <a:xfrm>
                <a:off x="6080516" y="2288724"/>
                <a:ext cx="193929" cy="472911"/>
              </a:xfrm>
              <a:custGeom>
                <a:avLst/>
                <a:gdLst>
                  <a:gd name="connsiteX0" fmla="*/ 186595 w 193929"/>
                  <a:gd name="connsiteY0" fmla="*/ 83054 h 472911"/>
                  <a:gd name="connsiteX1" fmla="*/ 18955 w 193929"/>
                  <a:gd name="connsiteY1" fmla="*/ 1329 h 472911"/>
                  <a:gd name="connsiteX2" fmla="*/ 6191 w 193929"/>
                  <a:gd name="connsiteY2" fmla="*/ 1996 h 472911"/>
                  <a:gd name="connsiteX3" fmla="*/ 0 w 193929"/>
                  <a:gd name="connsiteY3" fmla="*/ 13140 h 472911"/>
                  <a:gd name="connsiteX4" fmla="*/ 0 w 193929"/>
                  <a:gd name="connsiteY4" fmla="*/ 459767 h 472911"/>
                  <a:gd name="connsiteX5" fmla="*/ 13145 w 193929"/>
                  <a:gd name="connsiteY5" fmla="*/ 472912 h 472911"/>
                  <a:gd name="connsiteX6" fmla="*/ 180785 w 193929"/>
                  <a:gd name="connsiteY6" fmla="*/ 472912 h 472911"/>
                  <a:gd name="connsiteX7" fmla="*/ 193929 w 193929"/>
                  <a:gd name="connsiteY7" fmla="*/ 459767 h 472911"/>
                  <a:gd name="connsiteX8" fmla="*/ 193929 w 193929"/>
                  <a:gd name="connsiteY8" fmla="*/ 94865 h 472911"/>
                  <a:gd name="connsiteX9" fmla="*/ 186595 w 193929"/>
                  <a:gd name="connsiteY9" fmla="*/ 83054 h 472911"/>
                  <a:gd name="connsiteX10" fmla="*/ 167735 w 193929"/>
                  <a:gd name="connsiteY10" fmla="*/ 103056 h 472911"/>
                  <a:gd name="connsiteX11" fmla="*/ 167735 w 193929"/>
                  <a:gd name="connsiteY11" fmla="*/ 162206 h 472911"/>
                  <a:gd name="connsiteX12" fmla="*/ 26384 w 193929"/>
                  <a:gd name="connsiteY12" fmla="*/ 162206 h 472911"/>
                  <a:gd name="connsiteX13" fmla="*/ 26384 w 193929"/>
                  <a:gd name="connsiteY13" fmla="*/ 34095 h 472911"/>
                  <a:gd name="connsiteX14" fmla="*/ 167735 w 193929"/>
                  <a:gd name="connsiteY14" fmla="*/ 103056 h 472911"/>
                  <a:gd name="connsiteX15" fmla="*/ 26384 w 193929"/>
                  <a:gd name="connsiteY15" fmla="*/ 446623 h 472911"/>
                  <a:gd name="connsiteX16" fmla="*/ 26384 w 193929"/>
                  <a:gd name="connsiteY16" fmla="*/ 188495 h 472911"/>
                  <a:gd name="connsiteX17" fmla="*/ 167735 w 193929"/>
                  <a:gd name="connsiteY17" fmla="*/ 188495 h 472911"/>
                  <a:gd name="connsiteX18" fmla="*/ 167735 w 193929"/>
                  <a:gd name="connsiteY18" fmla="*/ 446623 h 472911"/>
                  <a:gd name="connsiteX19" fmla="*/ 26384 w 193929"/>
                  <a:gd name="connsiteY19" fmla="*/ 446623 h 472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3929" h="472911">
                    <a:moveTo>
                      <a:pt x="186595" y="83054"/>
                    </a:moveTo>
                    <a:lnTo>
                      <a:pt x="18955" y="1329"/>
                    </a:lnTo>
                    <a:cubicBezTo>
                      <a:pt x="14859" y="-671"/>
                      <a:pt x="10096" y="-385"/>
                      <a:pt x="6191" y="1996"/>
                    </a:cubicBezTo>
                    <a:cubicBezTo>
                      <a:pt x="2381" y="4377"/>
                      <a:pt x="0" y="8568"/>
                      <a:pt x="0" y="13140"/>
                    </a:cubicBezTo>
                    <a:lnTo>
                      <a:pt x="0" y="459767"/>
                    </a:lnTo>
                    <a:cubicBezTo>
                      <a:pt x="0" y="467006"/>
                      <a:pt x="5906" y="472912"/>
                      <a:pt x="13145" y="472912"/>
                    </a:cubicBezTo>
                    <a:lnTo>
                      <a:pt x="180785" y="472912"/>
                    </a:lnTo>
                    <a:cubicBezTo>
                      <a:pt x="188024" y="472912"/>
                      <a:pt x="193929" y="467006"/>
                      <a:pt x="193929" y="459767"/>
                    </a:cubicBezTo>
                    <a:lnTo>
                      <a:pt x="193929" y="94865"/>
                    </a:lnTo>
                    <a:cubicBezTo>
                      <a:pt x="193929" y="89816"/>
                      <a:pt x="191072" y="85244"/>
                      <a:pt x="186595" y="83054"/>
                    </a:cubicBezTo>
                    <a:close/>
                    <a:moveTo>
                      <a:pt x="167735" y="103056"/>
                    </a:moveTo>
                    <a:lnTo>
                      <a:pt x="167735" y="162206"/>
                    </a:lnTo>
                    <a:lnTo>
                      <a:pt x="26384" y="162206"/>
                    </a:lnTo>
                    <a:lnTo>
                      <a:pt x="26384" y="34095"/>
                    </a:lnTo>
                    <a:lnTo>
                      <a:pt x="167735" y="103056"/>
                    </a:lnTo>
                    <a:close/>
                    <a:moveTo>
                      <a:pt x="26384" y="446623"/>
                    </a:moveTo>
                    <a:lnTo>
                      <a:pt x="26384" y="188495"/>
                    </a:lnTo>
                    <a:lnTo>
                      <a:pt x="167735" y="188495"/>
                    </a:lnTo>
                    <a:lnTo>
                      <a:pt x="167735" y="446623"/>
                    </a:lnTo>
                    <a:lnTo>
                      <a:pt x="26384" y="44662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reeform: Shape 189">
                <a:extLst>
                  <a:ext uri="{FF2B5EF4-FFF2-40B4-BE49-F238E27FC236}">
                    <a16:creationId xmlns:a16="http://schemas.microsoft.com/office/drawing/2014/main" id="{BE702379-2D4F-76F2-BAF7-C5A2CCE6DC66}"/>
                  </a:ext>
                </a:extLst>
              </p:cNvPr>
              <p:cNvSpPr/>
              <p:nvPr/>
            </p:nvSpPr>
            <p:spPr>
              <a:xfrm>
                <a:off x="6311212" y="2288724"/>
                <a:ext cx="193929" cy="472911"/>
              </a:xfrm>
              <a:custGeom>
                <a:avLst/>
                <a:gdLst>
                  <a:gd name="connsiteX0" fmla="*/ 186595 w 193929"/>
                  <a:gd name="connsiteY0" fmla="*/ 83054 h 472911"/>
                  <a:gd name="connsiteX1" fmla="*/ 18955 w 193929"/>
                  <a:gd name="connsiteY1" fmla="*/ 1329 h 472911"/>
                  <a:gd name="connsiteX2" fmla="*/ 6191 w 193929"/>
                  <a:gd name="connsiteY2" fmla="*/ 1996 h 472911"/>
                  <a:gd name="connsiteX3" fmla="*/ 0 w 193929"/>
                  <a:gd name="connsiteY3" fmla="*/ 13140 h 472911"/>
                  <a:gd name="connsiteX4" fmla="*/ 0 w 193929"/>
                  <a:gd name="connsiteY4" fmla="*/ 459767 h 472911"/>
                  <a:gd name="connsiteX5" fmla="*/ 13144 w 193929"/>
                  <a:gd name="connsiteY5" fmla="*/ 472912 h 472911"/>
                  <a:gd name="connsiteX6" fmla="*/ 180784 w 193929"/>
                  <a:gd name="connsiteY6" fmla="*/ 472912 h 472911"/>
                  <a:gd name="connsiteX7" fmla="*/ 193929 w 193929"/>
                  <a:gd name="connsiteY7" fmla="*/ 459767 h 472911"/>
                  <a:gd name="connsiteX8" fmla="*/ 193929 w 193929"/>
                  <a:gd name="connsiteY8" fmla="*/ 94865 h 472911"/>
                  <a:gd name="connsiteX9" fmla="*/ 186595 w 193929"/>
                  <a:gd name="connsiteY9" fmla="*/ 83054 h 472911"/>
                  <a:gd name="connsiteX10" fmla="*/ 167735 w 193929"/>
                  <a:gd name="connsiteY10" fmla="*/ 103056 h 472911"/>
                  <a:gd name="connsiteX11" fmla="*/ 167735 w 193929"/>
                  <a:gd name="connsiteY11" fmla="*/ 162206 h 472911"/>
                  <a:gd name="connsiteX12" fmla="*/ 26384 w 193929"/>
                  <a:gd name="connsiteY12" fmla="*/ 162206 h 472911"/>
                  <a:gd name="connsiteX13" fmla="*/ 26384 w 193929"/>
                  <a:gd name="connsiteY13" fmla="*/ 34095 h 472911"/>
                  <a:gd name="connsiteX14" fmla="*/ 167735 w 193929"/>
                  <a:gd name="connsiteY14" fmla="*/ 103056 h 472911"/>
                  <a:gd name="connsiteX15" fmla="*/ 26384 w 193929"/>
                  <a:gd name="connsiteY15" fmla="*/ 446623 h 472911"/>
                  <a:gd name="connsiteX16" fmla="*/ 26384 w 193929"/>
                  <a:gd name="connsiteY16" fmla="*/ 188495 h 472911"/>
                  <a:gd name="connsiteX17" fmla="*/ 167735 w 193929"/>
                  <a:gd name="connsiteY17" fmla="*/ 188495 h 472911"/>
                  <a:gd name="connsiteX18" fmla="*/ 167735 w 193929"/>
                  <a:gd name="connsiteY18" fmla="*/ 446623 h 472911"/>
                  <a:gd name="connsiteX19" fmla="*/ 26384 w 193929"/>
                  <a:gd name="connsiteY19" fmla="*/ 446623 h 472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3929" h="472911">
                    <a:moveTo>
                      <a:pt x="186595" y="83054"/>
                    </a:moveTo>
                    <a:lnTo>
                      <a:pt x="18955" y="1329"/>
                    </a:lnTo>
                    <a:cubicBezTo>
                      <a:pt x="14859" y="-671"/>
                      <a:pt x="10096" y="-385"/>
                      <a:pt x="6191" y="1996"/>
                    </a:cubicBezTo>
                    <a:cubicBezTo>
                      <a:pt x="2381" y="4377"/>
                      <a:pt x="0" y="8568"/>
                      <a:pt x="0" y="13140"/>
                    </a:cubicBezTo>
                    <a:lnTo>
                      <a:pt x="0" y="459767"/>
                    </a:lnTo>
                    <a:cubicBezTo>
                      <a:pt x="0" y="467006"/>
                      <a:pt x="5905" y="472912"/>
                      <a:pt x="13144" y="472912"/>
                    </a:cubicBezTo>
                    <a:lnTo>
                      <a:pt x="180784" y="472912"/>
                    </a:lnTo>
                    <a:cubicBezTo>
                      <a:pt x="188023" y="472912"/>
                      <a:pt x="193929" y="467006"/>
                      <a:pt x="193929" y="459767"/>
                    </a:cubicBezTo>
                    <a:lnTo>
                      <a:pt x="193929" y="94865"/>
                    </a:lnTo>
                    <a:cubicBezTo>
                      <a:pt x="193929" y="89816"/>
                      <a:pt x="191071" y="85244"/>
                      <a:pt x="186595" y="83054"/>
                    </a:cubicBezTo>
                    <a:close/>
                    <a:moveTo>
                      <a:pt x="167735" y="103056"/>
                    </a:moveTo>
                    <a:lnTo>
                      <a:pt x="167735" y="162206"/>
                    </a:lnTo>
                    <a:lnTo>
                      <a:pt x="26384" y="162206"/>
                    </a:lnTo>
                    <a:lnTo>
                      <a:pt x="26384" y="34095"/>
                    </a:lnTo>
                    <a:lnTo>
                      <a:pt x="167735" y="103056"/>
                    </a:lnTo>
                    <a:close/>
                    <a:moveTo>
                      <a:pt x="26384" y="446623"/>
                    </a:moveTo>
                    <a:lnTo>
                      <a:pt x="26384" y="188495"/>
                    </a:lnTo>
                    <a:lnTo>
                      <a:pt x="167735" y="188495"/>
                    </a:lnTo>
                    <a:lnTo>
                      <a:pt x="167735" y="446623"/>
                    </a:lnTo>
                    <a:lnTo>
                      <a:pt x="26384" y="44662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reeform: Shape 190">
                <a:extLst>
                  <a:ext uri="{FF2B5EF4-FFF2-40B4-BE49-F238E27FC236}">
                    <a16:creationId xmlns:a16="http://schemas.microsoft.com/office/drawing/2014/main" id="{4C894DB6-E8FA-D700-56A8-FB56E5DDE9C6}"/>
                  </a:ext>
                </a:extLst>
              </p:cNvPr>
              <p:cNvSpPr/>
              <p:nvPr/>
            </p:nvSpPr>
            <p:spPr>
              <a:xfrm>
                <a:off x="5932497" y="2203605"/>
                <a:ext cx="270730" cy="87400"/>
              </a:xfrm>
              <a:custGeom>
                <a:avLst/>
                <a:gdLst>
                  <a:gd name="connsiteX0" fmla="*/ 265557 w 270730"/>
                  <a:gd name="connsiteY0" fmla="*/ 23678 h 87400"/>
                  <a:gd name="connsiteX1" fmla="*/ 268034 w 270730"/>
                  <a:gd name="connsiteY1" fmla="*/ 5295 h 87400"/>
                  <a:gd name="connsiteX2" fmla="*/ 249650 w 270730"/>
                  <a:gd name="connsiteY2" fmla="*/ 2818 h 87400"/>
                  <a:gd name="connsiteX3" fmla="*/ 165068 w 270730"/>
                  <a:gd name="connsiteY3" fmla="*/ 28917 h 87400"/>
                  <a:gd name="connsiteX4" fmla="*/ 129921 w 270730"/>
                  <a:gd name="connsiteY4" fmla="*/ 15772 h 87400"/>
                  <a:gd name="connsiteX5" fmla="*/ 104870 w 270730"/>
                  <a:gd name="connsiteY5" fmla="*/ 4533 h 87400"/>
                  <a:gd name="connsiteX6" fmla="*/ 33909 w 270730"/>
                  <a:gd name="connsiteY6" fmla="*/ 12915 h 87400"/>
                  <a:gd name="connsiteX7" fmla="*/ 0 w 270730"/>
                  <a:gd name="connsiteY7" fmla="*/ 74160 h 87400"/>
                  <a:gd name="connsiteX8" fmla="*/ 13049 w 270730"/>
                  <a:gd name="connsiteY8" fmla="*/ 87400 h 87400"/>
                  <a:gd name="connsiteX9" fmla="*/ 13145 w 270730"/>
                  <a:gd name="connsiteY9" fmla="*/ 87400 h 87400"/>
                  <a:gd name="connsiteX10" fmla="*/ 26289 w 270730"/>
                  <a:gd name="connsiteY10" fmla="*/ 74351 h 87400"/>
                  <a:gd name="connsiteX11" fmla="*/ 48387 w 270730"/>
                  <a:gd name="connsiteY11" fmla="*/ 34822 h 87400"/>
                  <a:gd name="connsiteX12" fmla="*/ 96107 w 270730"/>
                  <a:gd name="connsiteY12" fmla="*/ 29202 h 87400"/>
                  <a:gd name="connsiteX13" fmla="*/ 118301 w 270730"/>
                  <a:gd name="connsiteY13" fmla="*/ 39204 h 87400"/>
                  <a:gd name="connsiteX14" fmla="*/ 161258 w 270730"/>
                  <a:gd name="connsiteY14" fmla="*/ 54825 h 87400"/>
                  <a:gd name="connsiteX15" fmla="*/ 265652 w 270730"/>
                  <a:gd name="connsiteY15" fmla="*/ 23678 h 8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0730" h="87400">
                    <a:moveTo>
                      <a:pt x="265557" y="23678"/>
                    </a:moveTo>
                    <a:cubicBezTo>
                      <a:pt x="271367" y="19296"/>
                      <a:pt x="272415" y="11010"/>
                      <a:pt x="268034" y="5295"/>
                    </a:cubicBezTo>
                    <a:cubicBezTo>
                      <a:pt x="263652" y="-420"/>
                      <a:pt x="255365" y="-1563"/>
                      <a:pt x="249650" y="2818"/>
                    </a:cubicBezTo>
                    <a:cubicBezTo>
                      <a:pt x="220980" y="24630"/>
                      <a:pt x="193358" y="33203"/>
                      <a:pt x="165068" y="28917"/>
                    </a:cubicBezTo>
                    <a:cubicBezTo>
                      <a:pt x="152400" y="27012"/>
                      <a:pt x="141446" y="21582"/>
                      <a:pt x="129921" y="15772"/>
                    </a:cubicBezTo>
                    <a:cubicBezTo>
                      <a:pt x="122111" y="11867"/>
                      <a:pt x="114014" y="7771"/>
                      <a:pt x="104870" y="4533"/>
                    </a:cubicBezTo>
                    <a:cubicBezTo>
                      <a:pt x="81629" y="-3754"/>
                      <a:pt x="54388" y="-516"/>
                      <a:pt x="33909" y="12915"/>
                    </a:cubicBezTo>
                    <a:cubicBezTo>
                      <a:pt x="13145" y="26535"/>
                      <a:pt x="191" y="50062"/>
                      <a:pt x="0" y="74160"/>
                    </a:cubicBezTo>
                    <a:cubicBezTo>
                      <a:pt x="0" y="81399"/>
                      <a:pt x="5810" y="87305"/>
                      <a:pt x="13049" y="87400"/>
                    </a:cubicBezTo>
                    <a:lnTo>
                      <a:pt x="13145" y="87400"/>
                    </a:lnTo>
                    <a:cubicBezTo>
                      <a:pt x="20384" y="87400"/>
                      <a:pt x="26194" y="81590"/>
                      <a:pt x="26289" y="74351"/>
                    </a:cubicBezTo>
                    <a:cubicBezTo>
                      <a:pt x="26384" y="59111"/>
                      <a:pt x="35052" y="43585"/>
                      <a:pt x="48387" y="34822"/>
                    </a:cubicBezTo>
                    <a:cubicBezTo>
                      <a:pt x="61913" y="25964"/>
                      <a:pt x="80677" y="23773"/>
                      <a:pt x="96107" y="29202"/>
                    </a:cubicBezTo>
                    <a:cubicBezTo>
                      <a:pt x="103727" y="31869"/>
                      <a:pt x="110776" y="35394"/>
                      <a:pt x="118301" y="39204"/>
                    </a:cubicBezTo>
                    <a:cubicBezTo>
                      <a:pt x="131159" y="45681"/>
                      <a:pt x="144494" y="52348"/>
                      <a:pt x="161258" y="54825"/>
                    </a:cubicBezTo>
                    <a:cubicBezTo>
                      <a:pt x="196501" y="60159"/>
                      <a:pt x="231553" y="49681"/>
                      <a:pt x="265652" y="236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reeform: Shape 191">
                <a:extLst>
                  <a:ext uri="{FF2B5EF4-FFF2-40B4-BE49-F238E27FC236}">
                    <a16:creationId xmlns:a16="http://schemas.microsoft.com/office/drawing/2014/main" id="{EC3D5BF3-7355-6C93-C9AA-ADDF2D5C39BC}"/>
                  </a:ext>
                </a:extLst>
              </p:cNvPr>
              <p:cNvSpPr/>
              <p:nvPr/>
            </p:nvSpPr>
            <p:spPr>
              <a:xfrm>
                <a:off x="6099375" y="2104736"/>
                <a:ext cx="270730" cy="87400"/>
              </a:xfrm>
              <a:custGeom>
                <a:avLst/>
                <a:gdLst>
                  <a:gd name="connsiteX0" fmla="*/ 13049 w 270730"/>
                  <a:gd name="connsiteY0" fmla="*/ 87400 h 87400"/>
                  <a:gd name="connsiteX1" fmla="*/ 13145 w 270730"/>
                  <a:gd name="connsiteY1" fmla="*/ 87400 h 87400"/>
                  <a:gd name="connsiteX2" fmla="*/ 26289 w 270730"/>
                  <a:gd name="connsiteY2" fmla="*/ 74351 h 87400"/>
                  <a:gd name="connsiteX3" fmla="*/ 48387 w 270730"/>
                  <a:gd name="connsiteY3" fmla="*/ 34822 h 87400"/>
                  <a:gd name="connsiteX4" fmla="*/ 96107 w 270730"/>
                  <a:gd name="connsiteY4" fmla="*/ 29202 h 87400"/>
                  <a:gd name="connsiteX5" fmla="*/ 118205 w 270730"/>
                  <a:gd name="connsiteY5" fmla="*/ 39204 h 87400"/>
                  <a:gd name="connsiteX6" fmla="*/ 161163 w 270730"/>
                  <a:gd name="connsiteY6" fmla="*/ 54825 h 87400"/>
                  <a:gd name="connsiteX7" fmla="*/ 265557 w 270730"/>
                  <a:gd name="connsiteY7" fmla="*/ 23678 h 87400"/>
                  <a:gd name="connsiteX8" fmla="*/ 268034 w 270730"/>
                  <a:gd name="connsiteY8" fmla="*/ 5295 h 87400"/>
                  <a:gd name="connsiteX9" fmla="*/ 249650 w 270730"/>
                  <a:gd name="connsiteY9" fmla="*/ 2818 h 87400"/>
                  <a:gd name="connsiteX10" fmla="*/ 165068 w 270730"/>
                  <a:gd name="connsiteY10" fmla="*/ 28917 h 87400"/>
                  <a:gd name="connsiteX11" fmla="*/ 129921 w 270730"/>
                  <a:gd name="connsiteY11" fmla="*/ 15772 h 87400"/>
                  <a:gd name="connsiteX12" fmla="*/ 104870 w 270730"/>
                  <a:gd name="connsiteY12" fmla="*/ 4533 h 87400"/>
                  <a:gd name="connsiteX13" fmla="*/ 33909 w 270730"/>
                  <a:gd name="connsiteY13" fmla="*/ 12915 h 87400"/>
                  <a:gd name="connsiteX14" fmla="*/ 0 w 270730"/>
                  <a:gd name="connsiteY14" fmla="*/ 74160 h 87400"/>
                  <a:gd name="connsiteX15" fmla="*/ 13049 w 270730"/>
                  <a:gd name="connsiteY15" fmla="*/ 87400 h 8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0730" h="87400">
                    <a:moveTo>
                      <a:pt x="13049" y="87400"/>
                    </a:moveTo>
                    <a:lnTo>
                      <a:pt x="13145" y="87400"/>
                    </a:lnTo>
                    <a:cubicBezTo>
                      <a:pt x="20384" y="87400"/>
                      <a:pt x="26194" y="81590"/>
                      <a:pt x="26289" y="74351"/>
                    </a:cubicBezTo>
                    <a:cubicBezTo>
                      <a:pt x="26384" y="59111"/>
                      <a:pt x="35052" y="43585"/>
                      <a:pt x="48387" y="34822"/>
                    </a:cubicBezTo>
                    <a:cubicBezTo>
                      <a:pt x="61913" y="25964"/>
                      <a:pt x="80677" y="23678"/>
                      <a:pt x="96107" y="29202"/>
                    </a:cubicBezTo>
                    <a:cubicBezTo>
                      <a:pt x="103727" y="31965"/>
                      <a:pt x="110776" y="35489"/>
                      <a:pt x="118205" y="39204"/>
                    </a:cubicBezTo>
                    <a:cubicBezTo>
                      <a:pt x="131064" y="45681"/>
                      <a:pt x="144399" y="52348"/>
                      <a:pt x="161163" y="54825"/>
                    </a:cubicBezTo>
                    <a:cubicBezTo>
                      <a:pt x="196310" y="60159"/>
                      <a:pt x="231458" y="49681"/>
                      <a:pt x="265557" y="23678"/>
                    </a:cubicBezTo>
                    <a:cubicBezTo>
                      <a:pt x="271367" y="19296"/>
                      <a:pt x="272415" y="11010"/>
                      <a:pt x="268034" y="5295"/>
                    </a:cubicBezTo>
                    <a:cubicBezTo>
                      <a:pt x="263652" y="-516"/>
                      <a:pt x="255365" y="-1563"/>
                      <a:pt x="249650" y="2818"/>
                    </a:cubicBezTo>
                    <a:cubicBezTo>
                      <a:pt x="220980" y="24630"/>
                      <a:pt x="193262" y="33203"/>
                      <a:pt x="165068" y="28917"/>
                    </a:cubicBezTo>
                    <a:cubicBezTo>
                      <a:pt x="152400" y="27012"/>
                      <a:pt x="141446" y="21582"/>
                      <a:pt x="129921" y="15772"/>
                    </a:cubicBezTo>
                    <a:cubicBezTo>
                      <a:pt x="122111" y="11867"/>
                      <a:pt x="114014" y="7771"/>
                      <a:pt x="104870" y="4533"/>
                    </a:cubicBezTo>
                    <a:cubicBezTo>
                      <a:pt x="81629" y="-3754"/>
                      <a:pt x="54388" y="-516"/>
                      <a:pt x="33909" y="12915"/>
                    </a:cubicBezTo>
                    <a:cubicBezTo>
                      <a:pt x="13145" y="26535"/>
                      <a:pt x="191" y="50062"/>
                      <a:pt x="0" y="74160"/>
                    </a:cubicBezTo>
                    <a:cubicBezTo>
                      <a:pt x="0" y="81399"/>
                      <a:pt x="5810" y="87305"/>
                      <a:pt x="13049" y="874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reeform: Shape 192">
                <a:extLst>
                  <a:ext uri="{FF2B5EF4-FFF2-40B4-BE49-F238E27FC236}">
                    <a16:creationId xmlns:a16="http://schemas.microsoft.com/office/drawing/2014/main" id="{C9FB951A-1247-AF2D-17B5-F656D478DFCA}"/>
                  </a:ext>
                </a:extLst>
              </p:cNvPr>
              <p:cNvSpPr/>
              <p:nvPr/>
            </p:nvSpPr>
            <p:spPr>
              <a:xfrm>
                <a:off x="6235107" y="2202748"/>
                <a:ext cx="270731" cy="87400"/>
              </a:xfrm>
              <a:custGeom>
                <a:avLst/>
                <a:gdLst>
                  <a:gd name="connsiteX0" fmla="*/ 96107 w 270731"/>
                  <a:gd name="connsiteY0" fmla="*/ 29202 h 87400"/>
                  <a:gd name="connsiteX1" fmla="*/ 118205 w 270731"/>
                  <a:gd name="connsiteY1" fmla="*/ 39204 h 87400"/>
                  <a:gd name="connsiteX2" fmla="*/ 161163 w 270731"/>
                  <a:gd name="connsiteY2" fmla="*/ 54825 h 87400"/>
                  <a:gd name="connsiteX3" fmla="*/ 265557 w 270731"/>
                  <a:gd name="connsiteY3" fmla="*/ 23678 h 87400"/>
                  <a:gd name="connsiteX4" fmla="*/ 268034 w 270731"/>
                  <a:gd name="connsiteY4" fmla="*/ 5295 h 87400"/>
                  <a:gd name="connsiteX5" fmla="*/ 249650 w 270731"/>
                  <a:gd name="connsiteY5" fmla="*/ 2818 h 87400"/>
                  <a:gd name="connsiteX6" fmla="*/ 165068 w 270731"/>
                  <a:gd name="connsiteY6" fmla="*/ 28917 h 87400"/>
                  <a:gd name="connsiteX7" fmla="*/ 129921 w 270731"/>
                  <a:gd name="connsiteY7" fmla="*/ 15772 h 87400"/>
                  <a:gd name="connsiteX8" fmla="*/ 104870 w 270731"/>
                  <a:gd name="connsiteY8" fmla="*/ 4533 h 87400"/>
                  <a:gd name="connsiteX9" fmla="*/ 33909 w 270731"/>
                  <a:gd name="connsiteY9" fmla="*/ 12915 h 87400"/>
                  <a:gd name="connsiteX10" fmla="*/ 0 w 270731"/>
                  <a:gd name="connsiteY10" fmla="*/ 74160 h 87400"/>
                  <a:gd name="connsiteX11" fmla="*/ 13049 w 270731"/>
                  <a:gd name="connsiteY11" fmla="*/ 87400 h 87400"/>
                  <a:gd name="connsiteX12" fmla="*/ 13145 w 270731"/>
                  <a:gd name="connsiteY12" fmla="*/ 87400 h 87400"/>
                  <a:gd name="connsiteX13" fmla="*/ 26289 w 270731"/>
                  <a:gd name="connsiteY13" fmla="*/ 74351 h 87400"/>
                  <a:gd name="connsiteX14" fmla="*/ 48387 w 270731"/>
                  <a:gd name="connsiteY14" fmla="*/ 34822 h 87400"/>
                  <a:gd name="connsiteX15" fmla="*/ 96107 w 270731"/>
                  <a:gd name="connsiteY15" fmla="*/ 29202 h 8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0731" h="87400">
                    <a:moveTo>
                      <a:pt x="96107" y="29202"/>
                    </a:moveTo>
                    <a:cubicBezTo>
                      <a:pt x="103727" y="31965"/>
                      <a:pt x="110776" y="35489"/>
                      <a:pt x="118205" y="39204"/>
                    </a:cubicBezTo>
                    <a:cubicBezTo>
                      <a:pt x="131064" y="45681"/>
                      <a:pt x="144399" y="52348"/>
                      <a:pt x="161163" y="54825"/>
                    </a:cubicBezTo>
                    <a:cubicBezTo>
                      <a:pt x="196310" y="60159"/>
                      <a:pt x="231458" y="49681"/>
                      <a:pt x="265557" y="23678"/>
                    </a:cubicBezTo>
                    <a:cubicBezTo>
                      <a:pt x="271367" y="19296"/>
                      <a:pt x="272415" y="11010"/>
                      <a:pt x="268034" y="5295"/>
                    </a:cubicBezTo>
                    <a:cubicBezTo>
                      <a:pt x="263652" y="-420"/>
                      <a:pt x="255365" y="-1563"/>
                      <a:pt x="249650" y="2818"/>
                    </a:cubicBezTo>
                    <a:cubicBezTo>
                      <a:pt x="220980" y="24630"/>
                      <a:pt x="193358" y="33203"/>
                      <a:pt x="165068" y="28917"/>
                    </a:cubicBezTo>
                    <a:cubicBezTo>
                      <a:pt x="152400" y="27012"/>
                      <a:pt x="141446" y="21582"/>
                      <a:pt x="129921" y="15772"/>
                    </a:cubicBezTo>
                    <a:cubicBezTo>
                      <a:pt x="122111" y="11867"/>
                      <a:pt x="114014" y="7771"/>
                      <a:pt x="104870" y="4533"/>
                    </a:cubicBezTo>
                    <a:cubicBezTo>
                      <a:pt x="81534" y="-3754"/>
                      <a:pt x="54388" y="-516"/>
                      <a:pt x="33909" y="12915"/>
                    </a:cubicBezTo>
                    <a:cubicBezTo>
                      <a:pt x="13145" y="26535"/>
                      <a:pt x="191" y="50062"/>
                      <a:pt x="0" y="74160"/>
                    </a:cubicBezTo>
                    <a:cubicBezTo>
                      <a:pt x="0" y="81399"/>
                      <a:pt x="5810" y="87305"/>
                      <a:pt x="13049" y="87400"/>
                    </a:cubicBezTo>
                    <a:lnTo>
                      <a:pt x="13145" y="87400"/>
                    </a:lnTo>
                    <a:cubicBezTo>
                      <a:pt x="20383" y="87400"/>
                      <a:pt x="26194" y="81590"/>
                      <a:pt x="26289" y="74351"/>
                    </a:cubicBezTo>
                    <a:cubicBezTo>
                      <a:pt x="26384" y="59111"/>
                      <a:pt x="35052" y="43585"/>
                      <a:pt x="48387" y="34822"/>
                    </a:cubicBezTo>
                    <a:cubicBezTo>
                      <a:pt x="61913" y="25964"/>
                      <a:pt x="80677" y="23678"/>
                      <a:pt x="96107" y="292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36" name="Retângulo: Cantos Arredondados 35">
              <a:extLst>
                <a:ext uri="{FF2B5EF4-FFF2-40B4-BE49-F238E27FC236}">
                  <a16:creationId xmlns:a16="http://schemas.microsoft.com/office/drawing/2014/main" id="{017A5F0A-AB29-28D4-CBF3-3E918DA79B04}"/>
                </a:ext>
              </a:extLst>
            </p:cNvPr>
            <p:cNvSpPr/>
            <p:nvPr/>
          </p:nvSpPr>
          <p:spPr>
            <a:xfrm>
              <a:off x="6920196" y="5357411"/>
              <a:ext cx="4405689" cy="838948"/>
            </a:xfrm>
            <a:prstGeom prst="round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39" name="CaixaDeTexto 38">
              <a:extLst>
                <a:ext uri="{FF2B5EF4-FFF2-40B4-BE49-F238E27FC236}">
                  <a16:creationId xmlns:a16="http://schemas.microsoft.com/office/drawing/2014/main" id="{6D0B3298-1BC5-D485-A6E7-3CC095EA39CE}"/>
                </a:ext>
              </a:extLst>
            </p:cNvPr>
            <p:cNvSpPr txBox="1"/>
            <p:nvPr/>
          </p:nvSpPr>
          <p:spPr>
            <a:xfrm>
              <a:off x="7478302" y="5590693"/>
              <a:ext cx="11849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b="1" dirty="0">
                  <a:solidFill>
                    <a:schemeClr val="bg1"/>
                  </a:solidFill>
                  <a:latin typeface="FT Base Book" pitchFamily="2" charset="0"/>
                </a:rPr>
                <a:t>Consumo</a:t>
              </a:r>
            </a:p>
          </p:txBody>
        </p:sp>
      </p:grpSp>
      <p:sp>
        <p:nvSpPr>
          <p:cNvPr id="45" name="Seta: Divisa 44">
            <a:extLst>
              <a:ext uri="{FF2B5EF4-FFF2-40B4-BE49-F238E27FC236}">
                <a16:creationId xmlns:a16="http://schemas.microsoft.com/office/drawing/2014/main" id="{A3BE7265-54E7-BAF4-BB69-BC99586DED4E}"/>
              </a:ext>
            </a:extLst>
          </p:cNvPr>
          <p:cNvSpPr/>
          <p:nvPr/>
        </p:nvSpPr>
        <p:spPr>
          <a:xfrm rot="5400000">
            <a:off x="9168594" y="2214223"/>
            <a:ext cx="526471" cy="1527082"/>
          </a:xfrm>
          <a:prstGeom prst="chevron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6" name="Seta: Divisa 45">
            <a:extLst>
              <a:ext uri="{FF2B5EF4-FFF2-40B4-BE49-F238E27FC236}">
                <a16:creationId xmlns:a16="http://schemas.microsoft.com/office/drawing/2014/main" id="{AC71B0A6-D348-D65C-270F-C89497CF8088}"/>
              </a:ext>
            </a:extLst>
          </p:cNvPr>
          <p:cNvSpPr/>
          <p:nvPr/>
        </p:nvSpPr>
        <p:spPr>
          <a:xfrm rot="5400000">
            <a:off x="9187841" y="4008904"/>
            <a:ext cx="487977" cy="1527082"/>
          </a:xfrm>
          <a:prstGeom prst="chevron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pic>
        <p:nvPicPr>
          <p:cNvPr id="6" name="Picture 15">
            <a:extLst>
              <a:ext uri="{FF2B5EF4-FFF2-40B4-BE49-F238E27FC236}">
                <a16:creationId xmlns:a16="http://schemas.microsoft.com/office/drawing/2014/main" id="{9CAD84F2-778F-418B-C8B8-787DEA987E19}"/>
              </a:ext>
            </a:extLst>
          </p:cNvPr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3" y="175551"/>
            <a:ext cx="889594" cy="32496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F69279D-96A4-E07C-23AF-C79013AFDD82}"/>
              </a:ext>
            </a:extLst>
          </p:cNvPr>
          <p:cNvSpPr txBox="1">
            <a:spLocks/>
          </p:cNvSpPr>
          <p:nvPr/>
        </p:nvSpPr>
        <p:spPr>
          <a:xfrm>
            <a:off x="685800" y="372008"/>
            <a:ext cx="10234127" cy="37394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700" b="0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000000"/>
              </a:solidFill>
              <a:effectLst/>
              <a:uLnTx/>
              <a:uFillTx/>
              <a:latin typeface="FT Base"/>
              <a:ea typeface="+mj-ea"/>
              <a:cs typeface="+mj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CD3DA4C-19BD-610E-DF84-AAFD0800F70F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10234127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28FF52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Setor Elétrico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prstClr val="white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Cadeia de valor tradicional</a:t>
            </a:r>
          </a:p>
        </p:txBody>
      </p:sp>
    </p:spTree>
    <p:extLst>
      <p:ext uri="{BB962C8B-B14F-4D97-AF65-F5344CB8AC3E}">
        <p14:creationId xmlns:p14="http://schemas.microsoft.com/office/powerpoint/2010/main" val="27563660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ubtítulo 2">
            <a:extLst>
              <a:ext uri="{FF2B5EF4-FFF2-40B4-BE49-F238E27FC236}">
                <a16:creationId xmlns:a16="http://schemas.microsoft.com/office/drawing/2014/main" id="{293D2B31-0F23-4AB5-9AA8-DA10F7DDF4D2}"/>
              </a:ext>
            </a:extLst>
          </p:cNvPr>
          <p:cNvSpPr txBox="1">
            <a:spLocks/>
          </p:cNvSpPr>
          <p:nvPr/>
        </p:nvSpPr>
        <p:spPr>
          <a:xfrm>
            <a:off x="533399" y="1679747"/>
            <a:ext cx="5959671" cy="440866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 algn="just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chemeClr val="bg1"/>
                </a:solidFill>
                <a:latin typeface="FT Base Book" pitchFamily="2" charset="0"/>
              </a:rPr>
              <a:t>A transição energética para as fontes renováveis, o consumidor, passa a se tornar “</a:t>
            </a:r>
            <a:r>
              <a:rPr lang="pt-BR" sz="2000" dirty="0" err="1">
                <a:solidFill>
                  <a:schemeClr val="bg1"/>
                </a:solidFill>
                <a:latin typeface="FT Base Book" pitchFamily="2" charset="0"/>
              </a:rPr>
              <a:t>prossumidor</a:t>
            </a:r>
            <a:r>
              <a:rPr lang="pt-BR" sz="2000" dirty="0">
                <a:solidFill>
                  <a:schemeClr val="bg1"/>
                </a:solidFill>
                <a:latin typeface="FT Base Book" pitchFamily="2" charset="0"/>
              </a:rPr>
              <a:t>”, passando a desempenhar u papel ativo de protagonismo na cadeia de valor</a:t>
            </a:r>
          </a:p>
          <a:p>
            <a:pPr marL="342900" indent="-342900" algn="just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bg1"/>
              </a:solidFill>
              <a:latin typeface="FT Base Book" pitchFamily="2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chemeClr val="bg1"/>
                </a:solidFill>
                <a:latin typeface="FT Base Book" pitchFamily="2" charset="0"/>
              </a:rPr>
              <a:t>A eletricidade passa ter um fluxo multidirecional</a:t>
            </a:r>
          </a:p>
          <a:p>
            <a:pPr marL="342900" indent="-342900" algn="just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bg1"/>
              </a:solidFill>
              <a:latin typeface="FT Base Book" pitchFamily="2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chemeClr val="bg1"/>
                </a:solidFill>
                <a:latin typeface="FT Base Book" pitchFamily="2" charset="0"/>
              </a:rPr>
              <a:t>Agentes prestam serviços além da entrega de eletricidade.</a:t>
            </a:r>
          </a:p>
          <a:p>
            <a:pPr marL="342900" indent="-342900" algn="just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pt-BR" sz="2000" dirty="0">
              <a:solidFill>
                <a:schemeClr val="bg1"/>
              </a:solidFill>
              <a:latin typeface="FT Base Book" pitchFamily="2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pt-BR" sz="2000" dirty="0">
                <a:solidFill>
                  <a:schemeClr val="bg1"/>
                </a:solidFill>
                <a:latin typeface="FT Base Book" pitchFamily="2" charset="0"/>
              </a:rPr>
              <a:t>Novos atores surgem.</a:t>
            </a:r>
          </a:p>
          <a:p>
            <a:pPr algn="just">
              <a:lnSpc>
                <a:spcPct val="150000"/>
              </a:lnSpc>
            </a:pPr>
            <a:endParaRPr lang="pt-BR" sz="2000" dirty="0">
              <a:solidFill>
                <a:schemeClr val="bg1"/>
              </a:solidFill>
              <a:latin typeface="FT Base Book" pitchFamily="2" charset="0"/>
            </a:endParaRPr>
          </a:p>
        </p:txBody>
      </p:sp>
      <p:grpSp>
        <p:nvGrpSpPr>
          <p:cNvPr id="65" name="Agrupar 64">
            <a:extLst>
              <a:ext uri="{FF2B5EF4-FFF2-40B4-BE49-F238E27FC236}">
                <a16:creationId xmlns:a16="http://schemas.microsoft.com/office/drawing/2014/main" id="{641D3561-DBF9-3A98-BA20-03A3B9DF0288}"/>
              </a:ext>
            </a:extLst>
          </p:cNvPr>
          <p:cNvGrpSpPr/>
          <p:nvPr/>
        </p:nvGrpSpPr>
        <p:grpSpPr>
          <a:xfrm>
            <a:off x="7055216" y="3412021"/>
            <a:ext cx="4579458" cy="838948"/>
            <a:chOff x="7055216" y="3412021"/>
            <a:chExt cx="4579458" cy="838948"/>
          </a:xfrm>
        </p:grpSpPr>
        <p:sp>
          <p:nvSpPr>
            <p:cNvPr id="17" name="Freeform: Shape 85">
              <a:extLst>
                <a:ext uri="{FF2B5EF4-FFF2-40B4-BE49-F238E27FC236}">
                  <a16:creationId xmlns:a16="http://schemas.microsoft.com/office/drawing/2014/main" id="{30DDAEAC-65E0-DF26-7024-EAC7FD37FF0B}"/>
                </a:ext>
              </a:extLst>
            </p:cNvPr>
            <p:cNvSpPr/>
            <p:nvPr/>
          </p:nvSpPr>
          <p:spPr>
            <a:xfrm>
              <a:off x="10917951" y="3612454"/>
              <a:ext cx="253628" cy="460662"/>
            </a:xfrm>
            <a:custGeom>
              <a:avLst/>
              <a:gdLst>
                <a:gd name="connsiteX0" fmla="*/ 296132 w 309371"/>
                <a:gd name="connsiteY0" fmla="*/ 55887 h 655693"/>
                <a:gd name="connsiteX1" fmla="*/ 279083 w 309371"/>
                <a:gd name="connsiteY1" fmla="*/ 55887 h 655693"/>
                <a:gd name="connsiteX2" fmla="*/ 287274 w 309371"/>
                <a:gd name="connsiteY2" fmla="*/ 15692 h 655693"/>
                <a:gd name="connsiteX3" fmla="*/ 277082 w 309371"/>
                <a:gd name="connsiteY3" fmla="*/ 261 h 655693"/>
                <a:gd name="connsiteX4" fmla="*/ 261652 w 309371"/>
                <a:gd name="connsiteY4" fmla="*/ 10453 h 655693"/>
                <a:gd name="connsiteX5" fmla="*/ 252413 w 309371"/>
                <a:gd name="connsiteY5" fmla="*/ 55887 h 655693"/>
                <a:gd name="connsiteX6" fmla="*/ 56769 w 309371"/>
                <a:gd name="connsiteY6" fmla="*/ 55887 h 655693"/>
                <a:gd name="connsiteX7" fmla="*/ 47530 w 309371"/>
                <a:gd name="connsiteY7" fmla="*/ 10453 h 655693"/>
                <a:gd name="connsiteX8" fmla="*/ 32099 w 309371"/>
                <a:gd name="connsiteY8" fmla="*/ 261 h 655693"/>
                <a:gd name="connsiteX9" fmla="*/ 21907 w 309371"/>
                <a:gd name="connsiteY9" fmla="*/ 15692 h 655693"/>
                <a:gd name="connsiteX10" fmla="*/ 30099 w 309371"/>
                <a:gd name="connsiteY10" fmla="*/ 55887 h 655693"/>
                <a:gd name="connsiteX11" fmla="*/ 13049 w 309371"/>
                <a:gd name="connsiteY11" fmla="*/ 55887 h 655693"/>
                <a:gd name="connsiteX12" fmla="*/ 0 w 309371"/>
                <a:gd name="connsiteY12" fmla="*/ 68937 h 655693"/>
                <a:gd name="connsiteX13" fmla="*/ 13049 w 309371"/>
                <a:gd name="connsiteY13" fmla="*/ 81986 h 655693"/>
                <a:gd name="connsiteX14" fmla="*/ 35433 w 309371"/>
                <a:gd name="connsiteY14" fmla="*/ 81986 h 655693"/>
                <a:gd name="connsiteX15" fmla="*/ 55340 w 309371"/>
                <a:gd name="connsiteY15" fmla="*/ 179808 h 655693"/>
                <a:gd name="connsiteX16" fmla="*/ 47530 w 309371"/>
                <a:gd name="connsiteY16" fmla="*/ 318873 h 655693"/>
                <a:gd name="connsiteX17" fmla="*/ 39433 w 309371"/>
                <a:gd name="connsiteY17" fmla="*/ 318873 h 655693"/>
                <a:gd name="connsiteX18" fmla="*/ 26384 w 309371"/>
                <a:gd name="connsiteY18" fmla="*/ 331922 h 655693"/>
                <a:gd name="connsiteX19" fmla="*/ 39433 w 309371"/>
                <a:gd name="connsiteY19" fmla="*/ 344971 h 655693"/>
                <a:gd name="connsiteX20" fmla="*/ 46006 w 309371"/>
                <a:gd name="connsiteY20" fmla="*/ 344971 h 655693"/>
                <a:gd name="connsiteX21" fmla="*/ 39148 w 309371"/>
                <a:gd name="connsiteY21" fmla="*/ 466510 h 655693"/>
                <a:gd name="connsiteX22" fmla="*/ 29242 w 309371"/>
                <a:gd name="connsiteY22" fmla="*/ 466510 h 655693"/>
                <a:gd name="connsiteX23" fmla="*/ 16192 w 309371"/>
                <a:gd name="connsiteY23" fmla="*/ 479559 h 655693"/>
                <a:gd name="connsiteX24" fmla="*/ 29242 w 309371"/>
                <a:gd name="connsiteY24" fmla="*/ 492609 h 655693"/>
                <a:gd name="connsiteX25" fmla="*/ 37719 w 309371"/>
                <a:gd name="connsiteY25" fmla="*/ 492609 h 655693"/>
                <a:gd name="connsiteX26" fmla="*/ 29337 w 309371"/>
                <a:gd name="connsiteY26" fmla="*/ 641675 h 655693"/>
                <a:gd name="connsiteX27" fmla="*/ 39433 w 309371"/>
                <a:gd name="connsiteY27" fmla="*/ 655200 h 655693"/>
                <a:gd name="connsiteX28" fmla="*/ 42481 w 309371"/>
                <a:gd name="connsiteY28" fmla="*/ 655581 h 655693"/>
                <a:gd name="connsiteX29" fmla="*/ 54483 w 309371"/>
                <a:gd name="connsiteY29" fmla="*/ 647676 h 655693"/>
                <a:gd name="connsiteX30" fmla="*/ 121158 w 309371"/>
                <a:gd name="connsiteY30" fmla="*/ 492704 h 655693"/>
                <a:gd name="connsiteX31" fmla="*/ 181737 w 309371"/>
                <a:gd name="connsiteY31" fmla="*/ 492704 h 655693"/>
                <a:gd name="connsiteX32" fmla="*/ 254794 w 309371"/>
                <a:gd name="connsiteY32" fmla="*/ 648152 h 655693"/>
                <a:gd name="connsiteX33" fmla="*/ 269843 w 309371"/>
                <a:gd name="connsiteY33" fmla="*/ 655296 h 655693"/>
                <a:gd name="connsiteX34" fmla="*/ 279749 w 309371"/>
                <a:gd name="connsiteY34" fmla="*/ 641865 h 655693"/>
                <a:gd name="connsiteX35" fmla="*/ 271367 w 309371"/>
                <a:gd name="connsiteY35" fmla="*/ 492799 h 655693"/>
                <a:gd name="connsiteX36" fmla="*/ 280035 w 309371"/>
                <a:gd name="connsiteY36" fmla="*/ 492799 h 655693"/>
                <a:gd name="connsiteX37" fmla="*/ 293084 w 309371"/>
                <a:gd name="connsiteY37" fmla="*/ 479750 h 655693"/>
                <a:gd name="connsiteX38" fmla="*/ 280035 w 309371"/>
                <a:gd name="connsiteY38" fmla="*/ 466701 h 655693"/>
                <a:gd name="connsiteX39" fmla="*/ 269939 w 309371"/>
                <a:gd name="connsiteY39" fmla="*/ 466701 h 655693"/>
                <a:gd name="connsiteX40" fmla="*/ 263081 w 309371"/>
                <a:gd name="connsiteY40" fmla="*/ 345162 h 655693"/>
                <a:gd name="connsiteX41" fmla="*/ 269939 w 309371"/>
                <a:gd name="connsiteY41" fmla="*/ 345162 h 655693"/>
                <a:gd name="connsiteX42" fmla="*/ 282988 w 309371"/>
                <a:gd name="connsiteY42" fmla="*/ 332112 h 655693"/>
                <a:gd name="connsiteX43" fmla="*/ 269939 w 309371"/>
                <a:gd name="connsiteY43" fmla="*/ 319063 h 655693"/>
                <a:gd name="connsiteX44" fmla="*/ 261652 w 309371"/>
                <a:gd name="connsiteY44" fmla="*/ 319063 h 655693"/>
                <a:gd name="connsiteX45" fmla="*/ 253841 w 309371"/>
                <a:gd name="connsiteY45" fmla="*/ 180855 h 655693"/>
                <a:gd name="connsiteX46" fmla="*/ 273939 w 309371"/>
                <a:gd name="connsiteY46" fmla="*/ 82176 h 655693"/>
                <a:gd name="connsiteX47" fmla="*/ 296323 w 309371"/>
                <a:gd name="connsiteY47" fmla="*/ 82176 h 655693"/>
                <a:gd name="connsiteX48" fmla="*/ 309372 w 309371"/>
                <a:gd name="connsiteY48" fmla="*/ 69127 h 655693"/>
                <a:gd name="connsiteX49" fmla="*/ 296323 w 309371"/>
                <a:gd name="connsiteY49" fmla="*/ 56078 h 655693"/>
                <a:gd name="connsiteX50" fmla="*/ 89726 w 309371"/>
                <a:gd name="connsiteY50" fmla="*/ 466701 h 655693"/>
                <a:gd name="connsiteX51" fmla="*/ 154876 w 309371"/>
                <a:gd name="connsiteY51" fmla="*/ 418504 h 655693"/>
                <a:gd name="connsiteX52" fmla="*/ 219170 w 309371"/>
                <a:gd name="connsiteY52" fmla="*/ 466701 h 655693"/>
                <a:gd name="connsiteX53" fmla="*/ 89821 w 309371"/>
                <a:gd name="connsiteY53" fmla="*/ 466701 h 655693"/>
                <a:gd name="connsiteX54" fmla="*/ 94488 w 309371"/>
                <a:gd name="connsiteY54" fmla="*/ 318968 h 655693"/>
                <a:gd name="connsiteX55" fmla="*/ 154210 w 309371"/>
                <a:gd name="connsiteY55" fmla="*/ 268390 h 655693"/>
                <a:gd name="connsiteX56" fmla="*/ 215360 w 309371"/>
                <a:gd name="connsiteY56" fmla="*/ 318968 h 655693"/>
                <a:gd name="connsiteX57" fmla="*/ 94393 w 309371"/>
                <a:gd name="connsiteY57" fmla="*/ 318968 h 655693"/>
                <a:gd name="connsiteX58" fmla="*/ 209836 w 309371"/>
                <a:gd name="connsiteY58" fmla="*/ 345162 h 655693"/>
                <a:gd name="connsiteX59" fmla="*/ 154972 w 309371"/>
                <a:gd name="connsiteY59" fmla="*/ 385833 h 655693"/>
                <a:gd name="connsiteX60" fmla="*/ 100775 w 309371"/>
                <a:gd name="connsiteY60" fmla="*/ 345162 h 655693"/>
                <a:gd name="connsiteX61" fmla="*/ 209836 w 309371"/>
                <a:gd name="connsiteY61" fmla="*/ 345162 h 655693"/>
                <a:gd name="connsiteX62" fmla="*/ 228886 w 309371"/>
                <a:gd name="connsiteY62" fmla="*/ 205335 h 655693"/>
                <a:gd name="connsiteX63" fmla="*/ 234220 w 309371"/>
                <a:gd name="connsiteY63" fmla="*/ 300489 h 655693"/>
                <a:gd name="connsiteX64" fmla="*/ 174593 w 309371"/>
                <a:gd name="connsiteY64" fmla="*/ 251245 h 655693"/>
                <a:gd name="connsiteX65" fmla="*/ 228886 w 309371"/>
                <a:gd name="connsiteY65" fmla="*/ 205335 h 655693"/>
                <a:gd name="connsiteX66" fmla="*/ 154115 w 309371"/>
                <a:gd name="connsiteY66" fmla="*/ 234291 h 655693"/>
                <a:gd name="connsiteX67" fmla="*/ 102965 w 309371"/>
                <a:gd name="connsiteY67" fmla="*/ 192000 h 655693"/>
                <a:gd name="connsiteX68" fmla="*/ 204121 w 309371"/>
                <a:gd name="connsiteY68" fmla="*/ 192000 h 655693"/>
                <a:gd name="connsiteX69" fmla="*/ 154115 w 309371"/>
                <a:gd name="connsiteY69" fmla="*/ 234291 h 655693"/>
                <a:gd name="connsiteX70" fmla="*/ 119920 w 309371"/>
                <a:gd name="connsiteY70" fmla="*/ 165806 h 655693"/>
                <a:gd name="connsiteX71" fmla="*/ 79343 w 309371"/>
                <a:gd name="connsiteY71" fmla="*/ 165806 h 655693"/>
                <a:gd name="connsiteX72" fmla="*/ 68485 w 309371"/>
                <a:gd name="connsiteY72" fmla="*/ 112656 h 655693"/>
                <a:gd name="connsiteX73" fmla="*/ 119920 w 309371"/>
                <a:gd name="connsiteY73" fmla="*/ 165806 h 655693"/>
                <a:gd name="connsiteX74" fmla="*/ 75343 w 309371"/>
                <a:gd name="connsiteY74" fmla="*/ 82081 h 655693"/>
                <a:gd name="connsiteX75" fmla="*/ 229267 w 309371"/>
                <a:gd name="connsiteY75" fmla="*/ 82081 h 655693"/>
                <a:gd name="connsiteX76" fmla="*/ 150590 w 309371"/>
                <a:gd name="connsiteY76" fmla="*/ 159900 h 655693"/>
                <a:gd name="connsiteX77" fmla="*/ 75248 w 309371"/>
                <a:gd name="connsiteY77" fmla="*/ 82081 h 655693"/>
                <a:gd name="connsiteX78" fmla="*/ 80201 w 309371"/>
                <a:gd name="connsiteY78" fmla="*/ 207144 h 655693"/>
                <a:gd name="connsiteX79" fmla="*/ 133826 w 309371"/>
                <a:gd name="connsiteY79" fmla="*/ 251436 h 655693"/>
                <a:gd name="connsiteX80" fmla="*/ 74866 w 309371"/>
                <a:gd name="connsiteY80" fmla="*/ 301347 h 655693"/>
                <a:gd name="connsiteX81" fmla="*/ 80201 w 309371"/>
                <a:gd name="connsiteY81" fmla="*/ 207144 h 655693"/>
                <a:gd name="connsiteX82" fmla="*/ 133064 w 309371"/>
                <a:gd name="connsiteY82" fmla="*/ 402026 h 655693"/>
                <a:gd name="connsiteX83" fmla="*/ 66389 w 309371"/>
                <a:gd name="connsiteY83" fmla="*/ 451365 h 655693"/>
                <a:gd name="connsiteX84" fmla="*/ 71818 w 309371"/>
                <a:gd name="connsiteY84" fmla="*/ 356020 h 655693"/>
                <a:gd name="connsiteX85" fmla="*/ 133160 w 309371"/>
                <a:gd name="connsiteY85" fmla="*/ 402026 h 655693"/>
                <a:gd name="connsiteX86" fmla="*/ 176879 w 309371"/>
                <a:gd name="connsiteY86" fmla="*/ 402121 h 655693"/>
                <a:gd name="connsiteX87" fmla="*/ 237458 w 309371"/>
                <a:gd name="connsiteY87" fmla="*/ 357258 h 655693"/>
                <a:gd name="connsiteX88" fmla="*/ 242792 w 309371"/>
                <a:gd name="connsiteY88" fmla="*/ 451556 h 655693"/>
                <a:gd name="connsiteX89" fmla="*/ 176879 w 309371"/>
                <a:gd name="connsiteY89" fmla="*/ 402121 h 655693"/>
                <a:gd name="connsiteX90" fmla="*/ 230029 w 309371"/>
                <a:gd name="connsiteY90" fmla="*/ 165806 h 655693"/>
                <a:gd name="connsiteX91" fmla="*/ 181927 w 309371"/>
                <a:gd name="connsiteY91" fmla="*/ 165806 h 655693"/>
                <a:gd name="connsiteX92" fmla="*/ 242221 w 309371"/>
                <a:gd name="connsiteY92" fmla="*/ 106084 h 655693"/>
                <a:gd name="connsiteX93" fmla="*/ 230029 w 309371"/>
                <a:gd name="connsiteY93" fmla="*/ 165806 h 655693"/>
                <a:gd name="connsiteX94" fmla="*/ 59627 w 309371"/>
                <a:gd name="connsiteY94" fmla="*/ 569475 h 655693"/>
                <a:gd name="connsiteX95" fmla="*/ 63913 w 309371"/>
                <a:gd name="connsiteY95" fmla="*/ 492799 h 655693"/>
                <a:gd name="connsiteX96" fmla="*/ 92583 w 309371"/>
                <a:gd name="connsiteY96" fmla="*/ 492799 h 655693"/>
                <a:gd name="connsiteX97" fmla="*/ 59627 w 309371"/>
                <a:gd name="connsiteY97" fmla="*/ 569475 h 655693"/>
                <a:gd name="connsiteX98" fmla="*/ 249746 w 309371"/>
                <a:gd name="connsiteY98" fmla="*/ 576048 h 655693"/>
                <a:gd name="connsiteX99" fmla="*/ 210693 w 309371"/>
                <a:gd name="connsiteY99" fmla="*/ 492894 h 655693"/>
                <a:gd name="connsiteX100" fmla="*/ 245078 w 309371"/>
                <a:gd name="connsiteY100" fmla="*/ 492894 h 655693"/>
                <a:gd name="connsiteX101" fmla="*/ 249746 w 309371"/>
                <a:gd name="connsiteY101" fmla="*/ 576048 h 65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309371" h="655693">
                  <a:moveTo>
                    <a:pt x="296132" y="55887"/>
                  </a:moveTo>
                  <a:lnTo>
                    <a:pt x="279083" y="55887"/>
                  </a:lnTo>
                  <a:lnTo>
                    <a:pt x="287274" y="15692"/>
                  </a:lnTo>
                  <a:cubicBezTo>
                    <a:pt x="288703" y="8643"/>
                    <a:pt x="284131" y="1690"/>
                    <a:pt x="277082" y="261"/>
                  </a:cubicBezTo>
                  <a:cubicBezTo>
                    <a:pt x="270034" y="-1167"/>
                    <a:pt x="263081" y="3405"/>
                    <a:pt x="261652" y="10453"/>
                  </a:cubicBezTo>
                  <a:lnTo>
                    <a:pt x="252413" y="55887"/>
                  </a:lnTo>
                  <a:lnTo>
                    <a:pt x="56769" y="55887"/>
                  </a:lnTo>
                  <a:lnTo>
                    <a:pt x="47530" y="10453"/>
                  </a:lnTo>
                  <a:cubicBezTo>
                    <a:pt x="46101" y="3405"/>
                    <a:pt x="39148" y="-1167"/>
                    <a:pt x="32099" y="261"/>
                  </a:cubicBezTo>
                  <a:cubicBezTo>
                    <a:pt x="25051" y="1690"/>
                    <a:pt x="20479" y="8643"/>
                    <a:pt x="21907" y="15692"/>
                  </a:cubicBezTo>
                  <a:lnTo>
                    <a:pt x="30099" y="55887"/>
                  </a:lnTo>
                  <a:lnTo>
                    <a:pt x="13049" y="55887"/>
                  </a:lnTo>
                  <a:cubicBezTo>
                    <a:pt x="5810" y="55887"/>
                    <a:pt x="0" y="61793"/>
                    <a:pt x="0" y="68937"/>
                  </a:cubicBezTo>
                  <a:cubicBezTo>
                    <a:pt x="0" y="76080"/>
                    <a:pt x="5810" y="81986"/>
                    <a:pt x="13049" y="81986"/>
                  </a:cubicBezTo>
                  <a:lnTo>
                    <a:pt x="35433" y="81986"/>
                  </a:lnTo>
                  <a:lnTo>
                    <a:pt x="55340" y="179808"/>
                  </a:lnTo>
                  <a:lnTo>
                    <a:pt x="47530" y="318873"/>
                  </a:lnTo>
                  <a:lnTo>
                    <a:pt x="39433" y="318873"/>
                  </a:lnTo>
                  <a:cubicBezTo>
                    <a:pt x="32194" y="318873"/>
                    <a:pt x="26384" y="324778"/>
                    <a:pt x="26384" y="331922"/>
                  </a:cubicBezTo>
                  <a:cubicBezTo>
                    <a:pt x="26384" y="339066"/>
                    <a:pt x="32194" y="344971"/>
                    <a:pt x="39433" y="344971"/>
                  </a:cubicBezTo>
                  <a:lnTo>
                    <a:pt x="46006" y="344971"/>
                  </a:lnTo>
                  <a:lnTo>
                    <a:pt x="39148" y="466510"/>
                  </a:lnTo>
                  <a:lnTo>
                    <a:pt x="29242" y="466510"/>
                  </a:lnTo>
                  <a:cubicBezTo>
                    <a:pt x="22003" y="466510"/>
                    <a:pt x="16192" y="472416"/>
                    <a:pt x="16192" y="479559"/>
                  </a:cubicBezTo>
                  <a:cubicBezTo>
                    <a:pt x="16192" y="486703"/>
                    <a:pt x="22003" y="492609"/>
                    <a:pt x="29242" y="492609"/>
                  </a:cubicBezTo>
                  <a:lnTo>
                    <a:pt x="37719" y="492609"/>
                  </a:lnTo>
                  <a:lnTo>
                    <a:pt x="29337" y="641675"/>
                  </a:lnTo>
                  <a:cubicBezTo>
                    <a:pt x="28956" y="648057"/>
                    <a:pt x="33242" y="653676"/>
                    <a:pt x="39433" y="655200"/>
                  </a:cubicBezTo>
                  <a:cubicBezTo>
                    <a:pt x="40481" y="655391"/>
                    <a:pt x="41434" y="655581"/>
                    <a:pt x="42481" y="655581"/>
                  </a:cubicBezTo>
                  <a:cubicBezTo>
                    <a:pt x="47625" y="655581"/>
                    <a:pt x="52388" y="652533"/>
                    <a:pt x="54483" y="647676"/>
                  </a:cubicBezTo>
                  <a:lnTo>
                    <a:pt x="121158" y="492704"/>
                  </a:lnTo>
                  <a:lnTo>
                    <a:pt x="181737" y="492704"/>
                  </a:lnTo>
                  <a:lnTo>
                    <a:pt x="254794" y="648152"/>
                  </a:lnTo>
                  <a:cubicBezTo>
                    <a:pt x="257461" y="653867"/>
                    <a:pt x="263747" y="656820"/>
                    <a:pt x="269843" y="655296"/>
                  </a:cubicBezTo>
                  <a:cubicBezTo>
                    <a:pt x="275939" y="653772"/>
                    <a:pt x="280035" y="648152"/>
                    <a:pt x="279749" y="641865"/>
                  </a:cubicBezTo>
                  <a:lnTo>
                    <a:pt x="271367" y="492799"/>
                  </a:lnTo>
                  <a:lnTo>
                    <a:pt x="280035" y="492799"/>
                  </a:lnTo>
                  <a:cubicBezTo>
                    <a:pt x="287274" y="492799"/>
                    <a:pt x="293084" y="486894"/>
                    <a:pt x="293084" y="479750"/>
                  </a:cubicBezTo>
                  <a:cubicBezTo>
                    <a:pt x="293084" y="472606"/>
                    <a:pt x="287274" y="466701"/>
                    <a:pt x="280035" y="466701"/>
                  </a:cubicBezTo>
                  <a:lnTo>
                    <a:pt x="269939" y="466701"/>
                  </a:lnTo>
                  <a:lnTo>
                    <a:pt x="263081" y="345162"/>
                  </a:lnTo>
                  <a:lnTo>
                    <a:pt x="269939" y="345162"/>
                  </a:lnTo>
                  <a:cubicBezTo>
                    <a:pt x="277178" y="345162"/>
                    <a:pt x="282988" y="339256"/>
                    <a:pt x="282988" y="332112"/>
                  </a:cubicBezTo>
                  <a:cubicBezTo>
                    <a:pt x="282988" y="324969"/>
                    <a:pt x="277178" y="319063"/>
                    <a:pt x="269939" y="319063"/>
                  </a:cubicBezTo>
                  <a:lnTo>
                    <a:pt x="261652" y="319063"/>
                  </a:lnTo>
                  <a:lnTo>
                    <a:pt x="253841" y="180855"/>
                  </a:lnTo>
                  <a:lnTo>
                    <a:pt x="273939" y="82176"/>
                  </a:lnTo>
                  <a:lnTo>
                    <a:pt x="296323" y="82176"/>
                  </a:lnTo>
                  <a:cubicBezTo>
                    <a:pt x="303562" y="82176"/>
                    <a:pt x="309372" y="76271"/>
                    <a:pt x="309372" y="69127"/>
                  </a:cubicBezTo>
                  <a:cubicBezTo>
                    <a:pt x="309372" y="61983"/>
                    <a:pt x="303562" y="56078"/>
                    <a:pt x="296323" y="56078"/>
                  </a:cubicBezTo>
                  <a:close/>
                  <a:moveTo>
                    <a:pt x="89726" y="466701"/>
                  </a:moveTo>
                  <a:lnTo>
                    <a:pt x="154876" y="418504"/>
                  </a:lnTo>
                  <a:lnTo>
                    <a:pt x="219170" y="466701"/>
                  </a:lnTo>
                  <a:lnTo>
                    <a:pt x="89821" y="466701"/>
                  </a:lnTo>
                  <a:close/>
                  <a:moveTo>
                    <a:pt x="94488" y="318968"/>
                  </a:moveTo>
                  <a:lnTo>
                    <a:pt x="154210" y="268390"/>
                  </a:lnTo>
                  <a:lnTo>
                    <a:pt x="215360" y="318968"/>
                  </a:lnTo>
                  <a:lnTo>
                    <a:pt x="94393" y="318968"/>
                  </a:lnTo>
                  <a:close/>
                  <a:moveTo>
                    <a:pt x="209836" y="345162"/>
                  </a:moveTo>
                  <a:lnTo>
                    <a:pt x="154972" y="385833"/>
                  </a:lnTo>
                  <a:lnTo>
                    <a:pt x="100775" y="345162"/>
                  </a:lnTo>
                  <a:lnTo>
                    <a:pt x="209836" y="345162"/>
                  </a:lnTo>
                  <a:close/>
                  <a:moveTo>
                    <a:pt x="228886" y="205335"/>
                  </a:moveTo>
                  <a:lnTo>
                    <a:pt x="234220" y="300489"/>
                  </a:lnTo>
                  <a:lnTo>
                    <a:pt x="174593" y="251245"/>
                  </a:lnTo>
                  <a:lnTo>
                    <a:pt x="228886" y="205335"/>
                  </a:lnTo>
                  <a:close/>
                  <a:moveTo>
                    <a:pt x="154115" y="234291"/>
                  </a:moveTo>
                  <a:lnTo>
                    <a:pt x="102965" y="192000"/>
                  </a:lnTo>
                  <a:lnTo>
                    <a:pt x="204121" y="192000"/>
                  </a:lnTo>
                  <a:lnTo>
                    <a:pt x="154115" y="234291"/>
                  </a:lnTo>
                  <a:close/>
                  <a:moveTo>
                    <a:pt x="119920" y="165806"/>
                  </a:moveTo>
                  <a:lnTo>
                    <a:pt x="79343" y="165806"/>
                  </a:lnTo>
                  <a:lnTo>
                    <a:pt x="68485" y="112656"/>
                  </a:lnTo>
                  <a:lnTo>
                    <a:pt x="119920" y="165806"/>
                  </a:lnTo>
                  <a:close/>
                  <a:moveTo>
                    <a:pt x="75343" y="82081"/>
                  </a:moveTo>
                  <a:lnTo>
                    <a:pt x="229267" y="82081"/>
                  </a:lnTo>
                  <a:lnTo>
                    <a:pt x="150590" y="159900"/>
                  </a:lnTo>
                  <a:lnTo>
                    <a:pt x="75248" y="82081"/>
                  </a:lnTo>
                  <a:close/>
                  <a:moveTo>
                    <a:pt x="80201" y="207144"/>
                  </a:moveTo>
                  <a:lnTo>
                    <a:pt x="133826" y="251436"/>
                  </a:lnTo>
                  <a:lnTo>
                    <a:pt x="74866" y="301347"/>
                  </a:lnTo>
                  <a:lnTo>
                    <a:pt x="80201" y="207144"/>
                  </a:lnTo>
                  <a:close/>
                  <a:moveTo>
                    <a:pt x="133064" y="402026"/>
                  </a:moveTo>
                  <a:lnTo>
                    <a:pt x="66389" y="451365"/>
                  </a:lnTo>
                  <a:lnTo>
                    <a:pt x="71818" y="356020"/>
                  </a:lnTo>
                  <a:lnTo>
                    <a:pt x="133160" y="402026"/>
                  </a:lnTo>
                  <a:close/>
                  <a:moveTo>
                    <a:pt x="176879" y="402121"/>
                  </a:moveTo>
                  <a:lnTo>
                    <a:pt x="237458" y="357258"/>
                  </a:lnTo>
                  <a:lnTo>
                    <a:pt x="242792" y="451556"/>
                  </a:lnTo>
                  <a:lnTo>
                    <a:pt x="176879" y="402121"/>
                  </a:lnTo>
                  <a:close/>
                  <a:moveTo>
                    <a:pt x="230029" y="165806"/>
                  </a:moveTo>
                  <a:lnTo>
                    <a:pt x="181927" y="165806"/>
                  </a:lnTo>
                  <a:lnTo>
                    <a:pt x="242221" y="106084"/>
                  </a:lnTo>
                  <a:lnTo>
                    <a:pt x="230029" y="165806"/>
                  </a:lnTo>
                  <a:close/>
                  <a:moveTo>
                    <a:pt x="59627" y="569475"/>
                  </a:moveTo>
                  <a:lnTo>
                    <a:pt x="63913" y="492799"/>
                  </a:lnTo>
                  <a:lnTo>
                    <a:pt x="92583" y="492799"/>
                  </a:lnTo>
                  <a:lnTo>
                    <a:pt x="59627" y="569475"/>
                  </a:lnTo>
                  <a:close/>
                  <a:moveTo>
                    <a:pt x="249746" y="576048"/>
                  </a:moveTo>
                  <a:lnTo>
                    <a:pt x="210693" y="492894"/>
                  </a:lnTo>
                  <a:lnTo>
                    <a:pt x="245078" y="492894"/>
                  </a:lnTo>
                  <a:lnTo>
                    <a:pt x="249746" y="5760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8" name="Freeform: Shape 185">
              <a:extLst>
                <a:ext uri="{FF2B5EF4-FFF2-40B4-BE49-F238E27FC236}">
                  <a16:creationId xmlns:a16="http://schemas.microsoft.com/office/drawing/2014/main" id="{12296E8C-9DE8-8E02-4373-198D64E60F1A}"/>
                </a:ext>
              </a:extLst>
            </p:cNvPr>
            <p:cNvSpPr/>
            <p:nvPr/>
          </p:nvSpPr>
          <p:spPr>
            <a:xfrm>
              <a:off x="9820167" y="3612454"/>
              <a:ext cx="253628" cy="460662"/>
            </a:xfrm>
            <a:custGeom>
              <a:avLst/>
              <a:gdLst>
                <a:gd name="connsiteX0" fmla="*/ 352044 w 365188"/>
                <a:gd name="connsiteY0" fmla="*/ 133541 h 655891"/>
                <a:gd name="connsiteX1" fmla="*/ 195643 w 365188"/>
                <a:gd name="connsiteY1" fmla="*/ 133541 h 655891"/>
                <a:gd name="connsiteX2" fmla="*/ 195643 w 365188"/>
                <a:gd name="connsiteY2" fmla="*/ 26289 h 655891"/>
                <a:gd name="connsiteX3" fmla="*/ 229648 w 365188"/>
                <a:gd name="connsiteY3" fmla="*/ 26289 h 655891"/>
                <a:gd name="connsiteX4" fmla="*/ 242792 w 365188"/>
                <a:gd name="connsiteY4" fmla="*/ 13145 h 655891"/>
                <a:gd name="connsiteX5" fmla="*/ 229648 w 365188"/>
                <a:gd name="connsiteY5" fmla="*/ 0 h 655891"/>
                <a:gd name="connsiteX6" fmla="*/ 135446 w 365188"/>
                <a:gd name="connsiteY6" fmla="*/ 0 h 655891"/>
                <a:gd name="connsiteX7" fmla="*/ 122301 w 365188"/>
                <a:gd name="connsiteY7" fmla="*/ 13145 h 655891"/>
                <a:gd name="connsiteX8" fmla="*/ 135446 w 365188"/>
                <a:gd name="connsiteY8" fmla="*/ 26289 h 655891"/>
                <a:gd name="connsiteX9" fmla="*/ 169450 w 365188"/>
                <a:gd name="connsiteY9" fmla="*/ 26289 h 655891"/>
                <a:gd name="connsiteX10" fmla="*/ 169450 w 365188"/>
                <a:gd name="connsiteY10" fmla="*/ 133541 h 655891"/>
                <a:gd name="connsiteX11" fmla="*/ 13144 w 365188"/>
                <a:gd name="connsiteY11" fmla="*/ 133541 h 655891"/>
                <a:gd name="connsiteX12" fmla="*/ 0 w 365188"/>
                <a:gd name="connsiteY12" fmla="*/ 146685 h 655891"/>
                <a:gd name="connsiteX13" fmla="*/ 13144 w 365188"/>
                <a:gd name="connsiteY13" fmla="*/ 159830 h 655891"/>
                <a:gd name="connsiteX14" fmla="*/ 48673 w 365188"/>
                <a:gd name="connsiteY14" fmla="*/ 159830 h 655891"/>
                <a:gd name="connsiteX15" fmla="*/ 50482 w 365188"/>
                <a:gd name="connsiteY15" fmla="*/ 162306 h 655891"/>
                <a:gd name="connsiteX16" fmla="*/ 152114 w 365188"/>
                <a:gd name="connsiteY16" fmla="*/ 255937 h 655891"/>
                <a:gd name="connsiteX17" fmla="*/ 60198 w 365188"/>
                <a:gd name="connsiteY17" fmla="*/ 255937 h 655891"/>
                <a:gd name="connsiteX18" fmla="*/ 47054 w 365188"/>
                <a:gd name="connsiteY18" fmla="*/ 269081 h 655891"/>
                <a:gd name="connsiteX19" fmla="*/ 60198 w 365188"/>
                <a:gd name="connsiteY19" fmla="*/ 282226 h 655891"/>
                <a:gd name="connsiteX20" fmla="*/ 169450 w 365188"/>
                <a:gd name="connsiteY20" fmla="*/ 282226 h 655891"/>
                <a:gd name="connsiteX21" fmla="*/ 169450 w 365188"/>
                <a:gd name="connsiteY21" fmla="*/ 423291 h 655891"/>
                <a:gd name="connsiteX22" fmla="*/ 135446 w 365188"/>
                <a:gd name="connsiteY22" fmla="*/ 423291 h 655891"/>
                <a:gd name="connsiteX23" fmla="*/ 122301 w 365188"/>
                <a:gd name="connsiteY23" fmla="*/ 436436 h 655891"/>
                <a:gd name="connsiteX24" fmla="*/ 135446 w 365188"/>
                <a:gd name="connsiteY24" fmla="*/ 449580 h 655891"/>
                <a:gd name="connsiteX25" fmla="*/ 169450 w 365188"/>
                <a:gd name="connsiteY25" fmla="*/ 449580 h 655891"/>
                <a:gd name="connsiteX26" fmla="*/ 169450 w 365188"/>
                <a:gd name="connsiteY26" fmla="*/ 642747 h 655891"/>
                <a:gd name="connsiteX27" fmla="*/ 182594 w 365188"/>
                <a:gd name="connsiteY27" fmla="*/ 655892 h 655891"/>
                <a:gd name="connsiteX28" fmla="*/ 195739 w 365188"/>
                <a:gd name="connsiteY28" fmla="*/ 642747 h 655891"/>
                <a:gd name="connsiteX29" fmla="*/ 195739 w 365188"/>
                <a:gd name="connsiteY29" fmla="*/ 449580 h 655891"/>
                <a:gd name="connsiteX30" fmla="*/ 229743 w 365188"/>
                <a:gd name="connsiteY30" fmla="*/ 449580 h 655891"/>
                <a:gd name="connsiteX31" fmla="*/ 242888 w 365188"/>
                <a:gd name="connsiteY31" fmla="*/ 436436 h 655891"/>
                <a:gd name="connsiteX32" fmla="*/ 229743 w 365188"/>
                <a:gd name="connsiteY32" fmla="*/ 423291 h 655891"/>
                <a:gd name="connsiteX33" fmla="*/ 195739 w 365188"/>
                <a:gd name="connsiteY33" fmla="*/ 423291 h 655891"/>
                <a:gd name="connsiteX34" fmla="*/ 195739 w 365188"/>
                <a:gd name="connsiteY34" fmla="*/ 282226 h 655891"/>
                <a:gd name="connsiteX35" fmla="*/ 304991 w 365188"/>
                <a:gd name="connsiteY35" fmla="*/ 282226 h 655891"/>
                <a:gd name="connsiteX36" fmla="*/ 318135 w 365188"/>
                <a:gd name="connsiteY36" fmla="*/ 269081 h 655891"/>
                <a:gd name="connsiteX37" fmla="*/ 304991 w 365188"/>
                <a:gd name="connsiteY37" fmla="*/ 255937 h 655891"/>
                <a:gd name="connsiteX38" fmla="*/ 214217 w 365188"/>
                <a:gd name="connsiteY38" fmla="*/ 255937 h 655891"/>
                <a:gd name="connsiteX39" fmla="*/ 308229 w 365188"/>
                <a:gd name="connsiteY39" fmla="*/ 161925 h 655891"/>
                <a:gd name="connsiteX40" fmla="*/ 309658 w 365188"/>
                <a:gd name="connsiteY40" fmla="*/ 159830 h 655891"/>
                <a:gd name="connsiteX41" fmla="*/ 352044 w 365188"/>
                <a:gd name="connsiteY41" fmla="*/ 159830 h 655891"/>
                <a:gd name="connsiteX42" fmla="*/ 365188 w 365188"/>
                <a:gd name="connsiteY42" fmla="*/ 146685 h 655891"/>
                <a:gd name="connsiteX43" fmla="*/ 352044 w 365188"/>
                <a:gd name="connsiteY43" fmla="*/ 133541 h 655891"/>
                <a:gd name="connsiteX44" fmla="*/ 169450 w 365188"/>
                <a:gd name="connsiteY44" fmla="*/ 159734 h 655891"/>
                <a:gd name="connsiteX45" fmla="*/ 169450 w 365188"/>
                <a:gd name="connsiteY45" fmla="*/ 236220 h 655891"/>
                <a:gd name="connsiteX46" fmla="*/ 86392 w 365188"/>
                <a:gd name="connsiteY46" fmla="*/ 159734 h 655891"/>
                <a:gd name="connsiteX47" fmla="*/ 169450 w 365188"/>
                <a:gd name="connsiteY47" fmla="*/ 159734 h 655891"/>
                <a:gd name="connsiteX48" fmla="*/ 195643 w 365188"/>
                <a:gd name="connsiteY48" fmla="*/ 237363 h 655891"/>
                <a:gd name="connsiteX49" fmla="*/ 195643 w 365188"/>
                <a:gd name="connsiteY49" fmla="*/ 159734 h 655891"/>
                <a:gd name="connsiteX50" fmla="*/ 273272 w 365188"/>
                <a:gd name="connsiteY50" fmla="*/ 159734 h 655891"/>
                <a:gd name="connsiteX51" fmla="*/ 195643 w 365188"/>
                <a:gd name="connsiteY51" fmla="*/ 237363 h 6558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65188" h="655891">
                  <a:moveTo>
                    <a:pt x="352044" y="133541"/>
                  </a:moveTo>
                  <a:lnTo>
                    <a:pt x="195643" y="133541"/>
                  </a:lnTo>
                  <a:lnTo>
                    <a:pt x="195643" y="26289"/>
                  </a:lnTo>
                  <a:lnTo>
                    <a:pt x="229648" y="26289"/>
                  </a:lnTo>
                  <a:cubicBezTo>
                    <a:pt x="236887" y="26289"/>
                    <a:pt x="242792" y="20384"/>
                    <a:pt x="242792" y="13145"/>
                  </a:cubicBezTo>
                  <a:cubicBezTo>
                    <a:pt x="242792" y="5906"/>
                    <a:pt x="236887" y="0"/>
                    <a:pt x="229648" y="0"/>
                  </a:cubicBezTo>
                  <a:lnTo>
                    <a:pt x="135446" y="0"/>
                  </a:lnTo>
                  <a:cubicBezTo>
                    <a:pt x="128207" y="0"/>
                    <a:pt x="122301" y="5906"/>
                    <a:pt x="122301" y="13145"/>
                  </a:cubicBezTo>
                  <a:cubicBezTo>
                    <a:pt x="122301" y="20384"/>
                    <a:pt x="128207" y="26289"/>
                    <a:pt x="135446" y="26289"/>
                  </a:cubicBezTo>
                  <a:lnTo>
                    <a:pt x="169450" y="26289"/>
                  </a:lnTo>
                  <a:lnTo>
                    <a:pt x="169450" y="133541"/>
                  </a:lnTo>
                  <a:lnTo>
                    <a:pt x="13144" y="133541"/>
                  </a:lnTo>
                  <a:cubicBezTo>
                    <a:pt x="5906" y="133541"/>
                    <a:pt x="0" y="139446"/>
                    <a:pt x="0" y="146685"/>
                  </a:cubicBezTo>
                  <a:cubicBezTo>
                    <a:pt x="0" y="153924"/>
                    <a:pt x="5906" y="159830"/>
                    <a:pt x="13144" y="159830"/>
                  </a:cubicBezTo>
                  <a:lnTo>
                    <a:pt x="48673" y="159830"/>
                  </a:lnTo>
                  <a:cubicBezTo>
                    <a:pt x="49244" y="160687"/>
                    <a:pt x="49720" y="161639"/>
                    <a:pt x="50482" y="162306"/>
                  </a:cubicBezTo>
                  <a:lnTo>
                    <a:pt x="152114" y="255937"/>
                  </a:lnTo>
                  <a:lnTo>
                    <a:pt x="60198" y="255937"/>
                  </a:lnTo>
                  <a:cubicBezTo>
                    <a:pt x="52959" y="255937"/>
                    <a:pt x="47054" y="261842"/>
                    <a:pt x="47054" y="269081"/>
                  </a:cubicBezTo>
                  <a:cubicBezTo>
                    <a:pt x="47054" y="276320"/>
                    <a:pt x="52959" y="282226"/>
                    <a:pt x="60198" y="282226"/>
                  </a:cubicBezTo>
                  <a:lnTo>
                    <a:pt x="169450" y="282226"/>
                  </a:lnTo>
                  <a:lnTo>
                    <a:pt x="169450" y="423291"/>
                  </a:lnTo>
                  <a:lnTo>
                    <a:pt x="135446" y="423291"/>
                  </a:lnTo>
                  <a:cubicBezTo>
                    <a:pt x="128207" y="423291"/>
                    <a:pt x="122301" y="429197"/>
                    <a:pt x="122301" y="436436"/>
                  </a:cubicBezTo>
                  <a:cubicBezTo>
                    <a:pt x="122301" y="443675"/>
                    <a:pt x="128207" y="449580"/>
                    <a:pt x="135446" y="449580"/>
                  </a:cubicBezTo>
                  <a:lnTo>
                    <a:pt x="169450" y="449580"/>
                  </a:lnTo>
                  <a:lnTo>
                    <a:pt x="169450" y="642747"/>
                  </a:lnTo>
                  <a:cubicBezTo>
                    <a:pt x="169450" y="649986"/>
                    <a:pt x="175355" y="655892"/>
                    <a:pt x="182594" y="655892"/>
                  </a:cubicBezTo>
                  <a:cubicBezTo>
                    <a:pt x="189833" y="655892"/>
                    <a:pt x="195739" y="649986"/>
                    <a:pt x="195739" y="642747"/>
                  </a:cubicBezTo>
                  <a:lnTo>
                    <a:pt x="195739" y="449580"/>
                  </a:lnTo>
                  <a:lnTo>
                    <a:pt x="229743" y="449580"/>
                  </a:lnTo>
                  <a:cubicBezTo>
                    <a:pt x="236982" y="449580"/>
                    <a:pt x="242888" y="443675"/>
                    <a:pt x="242888" y="436436"/>
                  </a:cubicBezTo>
                  <a:cubicBezTo>
                    <a:pt x="242888" y="429197"/>
                    <a:pt x="236982" y="423291"/>
                    <a:pt x="229743" y="423291"/>
                  </a:cubicBezTo>
                  <a:lnTo>
                    <a:pt x="195739" y="423291"/>
                  </a:lnTo>
                  <a:lnTo>
                    <a:pt x="195739" y="282226"/>
                  </a:lnTo>
                  <a:lnTo>
                    <a:pt x="304991" y="282226"/>
                  </a:lnTo>
                  <a:cubicBezTo>
                    <a:pt x="312230" y="282226"/>
                    <a:pt x="318135" y="276320"/>
                    <a:pt x="318135" y="269081"/>
                  </a:cubicBezTo>
                  <a:cubicBezTo>
                    <a:pt x="318135" y="261842"/>
                    <a:pt x="312230" y="255937"/>
                    <a:pt x="304991" y="255937"/>
                  </a:cubicBezTo>
                  <a:lnTo>
                    <a:pt x="214217" y="255937"/>
                  </a:lnTo>
                  <a:lnTo>
                    <a:pt x="308229" y="161925"/>
                  </a:lnTo>
                  <a:cubicBezTo>
                    <a:pt x="308896" y="161258"/>
                    <a:pt x="309182" y="160496"/>
                    <a:pt x="309658" y="159830"/>
                  </a:cubicBezTo>
                  <a:lnTo>
                    <a:pt x="352044" y="159830"/>
                  </a:lnTo>
                  <a:cubicBezTo>
                    <a:pt x="359283" y="159830"/>
                    <a:pt x="365188" y="153924"/>
                    <a:pt x="365188" y="146685"/>
                  </a:cubicBezTo>
                  <a:cubicBezTo>
                    <a:pt x="365188" y="139446"/>
                    <a:pt x="359283" y="133541"/>
                    <a:pt x="352044" y="133541"/>
                  </a:cubicBezTo>
                  <a:close/>
                  <a:moveTo>
                    <a:pt x="169450" y="159734"/>
                  </a:moveTo>
                  <a:lnTo>
                    <a:pt x="169450" y="236220"/>
                  </a:lnTo>
                  <a:lnTo>
                    <a:pt x="86392" y="159734"/>
                  </a:lnTo>
                  <a:lnTo>
                    <a:pt x="169450" y="159734"/>
                  </a:lnTo>
                  <a:close/>
                  <a:moveTo>
                    <a:pt x="195643" y="237363"/>
                  </a:moveTo>
                  <a:lnTo>
                    <a:pt x="195643" y="159734"/>
                  </a:lnTo>
                  <a:lnTo>
                    <a:pt x="273272" y="159734"/>
                  </a:lnTo>
                  <a:lnTo>
                    <a:pt x="195643" y="237363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  <p:sp>
          <p:nvSpPr>
            <p:cNvPr id="19" name="Retângulo: Cantos Arredondados 18">
              <a:extLst>
                <a:ext uri="{FF2B5EF4-FFF2-40B4-BE49-F238E27FC236}">
                  <a16:creationId xmlns:a16="http://schemas.microsoft.com/office/drawing/2014/main" id="{D182FAFC-6E18-7E63-281C-2F6813C5E4F4}"/>
                </a:ext>
              </a:extLst>
            </p:cNvPr>
            <p:cNvSpPr/>
            <p:nvPr/>
          </p:nvSpPr>
          <p:spPr>
            <a:xfrm>
              <a:off x="7228985" y="3412021"/>
              <a:ext cx="4405689" cy="838948"/>
            </a:xfrm>
            <a:prstGeom prst="round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6730FC78-89A9-6271-A1CB-0D8F50C5020B}"/>
                </a:ext>
              </a:extLst>
            </p:cNvPr>
            <p:cNvSpPr txBox="1"/>
            <p:nvPr/>
          </p:nvSpPr>
          <p:spPr>
            <a:xfrm>
              <a:off x="7055216" y="3508329"/>
              <a:ext cx="19711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chemeClr val="bg1"/>
                  </a:solidFill>
                  <a:latin typeface="FT Base Book" pitchFamily="2" charset="0"/>
                </a:rPr>
                <a:t>Transmissão</a:t>
              </a:r>
            </a:p>
            <a:p>
              <a:pPr algn="ctr"/>
              <a:r>
                <a:rPr lang="pt-BR" b="1" dirty="0">
                  <a:solidFill>
                    <a:schemeClr val="bg1"/>
                  </a:solidFill>
                  <a:latin typeface="FT Base Book" pitchFamily="2" charset="0"/>
                </a:rPr>
                <a:t>Distribuição</a:t>
              </a:r>
            </a:p>
          </p:txBody>
        </p:sp>
      </p:grpSp>
      <p:grpSp>
        <p:nvGrpSpPr>
          <p:cNvPr id="42" name="Agrupar 41">
            <a:extLst>
              <a:ext uri="{FF2B5EF4-FFF2-40B4-BE49-F238E27FC236}">
                <a16:creationId xmlns:a16="http://schemas.microsoft.com/office/drawing/2014/main" id="{0E0B7F97-9BA7-7E7F-D885-953742B7BA9C}"/>
              </a:ext>
            </a:extLst>
          </p:cNvPr>
          <p:cNvGrpSpPr/>
          <p:nvPr/>
        </p:nvGrpSpPr>
        <p:grpSpPr>
          <a:xfrm>
            <a:off x="8350926" y="2817736"/>
            <a:ext cx="2161807" cy="390045"/>
            <a:chOff x="8668289" y="2817736"/>
            <a:chExt cx="2161807" cy="390045"/>
          </a:xfrm>
        </p:grpSpPr>
        <p:sp>
          <p:nvSpPr>
            <p:cNvPr id="38" name="Seta: Divisa 37">
              <a:extLst>
                <a:ext uri="{FF2B5EF4-FFF2-40B4-BE49-F238E27FC236}">
                  <a16:creationId xmlns:a16="http://schemas.microsoft.com/office/drawing/2014/main" id="{7855987B-CD80-3F22-848C-93B9760A52A9}"/>
                </a:ext>
              </a:extLst>
            </p:cNvPr>
            <p:cNvSpPr/>
            <p:nvPr/>
          </p:nvSpPr>
          <p:spPr>
            <a:xfrm rot="5400000">
              <a:off x="8950607" y="2535418"/>
              <a:ext cx="390045" cy="954682"/>
            </a:xfrm>
            <a:prstGeom prst="chevron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  <p:sp>
          <p:nvSpPr>
            <p:cNvPr id="40" name="Seta: Divisa 39">
              <a:extLst>
                <a:ext uri="{FF2B5EF4-FFF2-40B4-BE49-F238E27FC236}">
                  <a16:creationId xmlns:a16="http://schemas.microsoft.com/office/drawing/2014/main" id="{85CEC045-FC31-57BE-B409-FCD95D5BA933}"/>
                </a:ext>
              </a:extLst>
            </p:cNvPr>
            <p:cNvSpPr/>
            <p:nvPr/>
          </p:nvSpPr>
          <p:spPr>
            <a:xfrm rot="16200000">
              <a:off x="10157732" y="2535418"/>
              <a:ext cx="390045" cy="954682"/>
            </a:xfrm>
            <a:prstGeom prst="chevron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82B8FFC1-74A1-226B-B1AF-7C3A03BCA7B7}"/>
              </a:ext>
            </a:extLst>
          </p:cNvPr>
          <p:cNvGrpSpPr/>
          <p:nvPr/>
        </p:nvGrpSpPr>
        <p:grpSpPr>
          <a:xfrm>
            <a:off x="8350926" y="4567695"/>
            <a:ext cx="2161807" cy="390045"/>
            <a:chOff x="8668289" y="2817736"/>
            <a:chExt cx="2161807" cy="390045"/>
          </a:xfrm>
        </p:grpSpPr>
        <p:sp>
          <p:nvSpPr>
            <p:cNvPr id="44" name="Seta: Divisa 43">
              <a:extLst>
                <a:ext uri="{FF2B5EF4-FFF2-40B4-BE49-F238E27FC236}">
                  <a16:creationId xmlns:a16="http://schemas.microsoft.com/office/drawing/2014/main" id="{ED6A6A0F-4EF4-259C-A668-092B76ADB709}"/>
                </a:ext>
              </a:extLst>
            </p:cNvPr>
            <p:cNvSpPr/>
            <p:nvPr/>
          </p:nvSpPr>
          <p:spPr>
            <a:xfrm rot="5400000">
              <a:off x="8950607" y="2535418"/>
              <a:ext cx="390045" cy="954682"/>
            </a:xfrm>
            <a:prstGeom prst="chevron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  <p:sp>
          <p:nvSpPr>
            <p:cNvPr id="45" name="Seta: Divisa 44">
              <a:extLst>
                <a:ext uri="{FF2B5EF4-FFF2-40B4-BE49-F238E27FC236}">
                  <a16:creationId xmlns:a16="http://schemas.microsoft.com/office/drawing/2014/main" id="{F3355C5D-7E5C-6CC2-E42B-EA05671E4792}"/>
                </a:ext>
              </a:extLst>
            </p:cNvPr>
            <p:cNvSpPr/>
            <p:nvPr/>
          </p:nvSpPr>
          <p:spPr>
            <a:xfrm rot="16200000">
              <a:off x="10157732" y="2535418"/>
              <a:ext cx="390045" cy="954682"/>
            </a:xfrm>
            <a:prstGeom prst="chevron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</p:grpSp>
      <p:grpSp>
        <p:nvGrpSpPr>
          <p:cNvPr id="64" name="Agrupar 63">
            <a:extLst>
              <a:ext uri="{FF2B5EF4-FFF2-40B4-BE49-F238E27FC236}">
                <a16:creationId xmlns:a16="http://schemas.microsoft.com/office/drawing/2014/main" id="{FEAE6318-E1CD-E21A-71BB-F1822606D8B8}"/>
              </a:ext>
            </a:extLst>
          </p:cNvPr>
          <p:cNvGrpSpPr/>
          <p:nvPr/>
        </p:nvGrpSpPr>
        <p:grpSpPr>
          <a:xfrm>
            <a:off x="7228985" y="1679747"/>
            <a:ext cx="4405689" cy="838948"/>
            <a:chOff x="7228985" y="1679747"/>
            <a:chExt cx="4405689" cy="838948"/>
          </a:xfrm>
        </p:grpSpPr>
        <p:grpSp>
          <p:nvGrpSpPr>
            <p:cNvPr id="4" name="Graphic 12">
              <a:extLst>
                <a:ext uri="{FF2B5EF4-FFF2-40B4-BE49-F238E27FC236}">
                  <a16:creationId xmlns:a16="http://schemas.microsoft.com/office/drawing/2014/main" id="{3E6E0463-22BC-EFC1-9B33-786FC5E3C875}"/>
                </a:ext>
              </a:extLst>
            </p:cNvPr>
            <p:cNvGrpSpPr/>
            <p:nvPr/>
          </p:nvGrpSpPr>
          <p:grpSpPr>
            <a:xfrm>
              <a:off x="9394880" y="1877392"/>
              <a:ext cx="441608" cy="441434"/>
              <a:chOff x="6865874" y="2105117"/>
              <a:chExt cx="657065" cy="656804"/>
            </a:xfrm>
            <a:solidFill>
              <a:schemeClr val="bg1"/>
            </a:solidFill>
          </p:grpSpPr>
          <p:sp>
            <p:nvSpPr>
              <p:cNvPr id="10" name="Freeform: Shape 182">
                <a:extLst>
                  <a:ext uri="{FF2B5EF4-FFF2-40B4-BE49-F238E27FC236}">
                    <a16:creationId xmlns:a16="http://schemas.microsoft.com/office/drawing/2014/main" id="{D14A9CCA-2756-E799-C43C-C519654CF7F9}"/>
                  </a:ext>
                </a:extLst>
              </p:cNvPr>
              <p:cNvSpPr/>
              <p:nvPr/>
            </p:nvSpPr>
            <p:spPr>
              <a:xfrm>
                <a:off x="6948551" y="2207415"/>
                <a:ext cx="271207" cy="87590"/>
              </a:xfrm>
              <a:custGeom>
                <a:avLst/>
                <a:gdLst>
                  <a:gd name="connsiteX0" fmla="*/ 13049 w 271207"/>
                  <a:gd name="connsiteY0" fmla="*/ 87591 h 87590"/>
                  <a:gd name="connsiteX1" fmla="*/ 13145 w 271207"/>
                  <a:gd name="connsiteY1" fmla="*/ 87591 h 87590"/>
                  <a:gd name="connsiteX2" fmla="*/ 26289 w 271207"/>
                  <a:gd name="connsiteY2" fmla="*/ 74541 h 87590"/>
                  <a:gd name="connsiteX3" fmla="*/ 48387 w 271207"/>
                  <a:gd name="connsiteY3" fmla="*/ 34917 h 87590"/>
                  <a:gd name="connsiteX4" fmla="*/ 96203 w 271207"/>
                  <a:gd name="connsiteY4" fmla="*/ 29298 h 87590"/>
                  <a:gd name="connsiteX5" fmla="*/ 118396 w 271207"/>
                  <a:gd name="connsiteY5" fmla="*/ 39299 h 87590"/>
                  <a:gd name="connsiteX6" fmla="*/ 161449 w 271207"/>
                  <a:gd name="connsiteY6" fmla="*/ 54920 h 87590"/>
                  <a:gd name="connsiteX7" fmla="*/ 266033 w 271207"/>
                  <a:gd name="connsiteY7" fmla="*/ 23678 h 87590"/>
                  <a:gd name="connsiteX8" fmla="*/ 268510 w 271207"/>
                  <a:gd name="connsiteY8" fmla="*/ 5295 h 87590"/>
                  <a:gd name="connsiteX9" fmla="*/ 250126 w 271207"/>
                  <a:gd name="connsiteY9" fmla="*/ 2818 h 87590"/>
                  <a:gd name="connsiteX10" fmla="*/ 165449 w 271207"/>
                  <a:gd name="connsiteY10" fmla="*/ 28917 h 87590"/>
                  <a:gd name="connsiteX11" fmla="*/ 130207 w 271207"/>
                  <a:gd name="connsiteY11" fmla="*/ 15772 h 87590"/>
                  <a:gd name="connsiteX12" fmla="*/ 105061 w 271207"/>
                  <a:gd name="connsiteY12" fmla="*/ 4533 h 87590"/>
                  <a:gd name="connsiteX13" fmla="*/ 34004 w 271207"/>
                  <a:gd name="connsiteY13" fmla="*/ 12915 h 87590"/>
                  <a:gd name="connsiteX14" fmla="*/ 0 w 271207"/>
                  <a:gd name="connsiteY14" fmla="*/ 74256 h 87590"/>
                  <a:gd name="connsiteX15" fmla="*/ 13049 w 271207"/>
                  <a:gd name="connsiteY15" fmla="*/ 87495 h 87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1207" h="87590">
                    <a:moveTo>
                      <a:pt x="13049" y="87591"/>
                    </a:moveTo>
                    <a:lnTo>
                      <a:pt x="13145" y="87591"/>
                    </a:lnTo>
                    <a:cubicBezTo>
                      <a:pt x="20383" y="87591"/>
                      <a:pt x="26194" y="81780"/>
                      <a:pt x="26289" y="74541"/>
                    </a:cubicBezTo>
                    <a:cubicBezTo>
                      <a:pt x="26384" y="59206"/>
                      <a:pt x="35052" y="43680"/>
                      <a:pt x="48387" y="34917"/>
                    </a:cubicBezTo>
                    <a:cubicBezTo>
                      <a:pt x="61913" y="25964"/>
                      <a:pt x="80677" y="23773"/>
                      <a:pt x="96203" y="29298"/>
                    </a:cubicBezTo>
                    <a:cubicBezTo>
                      <a:pt x="103823" y="32060"/>
                      <a:pt x="110871" y="35584"/>
                      <a:pt x="118396" y="39299"/>
                    </a:cubicBezTo>
                    <a:cubicBezTo>
                      <a:pt x="131350" y="45776"/>
                      <a:pt x="144685" y="52443"/>
                      <a:pt x="161449" y="54920"/>
                    </a:cubicBezTo>
                    <a:cubicBezTo>
                      <a:pt x="196691" y="60254"/>
                      <a:pt x="231839" y="49776"/>
                      <a:pt x="266033" y="23678"/>
                    </a:cubicBezTo>
                    <a:cubicBezTo>
                      <a:pt x="271844" y="19296"/>
                      <a:pt x="272891" y="11010"/>
                      <a:pt x="268510" y="5295"/>
                    </a:cubicBezTo>
                    <a:cubicBezTo>
                      <a:pt x="264128" y="-516"/>
                      <a:pt x="255842" y="-1563"/>
                      <a:pt x="250126" y="2818"/>
                    </a:cubicBezTo>
                    <a:cubicBezTo>
                      <a:pt x="221456" y="24630"/>
                      <a:pt x="193643" y="33203"/>
                      <a:pt x="165449" y="28917"/>
                    </a:cubicBezTo>
                    <a:cubicBezTo>
                      <a:pt x="152781" y="27012"/>
                      <a:pt x="141827" y="21487"/>
                      <a:pt x="130207" y="15772"/>
                    </a:cubicBezTo>
                    <a:cubicBezTo>
                      <a:pt x="122396" y="11867"/>
                      <a:pt x="114205" y="7771"/>
                      <a:pt x="105061" y="4533"/>
                    </a:cubicBezTo>
                    <a:cubicBezTo>
                      <a:pt x="81725" y="-3754"/>
                      <a:pt x="54578" y="-516"/>
                      <a:pt x="34004" y="12915"/>
                    </a:cubicBezTo>
                    <a:cubicBezTo>
                      <a:pt x="13240" y="26535"/>
                      <a:pt x="190" y="50062"/>
                      <a:pt x="0" y="74256"/>
                    </a:cubicBezTo>
                    <a:cubicBezTo>
                      <a:pt x="0" y="81495"/>
                      <a:pt x="5810" y="87400"/>
                      <a:pt x="13049" y="8749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3" name="Freeform: Shape 183">
                <a:extLst>
                  <a:ext uri="{FF2B5EF4-FFF2-40B4-BE49-F238E27FC236}">
                    <a16:creationId xmlns:a16="http://schemas.microsoft.com/office/drawing/2014/main" id="{A41A88E1-1A10-09A0-6FD8-22144517E01C}"/>
                  </a:ext>
                </a:extLst>
              </p:cNvPr>
              <p:cNvSpPr/>
              <p:nvPr/>
            </p:nvSpPr>
            <p:spPr>
              <a:xfrm>
                <a:off x="7115715" y="2105117"/>
                <a:ext cx="271207" cy="87590"/>
              </a:xfrm>
              <a:custGeom>
                <a:avLst/>
                <a:gdLst>
                  <a:gd name="connsiteX0" fmla="*/ 13049 w 271207"/>
                  <a:gd name="connsiteY0" fmla="*/ 87591 h 87590"/>
                  <a:gd name="connsiteX1" fmla="*/ 13145 w 271207"/>
                  <a:gd name="connsiteY1" fmla="*/ 87591 h 87590"/>
                  <a:gd name="connsiteX2" fmla="*/ 26289 w 271207"/>
                  <a:gd name="connsiteY2" fmla="*/ 74541 h 87590"/>
                  <a:gd name="connsiteX3" fmla="*/ 48387 w 271207"/>
                  <a:gd name="connsiteY3" fmla="*/ 34917 h 87590"/>
                  <a:gd name="connsiteX4" fmla="*/ 96203 w 271207"/>
                  <a:gd name="connsiteY4" fmla="*/ 29298 h 87590"/>
                  <a:gd name="connsiteX5" fmla="*/ 118396 w 271207"/>
                  <a:gd name="connsiteY5" fmla="*/ 39299 h 87590"/>
                  <a:gd name="connsiteX6" fmla="*/ 161449 w 271207"/>
                  <a:gd name="connsiteY6" fmla="*/ 54920 h 87590"/>
                  <a:gd name="connsiteX7" fmla="*/ 266033 w 271207"/>
                  <a:gd name="connsiteY7" fmla="*/ 23678 h 87590"/>
                  <a:gd name="connsiteX8" fmla="*/ 268510 w 271207"/>
                  <a:gd name="connsiteY8" fmla="*/ 5295 h 87590"/>
                  <a:gd name="connsiteX9" fmla="*/ 250127 w 271207"/>
                  <a:gd name="connsiteY9" fmla="*/ 2818 h 87590"/>
                  <a:gd name="connsiteX10" fmla="*/ 165449 w 271207"/>
                  <a:gd name="connsiteY10" fmla="*/ 28917 h 87590"/>
                  <a:gd name="connsiteX11" fmla="*/ 130207 w 271207"/>
                  <a:gd name="connsiteY11" fmla="*/ 15772 h 87590"/>
                  <a:gd name="connsiteX12" fmla="*/ 105061 w 271207"/>
                  <a:gd name="connsiteY12" fmla="*/ 4533 h 87590"/>
                  <a:gd name="connsiteX13" fmla="*/ 34004 w 271207"/>
                  <a:gd name="connsiteY13" fmla="*/ 12915 h 87590"/>
                  <a:gd name="connsiteX14" fmla="*/ 0 w 271207"/>
                  <a:gd name="connsiteY14" fmla="*/ 74256 h 87590"/>
                  <a:gd name="connsiteX15" fmla="*/ 13049 w 271207"/>
                  <a:gd name="connsiteY15" fmla="*/ 87495 h 87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1207" h="87590">
                    <a:moveTo>
                      <a:pt x="13049" y="87591"/>
                    </a:moveTo>
                    <a:lnTo>
                      <a:pt x="13145" y="87591"/>
                    </a:lnTo>
                    <a:cubicBezTo>
                      <a:pt x="20384" y="87591"/>
                      <a:pt x="26194" y="81780"/>
                      <a:pt x="26289" y="74541"/>
                    </a:cubicBezTo>
                    <a:cubicBezTo>
                      <a:pt x="26384" y="59206"/>
                      <a:pt x="35052" y="43680"/>
                      <a:pt x="48387" y="34917"/>
                    </a:cubicBezTo>
                    <a:cubicBezTo>
                      <a:pt x="62008" y="25964"/>
                      <a:pt x="80772" y="23773"/>
                      <a:pt x="96203" y="29298"/>
                    </a:cubicBezTo>
                    <a:cubicBezTo>
                      <a:pt x="103823" y="32060"/>
                      <a:pt x="110871" y="35489"/>
                      <a:pt x="118396" y="39299"/>
                    </a:cubicBezTo>
                    <a:cubicBezTo>
                      <a:pt x="131350" y="45776"/>
                      <a:pt x="144685" y="52443"/>
                      <a:pt x="161449" y="54920"/>
                    </a:cubicBezTo>
                    <a:cubicBezTo>
                      <a:pt x="196596" y="60254"/>
                      <a:pt x="231839" y="49776"/>
                      <a:pt x="266033" y="23678"/>
                    </a:cubicBezTo>
                    <a:cubicBezTo>
                      <a:pt x="271844" y="19296"/>
                      <a:pt x="272891" y="11010"/>
                      <a:pt x="268510" y="5295"/>
                    </a:cubicBezTo>
                    <a:cubicBezTo>
                      <a:pt x="264128" y="-516"/>
                      <a:pt x="255937" y="-1563"/>
                      <a:pt x="250127" y="2818"/>
                    </a:cubicBezTo>
                    <a:cubicBezTo>
                      <a:pt x="221456" y="24726"/>
                      <a:pt x="193739" y="33203"/>
                      <a:pt x="165449" y="28917"/>
                    </a:cubicBezTo>
                    <a:cubicBezTo>
                      <a:pt x="152781" y="27012"/>
                      <a:pt x="141827" y="21487"/>
                      <a:pt x="130207" y="15772"/>
                    </a:cubicBezTo>
                    <a:cubicBezTo>
                      <a:pt x="122396" y="11867"/>
                      <a:pt x="114300" y="7771"/>
                      <a:pt x="105061" y="4533"/>
                    </a:cubicBezTo>
                    <a:cubicBezTo>
                      <a:pt x="81725" y="-3754"/>
                      <a:pt x="54578" y="-516"/>
                      <a:pt x="34004" y="12915"/>
                    </a:cubicBezTo>
                    <a:cubicBezTo>
                      <a:pt x="13240" y="26535"/>
                      <a:pt x="191" y="50062"/>
                      <a:pt x="0" y="74256"/>
                    </a:cubicBezTo>
                    <a:cubicBezTo>
                      <a:pt x="0" y="81495"/>
                      <a:pt x="5810" y="87400"/>
                      <a:pt x="13049" y="8749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4" name="Freeform: Shape 184">
                <a:extLst>
                  <a:ext uri="{FF2B5EF4-FFF2-40B4-BE49-F238E27FC236}">
                    <a16:creationId xmlns:a16="http://schemas.microsoft.com/office/drawing/2014/main" id="{577061C4-59AE-0BA5-8CA3-97EED6F7901F}"/>
                  </a:ext>
                </a:extLst>
              </p:cNvPr>
              <p:cNvSpPr/>
              <p:nvPr/>
            </p:nvSpPr>
            <p:spPr>
              <a:xfrm>
                <a:off x="7251732" y="2206558"/>
                <a:ext cx="271207" cy="87495"/>
              </a:xfrm>
              <a:custGeom>
                <a:avLst/>
                <a:gdLst>
                  <a:gd name="connsiteX0" fmla="*/ 104966 w 271207"/>
                  <a:gd name="connsiteY0" fmla="*/ 4533 h 87495"/>
                  <a:gd name="connsiteX1" fmla="*/ 33909 w 271207"/>
                  <a:gd name="connsiteY1" fmla="*/ 12915 h 87495"/>
                  <a:gd name="connsiteX2" fmla="*/ 0 w 271207"/>
                  <a:gd name="connsiteY2" fmla="*/ 74256 h 87495"/>
                  <a:gd name="connsiteX3" fmla="*/ 13049 w 271207"/>
                  <a:gd name="connsiteY3" fmla="*/ 87495 h 87495"/>
                  <a:gd name="connsiteX4" fmla="*/ 13145 w 271207"/>
                  <a:gd name="connsiteY4" fmla="*/ 87495 h 87495"/>
                  <a:gd name="connsiteX5" fmla="*/ 26289 w 271207"/>
                  <a:gd name="connsiteY5" fmla="*/ 74446 h 87495"/>
                  <a:gd name="connsiteX6" fmla="*/ 48387 w 271207"/>
                  <a:gd name="connsiteY6" fmla="*/ 34822 h 87495"/>
                  <a:gd name="connsiteX7" fmla="*/ 96203 w 271207"/>
                  <a:gd name="connsiteY7" fmla="*/ 29202 h 87495"/>
                  <a:gd name="connsiteX8" fmla="*/ 118396 w 271207"/>
                  <a:gd name="connsiteY8" fmla="*/ 39204 h 87495"/>
                  <a:gd name="connsiteX9" fmla="*/ 161449 w 271207"/>
                  <a:gd name="connsiteY9" fmla="*/ 54825 h 87495"/>
                  <a:gd name="connsiteX10" fmla="*/ 266033 w 271207"/>
                  <a:gd name="connsiteY10" fmla="*/ 23583 h 87495"/>
                  <a:gd name="connsiteX11" fmla="*/ 268510 w 271207"/>
                  <a:gd name="connsiteY11" fmla="*/ 5199 h 87495"/>
                  <a:gd name="connsiteX12" fmla="*/ 250126 w 271207"/>
                  <a:gd name="connsiteY12" fmla="*/ 2723 h 87495"/>
                  <a:gd name="connsiteX13" fmla="*/ 165449 w 271207"/>
                  <a:gd name="connsiteY13" fmla="*/ 28821 h 87495"/>
                  <a:gd name="connsiteX14" fmla="*/ 130207 w 271207"/>
                  <a:gd name="connsiteY14" fmla="*/ 15677 h 87495"/>
                  <a:gd name="connsiteX15" fmla="*/ 105061 w 271207"/>
                  <a:gd name="connsiteY15" fmla="*/ 4437 h 8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1207" h="87495">
                    <a:moveTo>
                      <a:pt x="104966" y="4533"/>
                    </a:moveTo>
                    <a:cubicBezTo>
                      <a:pt x="81725" y="-3754"/>
                      <a:pt x="54483" y="-516"/>
                      <a:pt x="33909" y="12915"/>
                    </a:cubicBezTo>
                    <a:cubicBezTo>
                      <a:pt x="13145" y="26535"/>
                      <a:pt x="191" y="50062"/>
                      <a:pt x="0" y="74256"/>
                    </a:cubicBezTo>
                    <a:cubicBezTo>
                      <a:pt x="0" y="81495"/>
                      <a:pt x="5810" y="87400"/>
                      <a:pt x="13049" y="87495"/>
                    </a:cubicBezTo>
                    <a:lnTo>
                      <a:pt x="13145" y="87495"/>
                    </a:lnTo>
                    <a:cubicBezTo>
                      <a:pt x="20384" y="87495"/>
                      <a:pt x="26194" y="81685"/>
                      <a:pt x="26289" y="74446"/>
                    </a:cubicBezTo>
                    <a:cubicBezTo>
                      <a:pt x="26384" y="59111"/>
                      <a:pt x="35052" y="43585"/>
                      <a:pt x="48387" y="34822"/>
                    </a:cubicBezTo>
                    <a:cubicBezTo>
                      <a:pt x="61913" y="25869"/>
                      <a:pt x="80677" y="23678"/>
                      <a:pt x="96203" y="29202"/>
                    </a:cubicBezTo>
                    <a:cubicBezTo>
                      <a:pt x="103823" y="31965"/>
                      <a:pt x="110871" y="35489"/>
                      <a:pt x="118396" y="39204"/>
                    </a:cubicBezTo>
                    <a:cubicBezTo>
                      <a:pt x="131350" y="45681"/>
                      <a:pt x="144685" y="52348"/>
                      <a:pt x="161449" y="54825"/>
                    </a:cubicBezTo>
                    <a:cubicBezTo>
                      <a:pt x="196691" y="60159"/>
                      <a:pt x="231839" y="49681"/>
                      <a:pt x="266033" y="23583"/>
                    </a:cubicBezTo>
                    <a:cubicBezTo>
                      <a:pt x="271844" y="19201"/>
                      <a:pt x="272891" y="10914"/>
                      <a:pt x="268510" y="5199"/>
                    </a:cubicBezTo>
                    <a:cubicBezTo>
                      <a:pt x="264128" y="-611"/>
                      <a:pt x="255937" y="-1659"/>
                      <a:pt x="250126" y="2723"/>
                    </a:cubicBezTo>
                    <a:cubicBezTo>
                      <a:pt x="221456" y="24630"/>
                      <a:pt x="193643" y="33108"/>
                      <a:pt x="165449" y="28821"/>
                    </a:cubicBezTo>
                    <a:cubicBezTo>
                      <a:pt x="152781" y="26916"/>
                      <a:pt x="141827" y="21487"/>
                      <a:pt x="130207" y="15677"/>
                    </a:cubicBezTo>
                    <a:cubicBezTo>
                      <a:pt x="122396" y="11772"/>
                      <a:pt x="114205" y="7676"/>
                      <a:pt x="105061" y="443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15" name="Freeform: Shape 185">
                <a:extLst>
                  <a:ext uri="{FF2B5EF4-FFF2-40B4-BE49-F238E27FC236}">
                    <a16:creationId xmlns:a16="http://schemas.microsoft.com/office/drawing/2014/main" id="{A3DFD296-6B48-B1EE-D896-F9BD40983A66}"/>
                  </a:ext>
                </a:extLst>
              </p:cNvPr>
              <p:cNvSpPr/>
              <p:nvPr/>
            </p:nvSpPr>
            <p:spPr>
              <a:xfrm>
                <a:off x="6865874" y="2292725"/>
                <a:ext cx="657034" cy="469196"/>
              </a:xfrm>
              <a:custGeom>
                <a:avLst/>
                <a:gdLst>
                  <a:gd name="connsiteX0" fmla="*/ 650462 w 657034"/>
                  <a:gd name="connsiteY0" fmla="*/ 141061 h 469197"/>
                  <a:gd name="connsiteX1" fmla="*/ 637318 w 657034"/>
                  <a:gd name="connsiteY1" fmla="*/ 141061 h 469197"/>
                  <a:gd name="connsiteX2" fmla="*/ 425291 w 657034"/>
                  <a:gd name="connsiteY2" fmla="*/ 263648 h 469197"/>
                  <a:gd name="connsiteX3" fmla="*/ 425291 w 657034"/>
                  <a:gd name="connsiteY3" fmla="*/ 152491 h 469197"/>
                  <a:gd name="connsiteX4" fmla="*/ 418433 w 657034"/>
                  <a:gd name="connsiteY4" fmla="*/ 140966 h 469197"/>
                  <a:gd name="connsiteX5" fmla="*/ 405003 w 657034"/>
                  <a:gd name="connsiteY5" fmla="*/ 141442 h 469197"/>
                  <a:gd name="connsiteX6" fmla="*/ 194215 w 657034"/>
                  <a:gd name="connsiteY6" fmla="*/ 275935 h 469197"/>
                  <a:gd name="connsiteX7" fmla="*/ 194215 w 657034"/>
                  <a:gd name="connsiteY7" fmla="*/ 95055 h 469197"/>
                  <a:gd name="connsiteX8" fmla="*/ 186881 w 657034"/>
                  <a:gd name="connsiteY8" fmla="*/ 83244 h 469197"/>
                  <a:gd name="connsiteX9" fmla="*/ 18955 w 657034"/>
                  <a:gd name="connsiteY9" fmla="*/ 1329 h 469197"/>
                  <a:gd name="connsiteX10" fmla="*/ 6191 w 657034"/>
                  <a:gd name="connsiteY10" fmla="*/ 1996 h 469197"/>
                  <a:gd name="connsiteX11" fmla="*/ 0 w 657034"/>
                  <a:gd name="connsiteY11" fmla="*/ 13140 h 469197"/>
                  <a:gd name="connsiteX12" fmla="*/ 0 w 657034"/>
                  <a:gd name="connsiteY12" fmla="*/ 456053 h 469197"/>
                  <a:gd name="connsiteX13" fmla="*/ 13145 w 657034"/>
                  <a:gd name="connsiteY13" fmla="*/ 469197 h 469197"/>
                  <a:gd name="connsiteX14" fmla="*/ 412147 w 657034"/>
                  <a:gd name="connsiteY14" fmla="*/ 469197 h 469197"/>
                  <a:gd name="connsiteX15" fmla="*/ 413290 w 657034"/>
                  <a:gd name="connsiteY15" fmla="*/ 469197 h 469197"/>
                  <a:gd name="connsiteX16" fmla="*/ 643890 w 657034"/>
                  <a:gd name="connsiteY16" fmla="*/ 469197 h 469197"/>
                  <a:gd name="connsiteX17" fmla="*/ 657035 w 657034"/>
                  <a:gd name="connsiteY17" fmla="*/ 456053 h 469197"/>
                  <a:gd name="connsiteX18" fmla="*/ 657035 w 657034"/>
                  <a:gd name="connsiteY18" fmla="*/ 152586 h 469197"/>
                  <a:gd name="connsiteX19" fmla="*/ 650462 w 657034"/>
                  <a:gd name="connsiteY19" fmla="*/ 141156 h 469197"/>
                  <a:gd name="connsiteX20" fmla="*/ 167926 w 657034"/>
                  <a:gd name="connsiteY20" fmla="*/ 103151 h 469197"/>
                  <a:gd name="connsiteX21" fmla="*/ 167926 w 657034"/>
                  <a:gd name="connsiteY21" fmla="*/ 162397 h 469197"/>
                  <a:gd name="connsiteX22" fmla="*/ 26384 w 657034"/>
                  <a:gd name="connsiteY22" fmla="*/ 162397 h 469197"/>
                  <a:gd name="connsiteX23" fmla="*/ 26384 w 657034"/>
                  <a:gd name="connsiteY23" fmla="*/ 34095 h 469197"/>
                  <a:gd name="connsiteX24" fmla="*/ 167926 w 657034"/>
                  <a:gd name="connsiteY24" fmla="*/ 103151 h 469197"/>
                  <a:gd name="connsiteX25" fmla="*/ 26384 w 657034"/>
                  <a:gd name="connsiteY25" fmla="*/ 442813 h 469197"/>
                  <a:gd name="connsiteX26" fmla="*/ 26384 w 657034"/>
                  <a:gd name="connsiteY26" fmla="*/ 188686 h 469197"/>
                  <a:gd name="connsiteX27" fmla="*/ 167926 w 657034"/>
                  <a:gd name="connsiteY27" fmla="*/ 188686 h 469197"/>
                  <a:gd name="connsiteX28" fmla="*/ 167926 w 657034"/>
                  <a:gd name="connsiteY28" fmla="*/ 442813 h 469197"/>
                  <a:gd name="connsiteX29" fmla="*/ 26384 w 657034"/>
                  <a:gd name="connsiteY29" fmla="*/ 442813 h 469197"/>
                  <a:gd name="connsiteX30" fmla="*/ 630746 w 657034"/>
                  <a:gd name="connsiteY30" fmla="*/ 442813 h 469197"/>
                  <a:gd name="connsiteX31" fmla="*/ 412147 w 657034"/>
                  <a:gd name="connsiteY31" fmla="*/ 442813 h 469197"/>
                  <a:gd name="connsiteX32" fmla="*/ 411004 w 657034"/>
                  <a:gd name="connsiteY32" fmla="*/ 442813 h 469197"/>
                  <a:gd name="connsiteX33" fmla="*/ 194215 w 657034"/>
                  <a:gd name="connsiteY33" fmla="*/ 442813 h 469197"/>
                  <a:gd name="connsiteX34" fmla="*/ 194215 w 657034"/>
                  <a:gd name="connsiteY34" fmla="*/ 307082 h 469197"/>
                  <a:gd name="connsiteX35" fmla="*/ 398907 w 657034"/>
                  <a:gd name="connsiteY35" fmla="*/ 176494 h 469197"/>
                  <a:gd name="connsiteX36" fmla="*/ 398907 w 657034"/>
                  <a:gd name="connsiteY36" fmla="*/ 286412 h 469197"/>
                  <a:gd name="connsiteX37" fmla="*/ 405479 w 657034"/>
                  <a:gd name="connsiteY37" fmla="*/ 297842 h 469197"/>
                  <a:gd name="connsiteX38" fmla="*/ 418624 w 657034"/>
                  <a:gd name="connsiteY38" fmla="*/ 297842 h 469197"/>
                  <a:gd name="connsiteX39" fmla="*/ 630650 w 657034"/>
                  <a:gd name="connsiteY39" fmla="*/ 175256 h 469197"/>
                  <a:gd name="connsiteX40" fmla="*/ 630650 w 657034"/>
                  <a:gd name="connsiteY40" fmla="*/ 442813 h 469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57034" h="469197">
                    <a:moveTo>
                      <a:pt x="650462" y="141061"/>
                    </a:moveTo>
                    <a:cubicBezTo>
                      <a:pt x="646367" y="138680"/>
                      <a:pt x="641413" y="138680"/>
                      <a:pt x="637318" y="141061"/>
                    </a:cubicBezTo>
                    <a:lnTo>
                      <a:pt x="425291" y="263648"/>
                    </a:lnTo>
                    <a:lnTo>
                      <a:pt x="425291" y="152491"/>
                    </a:lnTo>
                    <a:cubicBezTo>
                      <a:pt x="425291" y="147728"/>
                      <a:pt x="422720" y="143252"/>
                      <a:pt x="418433" y="140966"/>
                    </a:cubicBezTo>
                    <a:cubicBezTo>
                      <a:pt x="414242" y="138680"/>
                      <a:pt x="409099" y="138870"/>
                      <a:pt x="405003" y="141442"/>
                    </a:cubicBezTo>
                    <a:lnTo>
                      <a:pt x="194215" y="275935"/>
                    </a:lnTo>
                    <a:lnTo>
                      <a:pt x="194215" y="95055"/>
                    </a:lnTo>
                    <a:cubicBezTo>
                      <a:pt x="194215" y="90007"/>
                      <a:pt x="191357" y="85435"/>
                      <a:pt x="186881" y="83244"/>
                    </a:cubicBezTo>
                    <a:lnTo>
                      <a:pt x="18955" y="1329"/>
                    </a:lnTo>
                    <a:cubicBezTo>
                      <a:pt x="14859" y="-671"/>
                      <a:pt x="10096" y="-385"/>
                      <a:pt x="6191" y="1996"/>
                    </a:cubicBezTo>
                    <a:cubicBezTo>
                      <a:pt x="2381" y="4377"/>
                      <a:pt x="0" y="8568"/>
                      <a:pt x="0" y="13140"/>
                    </a:cubicBezTo>
                    <a:lnTo>
                      <a:pt x="0" y="456053"/>
                    </a:lnTo>
                    <a:cubicBezTo>
                      <a:pt x="0" y="463292"/>
                      <a:pt x="5905" y="469197"/>
                      <a:pt x="13145" y="469197"/>
                    </a:cubicBezTo>
                    <a:lnTo>
                      <a:pt x="412147" y="469197"/>
                    </a:lnTo>
                    <a:cubicBezTo>
                      <a:pt x="412147" y="469197"/>
                      <a:pt x="412909" y="469197"/>
                      <a:pt x="413290" y="469197"/>
                    </a:cubicBezTo>
                    <a:lnTo>
                      <a:pt x="643890" y="469197"/>
                    </a:lnTo>
                    <a:cubicBezTo>
                      <a:pt x="651129" y="469197"/>
                      <a:pt x="657035" y="463292"/>
                      <a:pt x="657035" y="456053"/>
                    </a:cubicBezTo>
                    <a:lnTo>
                      <a:pt x="657035" y="152586"/>
                    </a:lnTo>
                    <a:cubicBezTo>
                      <a:pt x="657035" y="147919"/>
                      <a:pt x="654558" y="143537"/>
                      <a:pt x="650462" y="141156"/>
                    </a:cubicBezTo>
                    <a:close/>
                    <a:moveTo>
                      <a:pt x="167926" y="103151"/>
                    </a:moveTo>
                    <a:lnTo>
                      <a:pt x="167926" y="162397"/>
                    </a:lnTo>
                    <a:lnTo>
                      <a:pt x="26384" y="162397"/>
                    </a:lnTo>
                    <a:lnTo>
                      <a:pt x="26384" y="34095"/>
                    </a:lnTo>
                    <a:lnTo>
                      <a:pt x="167926" y="103151"/>
                    </a:lnTo>
                    <a:close/>
                    <a:moveTo>
                      <a:pt x="26384" y="442813"/>
                    </a:moveTo>
                    <a:lnTo>
                      <a:pt x="26384" y="188686"/>
                    </a:lnTo>
                    <a:lnTo>
                      <a:pt x="167926" y="188686"/>
                    </a:lnTo>
                    <a:lnTo>
                      <a:pt x="167926" y="442813"/>
                    </a:lnTo>
                    <a:lnTo>
                      <a:pt x="26384" y="442813"/>
                    </a:lnTo>
                    <a:close/>
                    <a:moveTo>
                      <a:pt x="630746" y="442813"/>
                    </a:moveTo>
                    <a:lnTo>
                      <a:pt x="412147" y="442813"/>
                    </a:lnTo>
                    <a:cubicBezTo>
                      <a:pt x="412147" y="442813"/>
                      <a:pt x="411385" y="442813"/>
                      <a:pt x="411004" y="442813"/>
                    </a:cubicBezTo>
                    <a:lnTo>
                      <a:pt x="194215" y="442813"/>
                    </a:lnTo>
                    <a:lnTo>
                      <a:pt x="194215" y="307082"/>
                    </a:lnTo>
                    <a:lnTo>
                      <a:pt x="398907" y="176494"/>
                    </a:lnTo>
                    <a:lnTo>
                      <a:pt x="398907" y="286412"/>
                    </a:lnTo>
                    <a:cubicBezTo>
                      <a:pt x="398907" y="291080"/>
                      <a:pt x="401384" y="295461"/>
                      <a:pt x="405479" y="297842"/>
                    </a:cubicBezTo>
                    <a:cubicBezTo>
                      <a:pt x="409575" y="300224"/>
                      <a:pt x="414528" y="300224"/>
                      <a:pt x="418624" y="297842"/>
                    </a:cubicBezTo>
                    <a:lnTo>
                      <a:pt x="630650" y="175256"/>
                    </a:lnTo>
                    <a:lnTo>
                      <a:pt x="630650" y="44281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 dirty="0"/>
              </a:p>
            </p:txBody>
          </p:sp>
        </p:grpSp>
        <p:pic>
          <p:nvPicPr>
            <p:cNvPr id="5" name="Graphic 14">
              <a:extLst>
                <a:ext uri="{FF2B5EF4-FFF2-40B4-BE49-F238E27FC236}">
                  <a16:creationId xmlns:a16="http://schemas.microsoft.com/office/drawing/2014/main" id="{4C28C622-9D38-37B7-6575-414C9B56B86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793066" y="1806192"/>
              <a:ext cx="503398" cy="503400"/>
            </a:xfrm>
            <a:prstGeom prst="rect">
              <a:avLst/>
            </a:prstGeom>
          </p:spPr>
        </p:pic>
        <p:sp>
          <p:nvSpPr>
            <p:cNvPr id="6" name="Retângulo: Cantos Arredondados 5">
              <a:extLst>
                <a:ext uri="{FF2B5EF4-FFF2-40B4-BE49-F238E27FC236}">
                  <a16:creationId xmlns:a16="http://schemas.microsoft.com/office/drawing/2014/main" id="{C8C1A70A-3AA3-1D8B-0C98-C7EF115A35C3}"/>
                </a:ext>
              </a:extLst>
            </p:cNvPr>
            <p:cNvSpPr/>
            <p:nvPr/>
          </p:nvSpPr>
          <p:spPr>
            <a:xfrm>
              <a:off x="7228985" y="1679747"/>
              <a:ext cx="4405689" cy="838948"/>
            </a:xfrm>
            <a:prstGeom prst="round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804D0DAD-C9F9-EC53-CE01-8662090BC1A6}"/>
                </a:ext>
              </a:extLst>
            </p:cNvPr>
            <p:cNvSpPr txBox="1"/>
            <p:nvPr/>
          </p:nvSpPr>
          <p:spPr>
            <a:xfrm>
              <a:off x="7337226" y="1953587"/>
              <a:ext cx="109036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b="1" dirty="0">
                  <a:solidFill>
                    <a:schemeClr val="bg1"/>
                  </a:solidFill>
                  <a:latin typeface="FT Base Book" pitchFamily="2" charset="0"/>
                </a:rPr>
                <a:t>Geração</a:t>
              </a:r>
            </a:p>
          </p:txBody>
        </p:sp>
        <p:sp>
          <p:nvSpPr>
            <p:cNvPr id="46" name="Freeform: Shape 195">
              <a:extLst>
                <a:ext uri="{FF2B5EF4-FFF2-40B4-BE49-F238E27FC236}">
                  <a16:creationId xmlns:a16="http://schemas.microsoft.com/office/drawing/2014/main" id="{EA5C0B20-6E2E-9059-24B6-FE45FF1EB100}"/>
                </a:ext>
              </a:extLst>
            </p:cNvPr>
            <p:cNvSpPr/>
            <p:nvPr/>
          </p:nvSpPr>
          <p:spPr>
            <a:xfrm>
              <a:off x="10097068" y="1824129"/>
              <a:ext cx="441587" cy="503401"/>
            </a:xfrm>
            <a:custGeom>
              <a:avLst/>
              <a:gdLst>
                <a:gd name="connsiteX0" fmla="*/ 453797 w 460407"/>
                <a:gd name="connsiteY0" fmla="*/ 331756 h 655986"/>
                <a:gd name="connsiteX1" fmla="*/ 290158 w 460407"/>
                <a:gd name="connsiteY1" fmla="*/ 240125 h 655986"/>
                <a:gd name="connsiteX2" fmla="*/ 291205 w 460407"/>
                <a:gd name="connsiteY2" fmla="*/ 230219 h 655986"/>
                <a:gd name="connsiteX3" fmla="*/ 247771 w 460407"/>
                <a:gd name="connsiteY3" fmla="*/ 175355 h 655986"/>
                <a:gd name="connsiteX4" fmla="*/ 247771 w 460407"/>
                <a:gd name="connsiteY4" fmla="*/ 13145 h 655986"/>
                <a:gd name="connsiteX5" fmla="*/ 234627 w 460407"/>
                <a:gd name="connsiteY5" fmla="*/ 0 h 655986"/>
                <a:gd name="connsiteX6" fmla="*/ 221482 w 460407"/>
                <a:gd name="connsiteY6" fmla="*/ 13145 h 655986"/>
                <a:gd name="connsiteX7" fmla="*/ 221482 w 460407"/>
                <a:gd name="connsiteY7" fmla="*/ 175451 h 655986"/>
                <a:gd name="connsiteX8" fmla="*/ 178048 w 460407"/>
                <a:gd name="connsiteY8" fmla="*/ 230315 h 655986"/>
                <a:gd name="connsiteX9" fmla="*/ 180906 w 460407"/>
                <a:gd name="connsiteY9" fmla="*/ 247269 h 655986"/>
                <a:gd name="connsiteX10" fmla="*/ 179001 w 460407"/>
                <a:gd name="connsiteY10" fmla="*/ 247745 h 655986"/>
                <a:gd name="connsiteX11" fmla="*/ 7360 w 460407"/>
                <a:gd name="connsiteY11" fmla="*/ 331470 h 655986"/>
                <a:gd name="connsiteX12" fmla="*/ 1360 w 460407"/>
                <a:gd name="connsiteY12" fmla="*/ 348996 h 655986"/>
                <a:gd name="connsiteX13" fmla="*/ 13171 w 460407"/>
                <a:gd name="connsiteY13" fmla="*/ 356330 h 655986"/>
                <a:gd name="connsiteX14" fmla="*/ 18886 w 460407"/>
                <a:gd name="connsiteY14" fmla="*/ 354997 h 655986"/>
                <a:gd name="connsiteX15" fmla="*/ 190526 w 460407"/>
                <a:gd name="connsiteY15" fmla="*/ 271272 h 655986"/>
                <a:gd name="connsiteX16" fmla="*/ 193574 w 460407"/>
                <a:gd name="connsiteY16" fmla="*/ 268986 h 655986"/>
                <a:gd name="connsiteX17" fmla="*/ 221578 w 460407"/>
                <a:gd name="connsiteY17" fmla="*/ 285179 h 655986"/>
                <a:gd name="connsiteX18" fmla="*/ 221482 w 460407"/>
                <a:gd name="connsiteY18" fmla="*/ 285845 h 655986"/>
                <a:gd name="connsiteX19" fmla="*/ 221482 w 460407"/>
                <a:gd name="connsiteY19" fmla="*/ 629698 h 655986"/>
                <a:gd name="connsiteX20" fmla="*/ 160713 w 460407"/>
                <a:gd name="connsiteY20" fmla="*/ 629698 h 655986"/>
                <a:gd name="connsiteX21" fmla="*/ 147568 w 460407"/>
                <a:gd name="connsiteY21" fmla="*/ 642842 h 655986"/>
                <a:gd name="connsiteX22" fmla="*/ 160713 w 460407"/>
                <a:gd name="connsiteY22" fmla="*/ 655987 h 655986"/>
                <a:gd name="connsiteX23" fmla="*/ 308446 w 460407"/>
                <a:gd name="connsiteY23" fmla="*/ 655987 h 655986"/>
                <a:gd name="connsiteX24" fmla="*/ 321590 w 460407"/>
                <a:gd name="connsiteY24" fmla="*/ 642842 h 655986"/>
                <a:gd name="connsiteX25" fmla="*/ 308446 w 460407"/>
                <a:gd name="connsiteY25" fmla="*/ 629698 h 655986"/>
                <a:gd name="connsiteX26" fmla="*/ 247676 w 460407"/>
                <a:gd name="connsiteY26" fmla="*/ 629698 h 655986"/>
                <a:gd name="connsiteX27" fmla="*/ 247676 w 460407"/>
                <a:gd name="connsiteY27" fmla="*/ 285750 h 655986"/>
                <a:gd name="connsiteX28" fmla="*/ 247581 w 460407"/>
                <a:gd name="connsiteY28" fmla="*/ 285083 h 655986"/>
                <a:gd name="connsiteX29" fmla="*/ 279490 w 460407"/>
                <a:gd name="connsiteY29" fmla="*/ 264224 h 655986"/>
                <a:gd name="connsiteX30" fmla="*/ 440938 w 460407"/>
                <a:gd name="connsiteY30" fmla="*/ 354616 h 655986"/>
                <a:gd name="connsiteX31" fmla="*/ 447320 w 460407"/>
                <a:gd name="connsiteY31" fmla="*/ 356330 h 655986"/>
                <a:gd name="connsiteX32" fmla="*/ 458750 w 460407"/>
                <a:gd name="connsiteY32" fmla="*/ 349663 h 655986"/>
                <a:gd name="connsiteX33" fmla="*/ 453702 w 460407"/>
                <a:gd name="connsiteY33" fmla="*/ 331851 h 655986"/>
                <a:gd name="connsiteX34" fmla="*/ 234627 w 460407"/>
                <a:gd name="connsiteY34" fmla="*/ 260509 h 655986"/>
                <a:gd name="connsiteX35" fmla="*/ 204337 w 460407"/>
                <a:gd name="connsiteY35" fmla="*/ 230219 h 655986"/>
                <a:gd name="connsiteX36" fmla="*/ 234627 w 460407"/>
                <a:gd name="connsiteY36" fmla="*/ 199930 h 655986"/>
                <a:gd name="connsiteX37" fmla="*/ 264916 w 460407"/>
                <a:gd name="connsiteY37" fmla="*/ 230219 h 655986"/>
                <a:gd name="connsiteX38" fmla="*/ 234627 w 460407"/>
                <a:gd name="connsiteY38" fmla="*/ 260509 h 655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0407" h="655986">
                  <a:moveTo>
                    <a:pt x="453797" y="331756"/>
                  </a:moveTo>
                  <a:lnTo>
                    <a:pt x="290158" y="240125"/>
                  </a:lnTo>
                  <a:cubicBezTo>
                    <a:pt x="290729" y="236887"/>
                    <a:pt x="291205" y="233553"/>
                    <a:pt x="291205" y="230219"/>
                  </a:cubicBezTo>
                  <a:cubicBezTo>
                    <a:pt x="291205" y="203549"/>
                    <a:pt x="272632" y="181356"/>
                    <a:pt x="247771" y="175355"/>
                  </a:cubicBezTo>
                  <a:lnTo>
                    <a:pt x="247771" y="13145"/>
                  </a:lnTo>
                  <a:cubicBezTo>
                    <a:pt x="247771" y="5906"/>
                    <a:pt x="241866" y="0"/>
                    <a:pt x="234627" y="0"/>
                  </a:cubicBezTo>
                  <a:cubicBezTo>
                    <a:pt x="227388" y="0"/>
                    <a:pt x="221482" y="5906"/>
                    <a:pt x="221482" y="13145"/>
                  </a:cubicBezTo>
                  <a:lnTo>
                    <a:pt x="221482" y="175451"/>
                  </a:lnTo>
                  <a:cubicBezTo>
                    <a:pt x="196622" y="181356"/>
                    <a:pt x="178048" y="203645"/>
                    <a:pt x="178048" y="230315"/>
                  </a:cubicBezTo>
                  <a:cubicBezTo>
                    <a:pt x="178048" y="236315"/>
                    <a:pt x="179191" y="241935"/>
                    <a:pt x="180906" y="247269"/>
                  </a:cubicBezTo>
                  <a:cubicBezTo>
                    <a:pt x="180239" y="247460"/>
                    <a:pt x="179668" y="247460"/>
                    <a:pt x="179001" y="247745"/>
                  </a:cubicBezTo>
                  <a:lnTo>
                    <a:pt x="7360" y="331470"/>
                  </a:lnTo>
                  <a:cubicBezTo>
                    <a:pt x="883" y="334613"/>
                    <a:pt x="-1879" y="342519"/>
                    <a:pt x="1360" y="348996"/>
                  </a:cubicBezTo>
                  <a:cubicBezTo>
                    <a:pt x="3646" y="353663"/>
                    <a:pt x="8313" y="356330"/>
                    <a:pt x="13171" y="356330"/>
                  </a:cubicBezTo>
                  <a:cubicBezTo>
                    <a:pt x="15076" y="356330"/>
                    <a:pt x="17076" y="355949"/>
                    <a:pt x="18886" y="354997"/>
                  </a:cubicBezTo>
                  <a:lnTo>
                    <a:pt x="190526" y="271272"/>
                  </a:lnTo>
                  <a:cubicBezTo>
                    <a:pt x="191764" y="270701"/>
                    <a:pt x="192622" y="269843"/>
                    <a:pt x="193574" y="268986"/>
                  </a:cubicBezTo>
                  <a:cubicBezTo>
                    <a:pt x="201004" y="276892"/>
                    <a:pt x="210624" y="282607"/>
                    <a:pt x="221578" y="285179"/>
                  </a:cubicBezTo>
                  <a:cubicBezTo>
                    <a:pt x="221578" y="285369"/>
                    <a:pt x="221482" y="285560"/>
                    <a:pt x="221482" y="285845"/>
                  </a:cubicBezTo>
                  <a:lnTo>
                    <a:pt x="221482" y="629698"/>
                  </a:lnTo>
                  <a:lnTo>
                    <a:pt x="160713" y="629698"/>
                  </a:lnTo>
                  <a:cubicBezTo>
                    <a:pt x="153474" y="629698"/>
                    <a:pt x="147568" y="635603"/>
                    <a:pt x="147568" y="642842"/>
                  </a:cubicBezTo>
                  <a:cubicBezTo>
                    <a:pt x="147568" y="650081"/>
                    <a:pt x="153474" y="655987"/>
                    <a:pt x="160713" y="655987"/>
                  </a:cubicBezTo>
                  <a:lnTo>
                    <a:pt x="308446" y="655987"/>
                  </a:lnTo>
                  <a:cubicBezTo>
                    <a:pt x="315685" y="655987"/>
                    <a:pt x="321590" y="650081"/>
                    <a:pt x="321590" y="642842"/>
                  </a:cubicBezTo>
                  <a:cubicBezTo>
                    <a:pt x="321590" y="635603"/>
                    <a:pt x="315685" y="629698"/>
                    <a:pt x="308446" y="629698"/>
                  </a:cubicBezTo>
                  <a:lnTo>
                    <a:pt x="247676" y="629698"/>
                  </a:lnTo>
                  <a:lnTo>
                    <a:pt x="247676" y="285750"/>
                  </a:lnTo>
                  <a:cubicBezTo>
                    <a:pt x="247676" y="285750"/>
                    <a:pt x="247581" y="285369"/>
                    <a:pt x="247581" y="285083"/>
                  </a:cubicBezTo>
                  <a:cubicBezTo>
                    <a:pt x="260535" y="282035"/>
                    <a:pt x="271679" y="274511"/>
                    <a:pt x="279490" y="264224"/>
                  </a:cubicBezTo>
                  <a:lnTo>
                    <a:pt x="440938" y="354616"/>
                  </a:lnTo>
                  <a:cubicBezTo>
                    <a:pt x="442939" y="355759"/>
                    <a:pt x="445129" y="356330"/>
                    <a:pt x="447320" y="356330"/>
                  </a:cubicBezTo>
                  <a:cubicBezTo>
                    <a:pt x="451892" y="356330"/>
                    <a:pt x="456369" y="353949"/>
                    <a:pt x="458750" y="349663"/>
                  </a:cubicBezTo>
                  <a:cubicBezTo>
                    <a:pt x="462274" y="343376"/>
                    <a:pt x="459988" y="335375"/>
                    <a:pt x="453702" y="331851"/>
                  </a:cubicBezTo>
                  <a:close/>
                  <a:moveTo>
                    <a:pt x="234627" y="260509"/>
                  </a:moveTo>
                  <a:cubicBezTo>
                    <a:pt x="217958" y="260509"/>
                    <a:pt x="204337" y="246888"/>
                    <a:pt x="204337" y="230219"/>
                  </a:cubicBezTo>
                  <a:cubicBezTo>
                    <a:pt x="204337" y="213551"/>
                    <a:pt x="217958" y="199930"/>
                    <a:pt x="234627" y="199930"/>
                  </a:cubicBezTo>
                  <a:cubicBezTo>
                    <a:pt x="251296" y="199930"/>
                    <a:pt x="264916" y="213551"/>
                    <a:pt x="264916" y="230219"/>
                  </a:cubicBezTo>
                  <a:cubicBezTo>
                    <a:pt x="264916" y="246888"/>
                    <a:pt x="251296" y="260509"/>
                    <a:pt x="234627" y="260509"/>
                  </a:cubicBezTo>
                  <a:close/>
                </a:path>
              </a:pathLst>
            </a:custGeom>
            <a:solidFill>
              <a:srgbClr val="333333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pt-PT"/>
            </a:p>
          </p:txBody>
        </p:sp>
      </p:grpSp>
      <p:grpSp>
        <p:nvGrpSpPr>
          <p:cNvPr id="61" name="Agrupar 60">
            <a:extLst>
              <a:ext uri="{FF2B5EF4-FFF2-40B4-BE49-F238E27FC236}">
                <a16:creationId xmlns:a16="http://schemas.microsoft.com/office/drawing/2014/main" id="{87AA69A5-9BFC-6FAC-CD5A-FC3AF698B00F}"/>
              </a:ext>
            </a:extLst>
          </p:cNvPr>
          <p:cNvGrpSpPr/>
          <p:nvPr/>
        </p:nvGrpSpPr>
        <p:grpSpPr>
          <a:xfrm>
            <a:off x="7228985" y="5173323"/>
            <a:ext cx="4405689" cy="838948"/>
            <a:chOff x="7228985" y="5173323"/>
            <a:chExt cx="4405689" cy="838948"/>
          </a:xfrm>
        </p:grpSpPr>
        <p:grpSp>
          <p:nvGrpSpPr>
            <p:cNvPr id="22" name="Graphic 8">
              <a:extLst>
                <a:ext uri="{FF2B5EF4-FFF2-40B4-BE49-F238E27FC236}">
                  <a16:creationId xmlns:a16="http://schemas.microsoft.com/office/drawing/2014/main" id="{28F61163-4BF0-2C55-4658-2EA639D3B2CB}"/>
                </a:ext>
              </a:extLst>
            </p:cNvPr>
            <p:cNvGrpSpPr/>
            <p:nvPr/>
          </p:nvGrpSpPr>
          <p:grpSpPr>
            <a:xfrm>
              <a:off x="10185702" y="5416251"/>
              <a:ext cx="441842" cy="441586"/>
              <a:chOff x="7931071" y="2204189"/>
              <a:chExt cx="657415" cy="657034"/>
            </a:xfrm>
            <a:solidFill>
              <a:schemeClr val="bg1"/>
            </a:solidFill>
          </p:grpSpPr>
          <p:sp>
            <p:nvSpPr>
              <p:cNvPr id="33" name="Freeform: Shape 176">
                <a:extLst>
                  <a:ext uri="{FF2B5EF4-FFF2-40B4-BE49-F238E27FC236}">
                    <a16:creationId xmlns:a16="http://schemas.microsoft.com/office/drawing/2014/main" id="{4EA1AA4E-3DCA-E7F9-137E-54ED4FDC69C9}"/>
                  </a:ext>
                </a:extLst>
              </p:cNvPr>
              <p:cNvSpPr/>
              <p:nvPr/>
            </p:nvSpPr>
            <p:spPr>
              <a:xfrm>
                <a:off x="7931071" y="2204189"/>
                <a:ext cx="657415" cy="657034"/>
              </a:xfrm>
              <a:custGeom>
                <a:avLst/>
                <a:gdLst>
                  <a:gd name="connsiteX0" fmla="*/ 644271 w 657415"/>
                  <a:gd name="connsiteY0" fmla="*/ 630746 h 657034"/>
                  <a:gd name="connsiteX1" fmla="*/ 587597 w 657415"/>
                  <a:gd name="connsiteY1" fmla="*/ 630746 h 657034"/>
                  <a:gd name="connsiteX2" fmla="*/ 587597 w 657415"/>
                  <a:gd name="connsiteY2" fmla="*/ 13145 h 657034"/>
                  <a:gd name="connsiteX3" fmla="*/ 574453 w 657415"/>
                  <a:gd name="connsiteY3" fmla="*/ 0 h 657034"/>
                  <a:gd name="connsiteX4" fmla="*/ 82963 w 657415"/>
                  <a:gd name="connsiteY4" fmla="*/ 0 h 657034"/>
                  <a:gd name="connsiteX5" fmla="*/ 69818 w 657415"/>
                  <a:gd name="connsiteY5" fmla="*/ 13145 h 657034"/>
                  <a:gd name="connsiteX6" fmla="*/ 69818 w 657415"/>
                  <a:gd name="connsiteY6" fmla="*/ 630746 h 657034"/>
                  <a:gd name="connsiteX7" fmla="*/ 13144 w 657415"/>
                  <a:gd name="connsiteY7" fmla="*/ 630746 h 657034"/>
                  <a:gd name="connsiteX8" fmla="*/ 0 w 657415"/>
                  <a:gd name="connsiteY8" fmla="*/ 643890 h 657034"/>
                  <a:gd name="connsiteX9" fmla="*/ 13144 w 657415"/>
                  <a:gd name="connsiteY9" fmla="*/ 657035 h 657034"/>
                  <a:gd name="connsiteX10" fmla="*/ 644271 w 657415"/>
                  <a:gd name="connsiteY10" fmla="*/ 657035 h 657034"/>
                  <a:gd name="connsiteX11" fmla="*/ 657416 w 657415"/>
                  <a:gd name="connsiteY11" fmla="*/ 643890 h 657034"/>
                  <a:gd name="connsiteX12" fmla="*/ 644271 w 657415"/>
                  <a:gd name="connsiteY12" fmla="*/ 630746 h 657034"/>
                  <a:gd name="connsiteX13" fmla="*/ 261938 w 657415"/>
                  <a:gd name="connsiteY13" fmla="*/ 628936 h 657034"/>
                  <a:gd name="connsiteX14" fmla="*/ 261938 w 657415"/>
                  <a:gd name="connsiteY14" fmla="*/ 469392 h 657034"/>
                  <a:gd name="connsiteX15" fmla="*/ 395573 w 657415"/>
                  <a:gd name="connsiteY15" fmla="*/ 469392 h 657034"/>
                  <a:gd name="connsiteX16" fmla="*/ 395573 w 657415"/>
                  <a:gd name="connsiteY16" fmla="*/ 628936 h 657034"/>
                  <a:gd name="connsiteX17" fmla="*/ 261938 w 657415"/>
                  <a:gd name="connsiteY17" fmla="*/ 628936 h 657034"/>
                  <a:gd name="connsiteX18" fmla="*/ 421767 w 657415"/>
                  <a:gd name="connsiteY18" fmla="*/ 630746 h 657034"/>
                  <a:gd name="connsiteX19" fmla="*/ 421767 w 657415"/>
                  <a:gd name="connsiteY19" fmla="*/ 456248 h 657034"/>
                  <a:gd name="connsiteX20" fmla="*/ 408623 w 657415"/>
                  <a:gd name="connsiteY20" fmla="*/ 443103 h 657034"/>
                  <a:gd name="connsiteX21" fmla="*/ 248793 w 657415"/>
                  <a:gd name="connsiteY21" fmla="*/ 443103 h 657034"/>
                  <a:gd name="connsiteX22" fmla="*/ 235649 w 657415"/>
                  <a:gd name="connsiteY22" fmla="*/ 456248 h 657034"/>
                  <a:gd name="connsiteX23" fmla="*/ 235649 w 657415"/>
                  <a:gd name="connsiteY23" fmla="*/ 630746 h 657034"/>
                  <a:gd name="connsiteX24" fmla="*/ 96107 w 657415"/>
                  <a:gd name="connsiteY24" fmla="*/ 630746 h 657034"/>
                  <a:gd name="connsiteX25" fmla="*/ 96107 w 657415"/>
                  <a:gd name="connsiteY25" fmla="*/ 26289 h 657034"/>
                  <a:gd name="connsiteX26" fmla="*/ 561308 w 657415"/>
                  <a:gd name="connsiteY26" fmla="*/ 26289 h 657034"/>
                  <a:gd name="connsiteX27" fmla="*/ 561308 w 657415"/>
                  <a:gd name="connsiteY27" fmla="*/ 630746 h 657034"/>
                  <a:gd name="connsiteX28" fmla="*/ 421672 w 657415"/>
                  <a:gd name="connsiteY28" fmla="*/ 630746 h 657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657415" h="657034">
                    <a:moveTo>
                      <a:pt x="644271" y="630746"/>
                    </a:moveTo>
                    <a:lnTo>
                      <a:pt x="587597" y="630746"/>
                    </a:lnTo>
                    <a:lnTo>
                      <a:pt x="587597" y="13145"/>
                    </a:lnTo>
                    <a:cubicBezTo>
                      <a:pt x="587597" y="5906"/>
                      <a:pt x="581692" y="0"/>
                      <a:pt x="574453" y="0"/>
                    </a:cubicBezTo>
                    <a:lnTo>
                      <a:pt x="82963" y="0"/>
                    </a:lnTo>
                    <a:cubicBezTo>
                      <a:pt x="75724" y="0"/>
                      <a:pt x="69818" y="5906"/>
                      <a:pt x="69818" y="13145"/>
                    </a:cubicBezTo>
                    <a:lnTo>
                      <a:pt x="69818" y="630746"/>
                    </a:lnTo>
                    <a:lnTo>
                      <a:pt x="13144" y="630746"/>
                    </a:lnTo>
                    <a:cubicBezTo>
                      <a:pt x="5905" y="630746"/>
                      <a:pt x="0" y="636651"/>
                      <a:pt x="0" y="643890"/>
                    </a:cubicBezTo>
                    <a:cubicBezTo>
                      <a:pt x="0" y="651129"/>
                      <a:pt x="5905" y="657035"/>
                      <a:pt x="13144" y="657035"/>
                    </a:cubicBezTo>
                    <a:lnTo>
                      <a:pt x="644271" y="657035"/>
                    </a:lnTo>
                    <a:cubicBezTo>
                      <a:pt x="651510" y="657035"/>
                      <a:pt x="657416" y="651129"/>
                      <a:pt x="657416" y="643890"/>
                    </a:cubicBezTo>
                    <a:cubicBezTo>
                      <a:pt x="657416" y="636651"/>
                      <a:pt x="651510" y="630746"/>
                      <a:pt x="644271" y="630746"/>
                    </a:cubicBezTo>
                    <a:close/>
                    <a:moveTo>
                      <a:pt x="261938" y="628936"/>
                    </a:moveTo>
                    <a:lnTo>
                      <a:pt x="261938" y="469392"/>
                    </a:lnTo>
                    <a:lnTo>
                      <a:pt x="395573" y="469392"/>
                    </a:lnTo>
                    <a:lnTo>
                      <a:pt x="395573" y="628936"/>
                    </a:lnTo>
                    <a:lnTo>
                      <a:pt x="261938" y="628936"/>
                    </a:lnTo>
                    <a:close/>
                    <a:moveTo>
                      <a:pt x="421767" y="630746"/>
                    </a:moveTo>
                    <a:lnTo>
                      <a:pt x="421767" y="456248"/>
                    </a:lnTo>
                    <a:cubicBezTo>
                      <a:pt x="421767" y="449009"/>
                      <a:pt x="415862" y="443103"/>
                      <a:pt x="408623" y="443103"/>
                    </a:cubicBezTo>
                    <a:lnTo>
                      <a:pt x="248793" y="443103"/>
                    </a:lnTo>
                    <a:cubicBezTo>
                      <a:pt x="241554" y="443103"/>
                      <a:pt x="235649" y="449009"/>
                      <a:pt x="235649" y="456248"/>
                    </a:cubicBezTo>
                    <a:lnTo>
                      <a:pt x="235649" y="630746"/>
                    </a:lnTo>
                    <a:lnTo>
                      <a:pt x="96107" y="630746"/>
                    </a:lnTo>
                    <a:lnTo>
                      <a:pt x="96107" y="26289"/>
                    </a:lnTo>
                    <a:lnTo>
                      <a:pt x="561308" y="26289"/>
                    </a:lnTo>
                    <a:lnTo>
                      <a:pt x="561308" y="630746"/>
                    </a:lnTo>
                    <a:lnTo>
                      <a:pt x="421672" y="6307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4" name="Freeform: Shape 177">
                <a:extLst>
                  <a:ext uri="{FF2B5EF4-FFF2-40B4-BE49-F238E27FC236}">
                    <a16:creationId xmlns:a16="http://schemas.microsoft.com/office/drawing/2014/main" id="{E1F99837-A3BD-28AB-D329-D349BC5B95BD}"/>
                  </a:ext>
                </a:extLst>
              </p:cNvPr>
              <p:cNvSpPr/>
              <p:nvPr/>
            </p:nvSpPr>
            <p:spPr>
              <a:xfrm>
                <a:off x="8073946" y="2460888"/>
                <a:ext cx="149732" cy="149733"/>
              </a:xfrm>
              <a:custGeom>
                <a:avLst/>
                <a:gdLst>
                  <a:gd name="connsiteX0" fmla="*/ 136589 w 149732"/>
                  <a:gd name="connsiteY0" fmla="*/ 0 h 149733"/>
                  <a:gd name="connsiteX1" fmla="*/ 13145 w 149732"/>
                  <a:gd name="connsiteY1" fmla="*/ 0 h 149733"/>
                  <a:gd name="connsiteX2" fmla="*/ 0 w 149732"/>
                  <a:gd name="connsiteY2" fmla="*/ 13145 h 149733"/>
                  <a:gd name="connsiteX3" fmla="*/ 0 w 149732"/>
                  <a:gd name="connsiteY3" fmla="*/ 136589 h 149733"/>
                  <a:gd name="connsiteX4" fmla="*/ 13145 w 149732"/>
                  <a:gd name="connsiteY4" fmla="*/ 149733 h 149733"/>
                  <a:gd name="connsiteX5" fmla="*/ 136589 w 149732"/>
                  <a:gd name="connsiteY5" fmla="*/ 149733 h 149733"/>
                  <a:gd name="connsiteX6" fmla="*/ 149733 w 149732"/>
                  <a:gd name="connsiteY6" fmla="*/ 136589 h 149733"/>
                  <a:gd name="connsiteX7" fmla="*/ 149733 w 149732"/>
                  <a:gd name="connsiteY7" fmla="*/ 13145 h 149733"/>
                  <a:gd name="connsiteX8" fmla="*/ 136589 w 149732"/>
                  <a:gd name="connsiteY8" fmla="*/ 0 h 149733"/>
                  <a:gd name="connsiteX9" fmla="*/ 123444 w 149732"/>
                  <a:gd name="connsiteY9" fmla="*/ 123444 h 149733"/>
                  <a:gd name="connsiteX10" fmla="*/ 26289 w 149732"/>
                  <a:gd name="connsiteY10" fmla="*/ 123444 h 149733"/>
                  <a:gd name="connsiteX11" fmla="*/ 26289 w 149732"/>
                  <a:gd name="connsiteY11" fmla="*/ 26289 h 149733"/>
                  <a:gd name="connsiteX12" fmla="*/ 123444 w 149732"/>
                  <a:gd name="connsiteY12" fmla="*/ 26289 h 149733"/>
                  <a:gd name="connsiteX13" fmla="*/ 123444 w 149732"/>
                  <a:gd name="connsiteY13" fmla="*/ 123444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9732" h="149733">
                    <a:moveTo>
                      <a:pt x="136589" y="0"/>
                    </a:moveTo>
                    <a:lnTo>
                      <a:pt x="13145" y="0"/>
                    </a:lnTo>
                    <a:cubicBezTo>
                      <a:pt x="5906" y="0"/>
                      <a:pt x="0" y="5906"/>
                      <a:pt x="0" y="13145"/>
                    </a:cubicBezTo>
                    <a:lnTo>
                      <a:pt x="0" y="136589"/>
                    </a:lnTo>
                    <a:cubicBezTo>
                      <a:pt x="0" y="143828"/>
                      <a:pt x="5906" y="149733"/>
                      <a:pt x="13145" y="149733"/>
                    </a:cubicBezTo>
                    <a:lnTo>
                      <a:pt x="136589" y="149733"/>
                    </a:lnTo>
                    <a:cubicBezTo>
                      <a:pt x="143828" y="149733"/>
                      <a:pt x="149733" y="143828"/>
                      <a:pt x="149733" y="136589"/>
                    </a:cubicBezTo>
                    <a:lnTo>
                      <a:pt x="149733" y="13145"/>
                    </a:lnTo>
                    <a:cubicBezTo>
                      <a:pt x="149733" y="5906"/>
                      <a:pt x="143828" y="0"/>
                      <a:pt x="136589" y="0"/>
                    </a:cubicBezTo>
                    <a:close/>
                    <a:moveTo>
                      <a:pt x="123444" y="123444"/>
                    </a:moveTo>
                    <a:lnTo>
                      <a:pt x="26289" y="123444"/>
                    </a:lnTo>
                    <a:lnTo>
                      <a:pt x="26289" y="26289"/>
                    </a:lnTo>
                    <a:lnTo>
                      <a:pt x="123444" y="26289"/>
                    </a:lnTo>
                    <a:lnTo>
                      <a:pt x="123444" y="1234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5" name="Freeform: Shape 178">
                <a:extLst>
                  <a:ext uri="{FF2B5EF4-FFF2-40B4-BE49-F238E27FC236}">
                    <a16:creationId xmlns:a16="http://schemas.microsoft.com/office/drawing/2014/main" id="{047BF047-029C-1A6D-0182-87182DD1D0C7}"/>
                  </a:ext>
                </a:extLst>
              </p:cNvPr>
              <p:cNvSpPr/>
              <p:nvPr/>
            </p:nvSpPr>
            <p:spPr>
              <a:xfrm>
                <a:off x="8073946" y="2269816"/>
                <a:ext cx="149732" cy="149733"/>
              </a:xfrm>
              <a:custGeom>
                <a:avLst/>
                <a:gdLst>
                  <a:gd name="connsiteX0" fmla="*/ 136589 w 149732"/>
                  <a:gd name="connsiteY0" fmla="*/ 0 h 149733"/>
                  <a:gd name="connsiteX1" fmla="*/ 13145 w 149732"/>
                  <a:gd name="connsiteY1" fmla="*/ 0 h 149733"/>
                  <a:gd name="connsiteX2" fmla="*/ 0 w 149732"/>
                  <a:gd name="connsiteY2" fmla="*/ 13145 h 149733"/>
                  <a:gd name="connsiteX3" fmla="*/ 0 w 149732"/>
                  <a:gd name="connsiteY3" fmla="*/ 136589 h 149733"/>
                  <a:gd name="connsiteX4" fmla="*/ 13145 w 149732"/>
                  <a:gd name="connsiteY4" fmla="*/ 149733 h 149733"/>
                  <a:gd name="connsiteX5" fmla="*/ 136589 w 149732"/>
                  <a:gd name="connsiteY5" fmla="*/ 149733 h 149733"/>
                  <a:gd name="connsiteX6" fmla="*/ 149733 w 149732"/>
                  <a:gd name="connsiteY6" fmla="*/ 136589 h 149733"/>
                  <a:gd name="connsiteX7" fmla="*/ 149733 w 149732"/>
                  <a:gd name="connsiteY7" fmla="*/ 13145 h 149733"/>
                  <a:gd name="connsiteX8" fmla="*/ 136589 w 149732"/>
                  <a:gd name="connsiteY8" fmla="*/ 0 h 149733"/>
                  <a:gd name="connsiteX9" fmla="*/ 123444 w 149732"/>
                  <a:gd name="connsiteY9" fmla="*/ 123444 h 149733"/>
                  <a:gd name="connsiteX10" fmla="*/ 26289 w 149732"/>
                  <a:gd name="connsiteY10" fmla="*/ 123444 h 149733"/>
                  <a:gd name="connsiteX11" fmla="*/ 26289 w 149732"/>
                  <a:gd name="connsiteY11" fmla="*/ 26289 h 149733"/>
                  <a:gd name="connsiteX12" fmla="*/ 123444 w 149732"/>
                  <a:gd name="connsiteY12" fmla="*/ 26289 h 149733"/>
                  <a:gd name="connsiteX13" fmla="*/ 123444 w 149732"/>
                  <a:gd name="connsiteY13" fmla="*/ 123444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9732" h="149733">
                    <a:moveTo>
                      <a:pt x="136589" y="0"/>
                    </a:moveTo>
                    <a:lnTo>
                      <a:pt x="13145" y="0"/>
                    </a:lnTo>
                    <a:cubicBezTo>
                      <a:pt x="5906" y="0"/>
                      <a:pt x="0" y="5906"/>
                      <a:pt x="0" y="13145"/>
                    </a:cubicBezTo>
                    <a:lnTo>
                      <a:pt x="0" y="136589"/>
                    </a:lnTo>
                    <a:cubicBezTo>
                      <a:pt x="0" y="143828"/>
                      <a:pt x="5906" y="149733"/>
                      <a:pt x="13145" y="149733"/>
                    </a:cubicBezTo>
                    <a:lnTo>
                      <a:pt x="136589" y="149733"/>
                    </a:lnTo>
                    <a:cubicBezTo>
                      <a:pt x="143828" y="149733"/>
                      <a:pt x="149733" y="143828"/>
                      <a:pt x="149733" y="136589"/>
                    </a:cubicBezTo>
                    <a:lnTo>
                      <a:pt x="149733" y="13145"/>
                    </a:lnTo>
                    <a:cubicBezTo>
                      <a:pt x="149733" y="5906"/>
                      <a:pt x="143828" y="0"/>
                      <a:pt x="136589" y="0"/>
                    </a:cubicBezTo>
                    <a:close/>
                    <a:moveTo>
                      <a:pt x="123444" y="123444"/>
                    </a:moveTo>
                    <a:lnTo>
                      <a:pt x="26289" y="123444"/>
                    </a:lnTo>
                    <a:lnTo>
                      <a:pt x="26289" y="26289"/>
                    </a:lnTo>
                    <a:lnTo>
                      <a:pt x="123444" y="26289"/>
                    </a:lnTo>
                    <a:lnTo>
                      <a:pt x="123444" y="1234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6" name="Freeform: Shape 179">
                <a:extLst>
                  <a:ext uri="{FF2B5EF4-FFF2-40B4-BE49-F238E27FC236}">
                    <a16:creationId xmlns:a16="http://schemas.microsoft.com/office/drawing/2014/main" id="{D28B7BAB-CDC5-A0B6-2C44-A9060FCE6FA4}"/>
                  </a:ext>
                </a:extLst>
              </p:cNvPr>
              <p:cNvSpPr/>
              <p:nvPr/>
            </p:nvSpPr>
            <p:spPr>
              <a:xfrm>
                <a:off x="8295878" y="2460888"/>
                <a:ext cx="149732" cy="149733"/>
              </a:xfrm>
              <a:custGeom>
                <a:avLst/>
                <a:gdLst>
                  <a:gd name="connsiteX0" fmla="*/ 136589 w 149732"/>
                  <a:gd name="connsiteY0" fmla="*/ 0 h 149733"/>
                  <a:gd name="connsiteX1" fmla="*/ 13144 w 149732"/>
                  <a:gd name="connsiteY1" fmla="*/ 0 h 149733"/>
                  <a:gd name="connsiteX2" fmla="*/ 0 w 149732"/>
                  <a:gd name="connsiteY2" fmla="*/ 13145 h 149733"/>
                  <a:gd name="connsiteX3" fmla="*/ 0 w 149732"/>
                  <a:gd name="connsiteY3" fmla="*/ 136589 h 149733"/>
                  <a:gd name="connsiteX4" fmla="*/ 13144 w 149732"/>
                  <a:gd name="connsiteY4" fmla="*/ 149733 h 149733"/>
                  <a:gd name="connsiteX5" fmla="*/ 136589 w 149732"/>
                  <a:gd name="connsiteY5" fmla="*/ 149733 h 149733"/>
                  <a:gd name="connsiteX6" fmla="*/ 149733 w 149732"/>
                  <a:gd name="connsiteY6" fmla="*/ 136589 h 149733"/>
                  <a:gd name="connsiteX7" fmla="*/ 149733 w 149732"/>
                  <a:gd name="connsiteY7" fmla="*/ 13145 h 149733"/>
                  <a:gd name="connsiteX8" fmla="*/ 136589 w 149732"/>
                  <a:gd name="connsiteY8" fmla="*/ 0 h 149733"/>
                  <a:gd name="connsiteX9" fmla="*/ 123444 w 149732"/>
                  <a:gd name="connsiteY9" fmla="*/ 123444 h 149733"/>
                  <a:gd name="connsiteX10" fmla="*/ 26289 w 149732"/>
                  <a:gd name="connsiteY10" fmla="*/ 123444 h 149733"/>
                  <a:gd name="connsiteX11" fmla="*/ 26289 w 149732"/>
                  <a:gd name="connsiteY11" fmla="*/ 26289 h 149733"/>
                  <a:gd name="connsiteX12" fmla="*/ 123444 w 149732"/>
                  <a:gd name="connsiteY12" fmla="*/ 26289 h 149733"/>
                  <a:gd name="connsiteX13" fmla="*/ 123444 w 149732"/>
                  <a:gd name="connsiteY13" fmla="*/ 123444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9732" h="149733">
                    <a:moveTo>
                      <a:pt x="136589" y="0"/>
                    </a:moveTo>
                    <a:lnTo>
                      <a:pt x="13144" y="0"/>
                    </a:lnTo>
                    <a:cubicBezTo>
                      <a:pt x="5905" y="0"/>
                      <a:pt x="0" y="5906"/>
                      <a:pt x="0" y="13145"/>
                    </a:cubicBezTo>
                    <a:lnTo>
                      <a:pt x="0" y="136589"/>
                    </a:lnTo>
                    <a:cubicBezTo>
                      <a:pt x="0" y="143828"/>
                      <a:pt x="5905" y="149733"/>
                      <a:pt x="13144" y="149733"/>
                    </a:cubicBezTo>
                    <a:lnTo>
                      <a:pt x="136589" y="149733"/>
                    </a:lnTo>
                    <a:cubicBezTo>
                      <a:pt x="143827" y="149733"/>
                      <a:pt x="149733" y="143828"/>
                      <a:pt x="149733" y="136589"/>
                    </a:cubicBezTo>
                    <a:lnTo>
                      <a:pt x="149733" y="13145"/>
                    </a:lnTo>
                    <a:cubicBezTo>
                      <a:pt x="149733" y="5906"/>
                      <a:pt x="143827" y="0"/>
                      <a:pt x="136589" y="0"/>
                    </a:cubicBezTo>
                    <a:close/>
                    <a:moveTo>
                      <a:pt x="123444" y="123444"/>
                    </a:moveTo>
                    <a:lnTo>
                      <a:pt x="26289" y="123444"/>
                    </a:lnTo>
                    <a:lnTo>
                      <a:pt x="26289" y="26289"/>
                    </a:lnTo>
                    <a:lnTo>
                      <a:pt x="123444" y="26289"/>
                    </a:lnTo>
                    <a:lnTo>
                      <a:pt x="123444" y="1234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7" name="Freeform: Shape 180">
                <a:extLst>
                  <a:ext uri="{FF2B5EF4-FFF2-40B4-BE49-F238E27FC236}">
                    <a16:creationId xmlns:a16="http://schemas.microsoft.com/office/drawing/2014/main" id="{69D553FF-1CF4-CAAE-9638-7F7A7D6D6E3F}"/>
                  </a:ext>
                </a:extLst>
              </p:cNvPr>
              <p:cNvSpPr/>
              <p:nvPr/>
            </p:nvSpPr>
            <p:spPr>
              <a:xfrm>
                <a:off x="8295878" y="2269816"/>
                <a:ext cx="149732" cy="149733"/>
              </a:xfrm>
              <a:custGeom>
                <a:avLst/>
                <a:gdLst>
                  <a:gd name="connsiteX0" fmla="*/ 136589 w 149732"/>
                  <a:gd name="connsiteY0" fmla="*/ 0 h 149733"/>
                  <a:gd name="connsiteX1" fmla="*/ 13144 w 149732"/>
                  <a:gd name="connsiteY1" fmla="*/ 0 h 149733"/>
                  <a:gd name="connsiteX2" fmla="*/ 0 w 149732"/>
                  <a:gd name="connsiteY2" fmla="*/ 13145 h 149733"/>
                  <a:gd name="connsiteX3" fmla="*/ 0 w 149732"/>
                  <a:gd name="connsiteY3" fmla="*/ 136589 h 149733"/>
                  <a:gd name="connsiteX4" fmla="*/ 13144 w 149732"/>
                  <a:gd name="connsiteY4" fmla="*/ 149733 h 149733"/>
                  <a:gd name="connsiteX5" fmla="*/ 136589 w 149732"/>
                  <a:gd name="connsiteY5" fmla="*/ 149733 h 149733"/>
                  <a:gd name="connsiteX6" fmla="*/ 149733 w 149732"/>
                  <a:gd name="connsiteY6" fmla="*/ 136589 h 149733"/>
                  <a:gd name="connsiteX7" fmla="*/ 149733 w 149732"/>
                  <a:gd name="connsiteY7" fmla="*/ 13145 h 149733"/>
                  <a:gd name="connsiteX8" fmla="*/ 136589 w 149732"/>
                  <a:gd name="connsiteY8" fmla="*/ 0 h 149733"/>
                  <a:gd name="connsiteX9" fmla="*/ 123444 w 149732"/>
                  <a:gd name="connsiteY9" fmla="*/ 123444 h 149733"/>
                  <a:gd name="connsiteX10" fmla="*/ 26289 w 149732"/>
                  <a:gd name="connsiteY10" fmla="*/ 123444 h 149733"/>
                  <a:gd name="connsiteX11" fmla="*/ 26289 w 149732"/>
                  <a:gd name="connsiteY11" fmla="*/ 26289 h 149733"/>
                  <a:gd name="connsiteX12" fmla="*/ 123444 w 149732"/>
                  <a:gd name="connsiteY12" fmla="*/ 26289 h 149733"/>
                  <a:gd name="connsiteX13" fmla="*/ 123444 w 149732"/>
                  <a:gd name="connsiteY13" fmla="*/ 123444 h 149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9732" h="149733">
                    <a:moveTo>
                      <a:pt x="136589" y="0"/>
                    </a:moveTo>
                    <a:lnTo>
                      <a:pt x="13144" y="0"/>
                    </a:lnTo>
                    <a:cubicBezTo>
                      <a:pt x="5905" y="0"/>
                      <a:pt x="0" y="5906"/>
                      <a:pt x="0" y="13145"/>
                    </a:cubicBezTo>
                    <a:lnTo>
                      <a:pt x="0" y="136589"/>
                    </a:lnTo>
                    <a:cubicBezTo>
                      <a:pt x="0" y="143828"/>
                      <a:pt x="5905" y="149733"/>
                      <a:pt x="13144" y="149733"/>
                    </a:cubicBezTo>
                    <a:lnTo>
                      <a:pt x="136589" y="149733"/>
                    </a:lnTo>
                    <a:cubicBezTo>
                      <a:pt x="143827" y="149733"/>
                      <a:pt x="149733" y="143828"/>
                      <a:pt x="149733" y="136589"/>
                    </a:cubicBezTo>
                    <a:lnTo>
                      <a:pt x="149733" y="13145"/>
                    </a:lnTo>
                    <a:cubicBezTo>
                      <a:pt x="149733" y="5906"/>
                      <a:pt x="143827" y="0"/>
                      <a:pt x="136589" y="0"/>
                    </a:cubicBezTo>
                    <a:close/>
                    <a:moveTo>
                      <a:pt x="123444" y="123444"/>
                    </a:moveTo>
                    <a:lnTo>
                      <a:pt x="26289" y="123444"/>
                    </a:lnTo>
                    <a:lnTo>
                      <a:pt x="26289" y="26289"/>
                    </a:lnTo>
                    <a:lnTo>
                      <a:pt x="123444" y="26289"/>
                    </a:lnTo>
                    <a:lnTo>
                      <a:pt x="123444" y="1234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grpSp>
          <p:nvGrpSpPr>
            <p:cNvPr id="24" name="Graphic 16">
              <a:extLst>
                <a:ext uri="{FF2B5EF4-FFF2-40B4-BE49-F238E27FC236}">
                  <a16:creationId xmlns:a16="http://schemas.microsoft.com/office/drawing/2014/main" id="{8EC3F878-BF42-D004-449C-75CABEC54945}"/>
                </a:ext>
              </a:extLst>
            </p:cNvPr>
            <p:cNvGrpSpPr/>
            <p:nvPr/>
          </p:nvGrpSpPr>
          <p:grpSpPr>
            <a:xfrm>
              <a:off x="9476534" y="5416295"/>
              <a:ext cx="440840" cy="441498"/>
              <a:chOff x="5849916" y="2104736"/>
              <a:chExt cx="655922" cy="656899"/>
            </a:xfrm>
            <a:solidFill>
              <a:schemeClr val="bg1"/>
            </a:solidFill>
          </p:grpSpPr>
          <p:sp>
            <p:nvSpPr>
              <p:cNvPr id="27" name="Freeform: Shape 187">
                <a:extLst>
                  <a:ext uri="{FF2B5EF4-FFF2-40B4-BE49-F238E27FC236}">
                    <a16:creationId xmlns:a16="http://schemas.microsoft.com/office/drawing/2014/main" id="{A0BBBDC3-6E06-2450-A974-F37997EFC731}"/>
                  </a:ext>
                </a:extLst>
              </p:cNvPr>
              <p:cNvSpPr/>
              <p:nvPr/>
            </p:nvSpPr>
            <p:spPr>
              <a:xfrm>
                <a:off x="5849916" y="2288724"/>
                <a:ext cx="193928" cy="472911"/>
              </a:xfrm>
              <a:custGeom>
                <a:avLst/>
                <a:gdLst>
                  <a:gd name="connsiteX0" fmla="*/ 186500 w 193928"/>
                  <a:gd name="connsiteY0" fmla="*/ 83054 h 472911"/>
                  <a:gd name="connsiteX1" fmla="*/ 18955 w 193928"/>
                  <a:gd name="connsiteY1" fmla="*/ 1329 h 472911"/>
                  <a:gd name="connsiteX2" fmla="*/ 6191 w 193928"/>
                  <a:gd name="connsiteY2" fmla="*/ 1996 h 472911"/>
                  <a:gd name="connsiteX3" fmla="*/ 0 w 193928"/>
                  <a:gd name="connsiteY3" fmla="*/ 13140 h 472911"/>
                  <a:gd name="connsiteX4" fmla="*/ 0 w 193928"/>
                  <a:gd name="connsiteY4" fmla="*/ 459767 h 472911"/>
                  <a:gd name="connsiteX5" fmla="*/ 13145 w 193928"/>
                  <a:gd name="connsiteY5" fmla="*/ 472912 h 472911"/>
                  <a:gd name="connsiteX6" fmla="*/ 180785 w 193928"/>
                  <a:gd name="connsiteY6" fmla="*/ 472912 h 472911"/>
                  <a:gd name="connsiteX7" fmla="*/ 193929 w 193928"/>
                  <a:gd name="connsiteY7" fmla="*/ 459767 h 472911"/>
                  <a:gd name="connsiteX8" fmla="*/ 193929 w 193928"/>
                  <a:gd name="connsiteY8" fmla="*/ 94865 h 472911"/>
                  <a:gd name="connsiteX9" fmla="*/ 186595 w 193928"/>
                  <a:gd name="connsiteY9" fmla="*/ 83054 h 472911"/>
                  <a:gd name="connsiteX10" fmla="*/ 167640 w 193928"/>
                  <a:gd name="connsiteY10" fmla="*/ 103056 h 472911"/>
                  <a:gd name="connsiteX11" fmla="*/ 167640 w 193928"/>
                  <a:gd name="connsiteY11" fmla="*/ 162206 h 472911"/>
                  <a:gd name="connsiteX12" fmla="*/ 26289 w 193928"/>
                  <a:gd name="connsiteY12" fmla="*/ 162206 h 472911"/>
                  <a:gd name="connsiteX13" fmla="*/ 26289 w 193928"/>
                  <a:gd name="connsiteY13" fmla="*/ 34095 h 472911"/>
                  <a:gd name="connsiteX14" fmla="*/ 167640 w 193928"/>
                  <a:gd name="connsiteY14" fmla="*/ 103056 h 472911"/>
                  <a:gd name="connsiteX15" fmla="*/ 26289 w 193928"/>
                  <a:gd name="connsiteY15" fmla="*/ 446623 h 472911"/>
                  <a:gd name="connsiteX16" fmla="*/ 26289 w 193928"/>
                  <a:gd name="connsiteY16" fmla="*/ 188495 h 472911"/>
                  <a:gd name="connsiteX17" fmla="*/ 167640 w 193928"/>
                  <a:gd name="connsiteY17" fmla="*/ 188495 h 472911"/>
                  <a:gd name="connsiteX18" fmla="*/ 167640 w 193928"/>
                  <a:gd name="connsiteY18" fmla="*/ 446623 h 472911"/>
                  <a:gd name="connsiteX19" fmla="*/ 26289 w 193928"/>
                  <a:gd name="connsiteY19" fmla="*/ 446623 h 472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3928" h="472911">
                    <a:moveTo>
                      <a:pt x="186500" y="83054"/>
                    </a:moveTo>
                    <a:lnTo>
                      <a:pt x="18955" y="1329"/>
                    </a:lnTo>
                    <a:cubicBezTo>
                      <a:pt x="14859" y="-671"/>
                      <a:pt x="10097" y="-385"/>
                      <a:pt x="6191" y="1996"/>
                    </a:cubicBezTo>
                    <a:cubicBezTo>
                      <a:pt x="2381" y="4377"/>
                      <a:pt x="0" y="8568"/>
                      <a:pt x="0" y="13140"/>
                    </a:cubicBezTo>
                    <a:lnTo>
                      <a:pt x="0" y="459767"/>
                    </a:lnTo>
                    <a:cubicBezTo>
                      <a:pt x="0" y="467006"/>
                      <a:pt x="5906" y="472912"/>
                      <a:pt x="13145" y="472912"/>
                    </a:cubicBezTo>
                    <a:lnTo>
                      <a:pt x="180785" y="472912"/>
                    </a:lnTo>
                    <a:cubicBezTo>
                      <a:pt x="188024" y="472912"/>
                      <a:pt x="193929" y="467006"/>
                      <a:pt x="193929" y="459767"/>
                    </a:cubicBezTo>
                    <a:lnTo>
                      <a:pt x="193929" y="94865"/>
                    </a:lnTo>
                    <a:cubicBezTo>
                      <a:pt x="193929" y="89816"/>
                      <a:pt x="191072" y="85244"/>
                      <a:pt x="186595" y="83054"/>
                    </a:cubicBezTo>
                    <a:close/>
                    <a:moveTo>
                      <a:pt x="167640" y="103056"/>
                    </a:moveTo>
                    <a:lnTo>
                      <a:pt x="167640" y="162206"/>
                    </a:lnTo>
                    <a:lnTo>
                      <a:pt x="26289" y="162206"/>
                    </a:lnTo>
                    <a:lnTo>
                      <a:pt x="26289" y="34095"/>
                    </a:lnTo>
                    <a:lnTo>
                      <a:pt x="167640" y="103056"/>
                    </a:lnTo>
                    <a:close/>
                    <a:moveTo>
                      <a:pt x="26289" y="446623"/>
                    </a:moveTo>
                    <a:lnTo>
                      <a:pt x="26289" y="188495"/>
                    </a:lnTo>
                    <a:lnTo>
                      <a:pt x="167640" y="188495"/>
                    </a:lnTo>
                    <a:lnTo>
                      <a:pt x="167640" y="446623"/>
                    </a:lnTo>
                    <a:lnTo>
                      <a:pt x="26289" y="44662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8" name="Freeform: Shape 188">
                <a:extLst>
                  <a:ext uri="{FF2B5EF4-FFF2-40B4-BE49-F238E27FC236}">
                    <a16:creationId xmlns:a16="http://schemas.microsoft.com/office/drawing/2014/main" id="{1FAF7448-78E5-E5E1-0A24-EB09F06E63B3}"/>
                  </a:ext>
                </a:extLst>
              </p:cNvPr>
              <p:cNvSpPr/>
              <p:nvPr/>
            </p:nvSpPr>
            <p:spPr>
              <a:xfrm>
                <a:off x="6080516" y="2288724"/>
                <a:ext cx="193929" cy="472911"/>
              </a:xfrm>
              <a:custGeom>
                <a:avLst/>
                <a:gdLst>
                  <a:gd name="connsiteX0" fmla="*/ 186595 w 193929"/>
                  <a:gd name="connsiteY0" fmla="*/ 83054 h 472911"/>
                  <a:gd name="connsiteX1" fmla="*/ 18955 w 193929"/>
                  <a:gd name="connsiteY1" fmla="*/ 1329 h 472911"/>
                  <a:gd name="connsiteX2" fmla="*/ 6191 w 193929"/>
                  <a:gd name="connsiteY2" fmla="*/ 1996 h 472911"/>
                  <a:gd name="connsiteX3" fmla="*/ 0 w 193929"/>
                  <a:gd name="connsiteY3" fmla="*/ 13140 h 472911"/>
                  <a:gd name="connsiteX4" fmla="*/ 0 w 193929"/>
                  <a:gd name="connsiteY4" fmla="*/ 459767 h 472911"/>
                  <a:gd name="connsiteX5" fmla="*/ 13145 w 193929"/>
                  <a:gd name="connsiteY5" fmla="*/ 472912 h 472911"/>
                  <a:gd name="connsiteX6" fmla="*/ 180785 w 193929"/>
                  <a:gd name="connsiteY6" fmla="*/ 472912 h 472911"/>
                  <a:gd name="connsiteX7" fmla="*/ 193929 w 193929"/>
                  <a:gd name="connsiteY7" fmla="*/ 459767 h 472911"/>
                  <a:gd name="connsiteX8" fmla="*/ 193929 w 193929"/>
                  <a:gd name="connsiteY8" fmla="*/ 94865 h 472911"/>
                  <a:gd name="connsiteX9" fmla="*/ 186595 w 193929"/>
                  <a:gd name="connsiteY9" fmla="*/ 83054 h 472911"/>
                  <a:gd name="connsiteX10" fmla="*/ 167735 w 193929"/>
                  <a:gd name="connsiteY10" fmla="*/ 103056 h 472911"/>
                  <a:gd name="connsiteX11" fmla="*/ 167735 w 193929"/>
                  <a:gd name="connsiteY11" fmla="*/ 162206 h 472911"/>
                  <a:gd name="connsiteX12" fmla="*/ 26384 w 193929"/>
                  <a:gd name="connsiteY12" fmla="*/ 162206 h 472911"/>
                  <a:gd name="connsiteX13" fmla="*/ 26384 w 193929"/>
                  <a:gd name="connsiteY13" fmla="*/ 34095 h 472911"/>
                  <a:gd name="connsiteX14" fmla="*/ 167735 w 193929"/>
                  <a:gd name="connsiteY14" fmla="*/ 103056 h 472911"/>
                  <a:gd name="connsiteX15" fmla="*/ 26384 w 193929"/>
                  <a:gd name="connsiteY15" fmla="*/ 446623 h 472911"/>
                  <a:gd name="connsiteX16" fmla="*/ 26384 w 193929"/>
                  <a:gd name="connsiteY16" fmla="*/ 188495 h 472911"/>
                  <a:gd name="connsiteX17" fmla="*/ 167735 w 193929"/>
                  <a:gd name="connsiteY17" fmla="*/ 188495 h 472911"/>
                  <a:gd name="connsiteX18" fmla="*/ 167735 w 193929"/>
                  <a:gd name="connsiteY18" fmla="*/ 446623 h 472911"/>
                  <a:gd name="connsiteX19" fmla="*/ 26384 w 193929"/>
                  <a:gd name="connsiteY19" fmla="*/ 446623 h 472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3929" h="472911">
                    <a:moveTo>
                      <a:pt x="186595" y="83054"/>
                    </a:moveTo>
                    <a:lnTo>
                      <a:pt x="18955" y="1329"/>
                    </a:lnTo>
                    <a:cubicBezTo>
                      <a:pt x="14859" y="-671"/>
                      <a:pt x="10096" y="-385"/>
                      <a:pt x="6191" y="1996"/>
                    </a:cubicBezTo>
                    <a:cubicBezTo>
                      <a:pt x="2381" y="4377"/>
                      <a:pt x="0" y="8568"/>
                      <a:pt x="0" y="13140"/>
                    </a:cubicBezTo>
                    <a:lnTo>
                      <a:pt x="0" y="459767"/>
                    </a:lnTo>
                    <a:cubicBezTo>
                      <a:pt x="0" y="467006"/>
                      <a:pt x="5906" y="472912"/>
                      <a:pt x="13145" y="472912"/>
                    </a:cubicBezTo>
                    <a:lnTo>
                      <a:pt x="180785" y="472912"/>
                    </a:lnTo>
                    <a:cubicBezTo>
                      <a:pt x="188024" y="472912"/>
                      <a:pt x="193929" y="467006"/>
                      <a:pt x="193929" y="459767"/>
                    </a:cubicBezTo>
                    <a:lnTo>
                      <a:pt x="193929" y="94865"/>
                    </a:lnTo>
                    <a:cubicBezTo>
                      <a:pt x="193929" y="89816"/>
                      <a:pt x="191072" y="85244"/>
                      <a:pt x="186595" y="83054"/>
                    </a:cubicBezTo>
                    <a:close/>
                    <a:moveTo>
                      <a:pt x="167735" y="103056"/>
                    </a:moveTo>
                    <a:lnTo>
                      <a:pt x="167735" y="162206"/>
                    </a:lnTo>
                    <a:lnTo>
                      <a:pt x="26384" y="162206"/>
                    </a:lnTo>
                    <a:lnTo>
                      <a:pt x="26384" y="34095"/>
                    </a:lnTo>
                    <a:lnTo>
                      <a:pt x="167735" y="103056"/>
                    </a:lnTo>
                    <a:close/>
                    <a:moveTo>
                      <a:pt x="26384" y="446623"/>
                    </a:moveTo>
                    <a:lnTo>
                      <a:pt x="26384" y="188495"/>
                    </a:lnTo>
                    <a:lnTo>
                      <a:pt x="167735" y="188495"/>
                    </a:lnTo>
                    <a:lnTo>
                      <a:pt x="167735" y="446623"/>
                    </a:lnTo>
                    <a:lnTo>
                      <a:pt x="26384" y="44662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29" name="Freeform: Shape 189">
                <a:extLst>
                  <a:ext uri="{FF2B5EF4-FFF2-40B4-BE49-F238E27FC236}">
                    <a16:creationId xmlns:a16="http://schemas.microsoft.com/office/drawing/2014/main" id="{3FF66250-8302-B8D1-C8E0-4A2F2129F788}"/>
                  </a:ext>
                </a:extLst>
              </p:cNvPr>
              <p:cNvSpPr/>
              <p:nvPr/>
            </p:nvSpPr>
            <p:spPr>
              <a:xfrm>
                <a:off x="6311212" y="2288724"/>
                <a:ext cx="193929" cy="472911"/>
              </a:xfrm>
              <a:custGeom>
                <a:avLst/>
                <a:gdLst>
                  <a:gd name="connsiteX0" fmla="*/ 186595 w 193929"/>
                  <a:gd name="connsiteY0" fmla="*/ 83054 h 472911"/>
                  <a:gd name="connsiteX1" fmla="*/ 18955 w 193929"/>
                  <a:gd name="connsiteY1" fmla="*/ 1329 h 472911"/>
                  <a:gd name="connsiteX2" fmla="*/ 6191 w 193929"/>
                  <a:gd name="connsiteY2" fmla="*/ 1996 h 472911"/>
                  <a:gd name="connsiteX3" fmla="*/ 0 w 193929"/>
                  <a:gd name="connsiteY3" fmla="*/ 13140 h 472911"/>
                  <a:gd name="connsiteX4" fmla="*/ 0 w 193929"/>
                  <a:gd name="connsiteY4" fmla="*/ 459767 h 472911"/>
                  <a:gd name="connsiteX5" fmla="*/ 13144 w 193929"/>
                  <a:gd name="connsiteY5" fmla="*/ 472912 h 472911"/>
                  <a:gd name="connsiteX6" fmla="*/ 180784 w 193929"/>
                  <a:gd name="connsiteY6" fmla="*/ 472912 h 472911"/>
                  <a:gd name="connsiteX7" fmla="*/ 193929 w 193929"/>
                  <a:gd name="connsiteY7" fmla="*/ 459767 h 472911"/>
                  <a:gd name="connsiteX8" fmla="*/ 193929 w 193929"/>
                  <a:gd name="connsiteY8" fmla="*/ 94865 h 472911"/>
                  <a:gd name="connsiteX9" fmla="*/ 186595 w 193929"/>
                  <a:gd name="connsiteY9" fmla="*/ 83054 h 472911"/>
                  <a:gd name="connsiteX10" fmla="*/ 167735 w 193929"/>
                  <a:gd name="connsiteY10" fmla="*/ 103056 h 472911"/>
                  <a:gd name="connsiteX11" fmla="*/ 167735 w 193929"/>
                  <a:gd name="connsiteY11" fmla="*/ 162206 h 472911"/>
                  <a:gd name="connsiteX12" fmla="*/ 26384 w 193929"/>
                  <a:gd name="connsiteY12" fmla="*/ 162206 h 472911"/>
                  <a:gd name="connsiteX13" fmla="*/ 26384 w 193929"/>
                  <a:gd name="connsiteY13" fmla="*/ 34095 h 472911"/>
                  <a:gd name="connsiteX14" fmla="*/ 167735 w 193929"/>
                  <a:gd name="connsiteY14" fmla="*/ 103056 h 472911"/>
                  <a:gd name="connsiteX15" fmla="*/ 26384 w 193929"/>
                  <a:gd name="connsiteY15" fmla="*/ 446623 h 472911"/>
                  <a:gd name="connsiteX16" fmla="*/ 26384 w 193929"/>
                  <a:gd name="connsiteY16" fmla="*/ 188495 h 472911"/>
                  <a:gd name="connsiteX17" fmla="*/ 167735 w 193929"/>
                  <a:gd name="connsiteY17" fmla="*/ 188495 h 472911"/>
                  <a:gd name="connsiteX18" fmla="*/ 167735 w 193929"/>
                  <a:gd name="connsiteY18" fmla="*/ 446623 h 472911"/>
                  <a:gd name="connsiteX19" fmla="*/ 26384 w 193929"/>
                  <a:gd name="connsiteY19" fmla="*/ 446623 h 472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3929" h="472911">
                    <a:moveTo>
                      <a:pt x="186595" y="83054"/>
                    </a:moveTo>
                    <a:lnTo>
                      <a:pt x="18955" y="1329"/>
                    </a:lnTo>
                    <a:cubicBezTo>
                      <a:pt x="14859" y="-671"/>
                      <a:pt x="10096" y="-385"/>
                      <a:pt x="6191" y="1996"/>
                    </a:cubicBezTo>
                    <a:cubicBezTo>
                      <a:pt x="2381" y="4377"/>
                      <a:pt x="0" y="8568"/>
                      <a:pt x="0" y="13140"/>
                    </a:cubicBezTo>
                    <a:lnTo>
                      <a:pt x="0" y="459767"/>
                    </a:lnTo>
                    <a:cubicBezTo>
                      <a:pt x="0" y="467006"/>
                      <a:pt x="5905" y="472912"/>
                      <a:pt x="13144" y="472912"/>
                    </a:cubicBezTo>
                    <a:lnTo>
                      <a:pt x="180784" y="472912"/>
                    </a:lnTo>
                    <a:cubicBezTo>
                      <a:pt x="188023" y="472912"/>
                      <a:pt x="193929" y="467006"/>
                      <a:pt x="193929" y="459767"/>
                    </a:cubicBezTo>
                    <a:lnTo>
                      <a:pt x="193929" y="94865"/>
                    </a:lnTo>
                    <a:cubicBezTo>
                      <a:pt x="193929" y="89816"/>
                      <a:pt x="191071" y="85244"/>
                      <a:pt x="186595" y="83054"/>
                    </a:cubicBezTo>
                    <a:close/>
                    <a:moveTo>
                      <a:pt x="167735" y="103056"/>
                    </a:moveTo>
                    <a:lnTo>
                      <a:pt x="167735" y="162206"/>
                    </a:lnTo>
                    <a:lnTo>
                      <a:pt x="26384" y="162206"/>
                    </a:lnTo>
                    <a:lnTo>
                      <a:pt x="26384" y="34095"/>
                    </a:lnTo>
                    <a:lnTo>
                      <a:pt x="167735" y="103056"/>
                    </a:lnTo>
                    <a:close/>
                    <a:moveTo>
                      <a:pt x="26384" y="446623"/>
                    </a:moveTo>
                    <a:lnTo>
                      <a:pt x="26384" y="188495"/>
                    </a:lnTo>
                    <a:lnTo>
                      <a:pt x="167735" y="188495"/>
                    </a:lnTo>
                    <a:lnTo>
                      <a:pt x="167735" y="446623"/>
                    </a:lnTo>
                    <a:lnTo>
                      <a:pt x="26384" y="44662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0" name="Freeform: Shape 190">
                <a:extLst>
                  <a:ext uri="{FF2B5EF4-FFF2-40B4-BE49-F238E27FC236}">
                    <a16:creationId xmlns:a16="http://schemas.microsoft.com/office/drawing/2014/main" id="{CD5080C1-F3D0-2D0F-F64B-F3D29FEF858F}"/>
                  </a:ext>
                </a:extLst>
              </p:cNvPr>
              <p:cNvSpPr/>
              <p:nvPr/>
            </p:nvSpPr>
            <p:spPr>
              <a:xfrm>
                <a:off x="5932497" y="2203605"/>
                <a:ext cx="270730" cy="87400"/>
              </a:xfrm>
              <a:custGeom>
                <a:avLst/>
                <a:gdLst>
                  <a:gd name="connsiteX0" fmla="*/ 265557 w 270730"/>
                  <a:gd name="connsiteY0" fmla="*/ 23678 h 87400"/>
                  <a:gd name="connsiteX1" fmla="*/ 268034 w 270730"/>
                  <a:gd name="connsiteY1" fmla="*/ 5295 h 87400"/>
                  <a:gd name="connsiteX2" fmla="*/ 249650 w 270730"/>
                  <a:gd name="connsiteY2" fmla="*/ 2818 h 87400"/>
                  <a:gd name="connsiteX3" fmla="*/ 165068 w 270730"/>
                  <a:gd name="connsiteY3" fmla="*/ 28917 h 87400"/>
                  <a:gd name="connsiteX4" fmla="*/ 129921 w 270730"/>
                  <a:gd name="connsiteY4" fmla="*/ 15772 h 87400"/>
                  <a:gd name="connsiteX5" fmla="*/ 104870 w 270730"/>
                  <a:gd name="connsiteY5" fmla="*/ 4533 h 87400"/>
                  <a:gd name="connsiteX6" fmla="*/ 33909 w 270730"/>
                  <a:gd name="connsiteY6" fmla="*/ 12915 h 87400"/>
                  <a:gd name="connsiteX7" fmla="*/ 0 w 270730"/>
                  <a:gd name="connsiteY7" fmla="*/ 74160 h 87400"/>
                  <a:gd name="connsiteX8" fmla="*/ 13049 w 270730"/>
                  <a:gd name="connsiteY8" fmla="*/ 87400 h 87400"/>
                  <a:gd name="connsiteX9" fmla="*/ 13145 w 270730"/>
                  <a:gd name="connsiteY9" fmla="*/ 87400 h 87400"/>
                  <a:gd name="connsiteX10" fmla="*/ 26289 w 270730"/>
                  <a:gd name="connsiteY10" fmla="*/ 74351 h 87400"/>
                  <a:gd name="connsiteX11" fmla="*/ 48387 w 270730"/>
                  <a:gd name="connsiteY11" fmla="*/ 34822 h 87400"/>
                  <a:gd name="connsiteX12" fmla="*/ 96107 w 270730"/>
                  <a:gd name="connsiteY12" fmla="*/ 29202 h 87400"/>
                  <a:gd name="connsiteX13" fmla="*/ 118301 w 270730"/>
                  <a:gd name="connsiteY13" fmla="*/ 39204 h 87400"/>
                  <a:gd name="connsiteX14" fmla="*/ 161258 w 270730"/>
                  <a:gd name="connsiteY14" fmla="*/ 54825 h 87400"/>
                  <a:gd name="connsiteX15" fmla="*/ 265652 w 270730"/>
                  <a:gd name="connsiteY15" fmla="*/ 23678 h 8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0730" h="87400">
                    <a:moveTo>
                      <a:pt x="265557" y="23678"/>
                    </a:moveTo>
                    <a:cubicBezTo>
                      <a:pt x="271367" y="19296"/>
                      <a:pt x="272415" y="11010"/>
                      <a:pt x="268034" y="5295"/>
                    </a:cubicBezTo>
                    <a:cubicBezTo>
                      <a:pt x="263652" y="-420"/>
                      <a:pt x="255365" y="-1563"/>
                      <a:pt x="249650" y="2818"/>
                    </a:cubicBezTo>
                    <a:cubicBezTo>
                      <a:pt x="220980" y="24630"/>
                      <a:pt x="193358" y="33203"/>
                      <a:pt x="165068" y="28917"/>
                    </a:cubicBezTo>
                    <a:cubicBezTo>
                      <a:pt x="152400" y="27012"/>
                      <a:pt x="141446" y="21582"/>
                      <a:pt x="129921" y="15772"/>
                    </a:cubicBezTo>
                    <a:cubicBezTo>
                      <a:pt x="122111" y="11867"/>
                      <a:pt x="114014" y="7771"/>
                      <a:pt x="104870" y="4533"/>
                    </a:cubicBezTo>
                    <a:cubicBezTo>
                      <a:pt x="81629" y="-3754"/>
                      <a:pt x="54388" y="-516"/>
                      <a:pt x="33909" y="12915"/>
                    </a:cubicBezTo>
                    <a:cubicBezTo>
                      <a:pt x="13145" y="26535"/>
                      <a:pt x="191" y="50062"/>
                      <a:pt x="0" y="74160"/>
                    </a:cubicBezTo>
                    <a:cubicBezTo>
                      <a:pt x="0" y="81399"/>
                      <a:pt x="5810" y="87305"/>
                      <a:pt x="13049" y="87400"/>
                    </a:cubicBezTo>
                    <a:lnTo>
                      <a:pt x="13145" y="87400"/>
                    </a:lnTo>
                    <a:cubicBezTo>
                      <a:pt x="20384" y="87400"/>
                      <a:pt x="26194" y="81590"/>
                      <a:pt x="26289" y="74351"/>
                    </a:cubicBezTo>
                    <a:cubicBezTo>
                      <a:pt x="26384" y="59111"/>
                      <a:pt x="35052" y="43585"/>
                      <a:pt x="48387" y="34822"/>
                    </a:cubicBezTo>
                    <a:cubicBezTo>
                      <a:pt x="61913" y="25964"/>
                      <a:pt x="80677" y="23773"/>
                      <a:pt x="96107" y="29202"/>
                    </a:cubicBezTo>
                    <a:cubicBezTo>
                      <a:pt x="103727" y="31869"/>
                      <a:pt x="110776" y="35394"/>
                      <a:pt x="118301" y="39204"/>
                    </a:cubicBezTo>
                    <a:cubicBezTo>
                      <a:pt x="131159" y="45681"/>
                      <a:pt x="144494" y="52348"/>
                      <a:pt x="161258" y="54825"/>
                    </a:cubicBezTo>
                    <a:cubicBezTo>
                      <a:pt x="196501" y="60159"/>
                      <a:pt x="231553" y="49681"/>
                      <a:pt x="265652" y="2367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1" name="Freeform: Shape 191">
                <a:extLst>
                  <a:ext uri="{FF2B5EF4-FFF2-40B4-BE49-F238E27FC236}">
                    <a16:creationId xmlns:a16="http://schemas.microsoft.com/office/drawing/2014/main" id="{32D097E3-C9E9-41DA-196F-6D3BCD9900E1}"/>
                  </a:ext>
                </a:extLst>
              </p:cNvPr>
              <p:cNvSpPr/>
              <p:nvPr/>
            </p:nvSpPr>
            <p:spPr>
              <a:xfrm>
                <a:off x="6099375" y="2104736"/>
                <a:ext cx="270730" cy="87400"/>
              </a:xfrm>
              <a:custGeom>
                <a:avLst/>
                <a:gdLst>
                  <a:gd name="connsiteX0" fmla="*/ 13049 w 270730"/>
                  <a:gd name="connsiteY0" fmla="*/ 87400 h 87400"/>
                  <a:gd name="connsiteX1" fmla="*/ 13145 w 270730"/>
                  <a:gd name="connsiteY1" fmla="*/ 87400 h 87400"/>
                  <a:gd name="connsiteX2" fmla="*/ 26289 w 270730"/>
                  <a:gd name="connsiteY2" fmla="*/ 74351 h 87400"/>
                  <a:gd name="connsiteX3" fmla="*/ 48387 w 270730"/>
                  <a:gd name="connsiteY3" fmla="*/ 34822 h 87400"/>
                  <a:gd name="connsiteX4" fmla="*/ 96107 w 270730"/>
                  <a:gd name="connsiteY4" fmla="*/ 29202 h 87400"/>
                  <a:gd name="connsiteX5" fmla="*/ 118205 w 270730"/>
                  <a:gd name="connsiteY5" fmla="*/ 39204 h 87400"/>
                  <a:gd name="connsiteX6" fmla="*/ 161163 w 270730"/>
                  <a:gd name="connsiteY6" fmla="*/ 54825 h 87400"/>
                  <a:gd name="connsiteX7" fmla="*/ 265557 w 270730"/>
                  <a:gd name="connsiteY7" fmla="*/ 23678 h 87400"/>
                  <a:gd name="connsiteX8" fmla="*/ 268034 w 270730"/>
                  <a:gd name="connsiteY8" fmla="*/ 5295 h 87400"/>
                  <a:gd name="connsiteX9" fmla="*/ 249650 w 270730"/>
                  <a:gd name="connsiteY9" fmla="*/ 2818 h 87400"/>
                  <a:gd name="connsiteX10" fmla="*/ 165068 w 270730"/>
                  <a:gd name="connsiteY10" fmla="*/ 28917 h 87400"/>
                  <a:gd name="connsiteX11" fmla="*/ 129921 w 270730"/>
                  <a:gd name="connsiteY11" fmla="*/ 15772 h 87400"/>
                  <a:gd name="connsiteX12" fmla="*/ 104870 w 270730"/>
                  <a:gd name="connsiteY12" fmla="*/ 4533 h 87400"/>
                  <a:gd name="connsiteX13" fmla="*/ 33909 w 270730"/>
                  <a:gd name="connsiteY13" fmla="*/ 12915 h 87400"/>
                  <a:gd name="connsiteX14" fmla="*/ 0 w 270730"/>
                  <a:gd name="connsiteY14" fmla="*/ 74160 h 87400"/>
                  <a:gd name="connsiteX15" fmla="*/ 13049 w 270730"/>
                  <a:gd name="connsiteY15" fmla="*/ 87400 h 8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0730" h="87400">
                    <a:moveTo>
                      <a:pt x="13049" y="87400"/>
                    </a:moveTo>
                    <a:lnTo>
                      <a:pt x="13145" y="87400"/>
                    </a:lnTo>
                    <a:cubicBezTo>
                      <a:pt x="20384" y="87400"/>
                      <a:pt x="26194" y="81590"/>
                      <a:pt x="26289" y="74351"/>
                    </a:cubicBezTo>
                    <a:cubicBezTo>
                      <a:pt x="26384" y="59111"/>
                      <a:pt x="35052" y="43585"/>
                      <a:pt x="48387" y="34822"/>
                    </a:cubicBezTo>
                    <a:cubicBezTo>
                      <a:pt x="61913" y="25964"/>
                      <a:pt x="80677" y="23678"/>
                      <a:pt x="96107" y="29202"/>
                    </a:cubicBezTo>
                    <a:cubicBezTo>
                      <a:pt x="103727" y="31965"/>
                      <a:pt x="110776" y="35489"/>
                      <a:pt x="118205" y="39204"/>
                    </a:cubicBezTo>
                    <a:cubicBezTo>
                      <a:pt x="131064" y="45681"/>
                      <a:pt x="144399" y="52348"/>
                      <a:pt x="161163" y="54825"/>
                    </a:cubicBezTo>
                    <a:cubicBezTo>
                      <a:pt x="196310" y="60159"/>
                      <a:pt x="231458" y="49681"/>
                      <a:pt x="265557" y="23678"/>
                    </a:cubicBezTo>
                    <a:cubicBezTo>
                      <a:pt x="271367" y="19296"/>
                      <a:pt x="272415" y="11010"/>
                      <a:pt x="268034" y="5295"/>
                    </a:cubicBezTo>
                    <a:cubicBezTo>
                      <a:pt x="263652" y="-516"/>
                      <a:pt x="255365" y="-1563"/>
                      <a:pt x="249650" y="2818"/>
                    </a:cubicBezTo>
                    <a:cubicBezTo>
                      <a:pt x="220980" y="24630"/>
                      <a:pt x="193262" y="33203"/>
                      <a:pt x="165068" y="28917"/>
                    </a:cubicBezTo>
                    <a:cubicBezTo>
                      <a:pt x="152400" y="27012"/>
                      <a:pt x="141446" y="21582"/>
                      <a:pt x="129921" y="15772"/>
                    </a:cubicBezTo>
                    <a:cubicBezTo>
                      <a:pt x="122111" y="11867"/>
                      <a:pt x="114014" y="7771"/>
                      <a:pt x="104870" y="4533"/>
                    </a:cubicBezTo>
                    <a:cubicBezTo>
                      <a:pt x="81629" y="-3754"/>
                      <a:pt x="54388" y="-516"/>
                      <a:pt x="33909" y="12915"/>
                    </a:cubicBezTo>
                    <a:cubicBezTo>
                      <a:pt x="13145" y="26535"/>
                      <a:pt x="191" y="50062"/>
                      <a:pt x="0" y="74160"/>
                    </a:cubicBezTo>
                    <a:cubicBezTo>
                      <a:pt x="0" y="81399"/>
                      <a:pt x="5810" y="87305"/>
                      <a:pt x="13049" y="874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  <p:sp>
            <p:nvSpPr>
              <p:cNvPr id="32" name="Freeform: Shape 192">
                <a:extLst>
                  <a:ext uri="{FF2B5EF4-FFF2-40B4-BE49-F238E27FC236}">
                    <a16:creationId xmlns:a16="http://schemas.microsoft.com/office/drawing/2014/main" id="{64A4D4C0-E0EF-30C2-A6CE-A26F71951D9F}"/>
                  </a:ext>
                </a:extLst>
              </p:cNvPr>
              <p:cNvSpPr/>
              <p:nvPr/>
            </p:nvSpPr>
            <p:spPr>
              <a:xfrm>
                <a:off x="6235107" y="2202748"/>
                <a:ext cx="270731" cy="87400"/>
              </a:xfrm>
              <a:custGeom>
                <a:avLst/>
                <a:gdLst>
                  <a:gd name="connsiteX0" fmla="*/ 96107 w 270731"/>
                  <a:gd name="connsiteY0" fmla="*/ 29202 h 87400"/>
                  <a:gd name="connsiteX1" fmla="*/ 118205 w 270731"/>
                  <a:gd name="connsiteY1" fmla="*/ 39204 h 87400"/>
                  <a:gd name="connsiteX2" fmla="*/ 161163 w 270731"/>
                  <a:gd name="connsiteY2" fmla="*/ 54825 h 87400"/>
                  <a:gd name="connsiteX3" fmla="*/ 265557 w 270731"/>
                  <a:gd name="connsiteY3" fmla="*/ 23678 h 87400"/>
                  <a:gd name="connsiteX4" fmla="*/ 268034 w 270731"/>
                  <a:gd name="connsiteY4" fmla="*/ 5295 h 87400"/>
                  <a:gd name="connsiteX5" fmla="*/ 249650 w 270731"/>
                  <a:gd name="connsiteY5" fmla="*/ 2818 h 87400"/>
                  <a:gd name="connsiteX6" fmla="*/ 165068 w 270731"/>
                  <a:gd name="connsiteY6" fmla="*/ 28917 h 87400"/>
                  <a:gd name="connsiteX7" fmla="*/ 129921 w 270731"/>
                  <a:gd name="connsiteY7" fmla="*/ 15772 h 87400"/>
                  <a:gd name="connsiteX8" fmla="*/ 104870 w 270731"/>
                  <a:gd name="connsiteY8" fmla="*/ 4533 h 87400"/>
                  <a:gd name="connsiteX9" fmla="*/ 33909 w 270731"/>
                  <a:gd name="connsiteY9" fmla="*/ 12915 h 87400"/>
                  <a:gd name="connsiteX10" fmla="*/ 0 w 270731"/>
                  <a:gd name="connsiteY10" fmla="*/ 74160 h 87400"/>
                  <a:gd name="connsiteX11" fmla="*/ 13049 w 270731"/>
                  <a:gd name="connsiteY11" fmla="*/ 87400 h 87400"/>
                  <a:gd name="connsiteX12" fmla="*/ 13145 w 270731"/>
                  <a:gd name="connsiteY12" fmla="*/ 87400 h 87400"/>
                  <a:gd name="connsiteX13" fmla="*/ 26289 w 270731"/>
                  <a:gd name="connsiteY13" fmla="*/ 74351 h 87400"/>
                  <a:gd name="connsiteX14" fmla="*/ 48387 w 270731"/>
                  <a:gd name="connsiteY14" fmla="*/ 34822 h 87400"/>
                  <a:gd name="connsiteX15" fmla="*/ 96107 w 270731"/>
                  <a:gd name="connsiteY15" fmla="*/ 29202 h 8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70731" h="87400">
                    <a:moveTo>
                      <a:pt x="96107" y="29202"/>
                    </a:moveTo>
                    <a:cubicBezTo>
                      <a:pt x="103727" y="31965"/>
                      <a:pt x="110776" y="35489"/>
                      <a:pt x="118205" y="39204"/>
                    </a:cubicBezTo>
                    <a:cubicBezTo>
                      <a:pt x="131064" y="45681"/>
                      <a:pt x="144399" y="52348"/>
                      <a:pt x="161163" y="54825"/>
                    </a:cubicBezTo>
                    <a:cubicBezTo>
                      <a:pt x="196310" y="60159"/>
                      <a:pt x="231458" y="49681"/>
                      <a:pt x="265557" y="23678"/>
                    </a:cubicBezTo>
                    <a:cubicBezTo>
                      <a:pt x="271367" y="19296"/>
                      <a:pt x="272415" y="11010"/>
                      <a:pt x="268034" y="5295"/>
                    </a:cubicBezTo>
                    <a:cubicBezTo>
                      <a:pt x="263652" y="-420"/>
                      <a:pt x="255365" y="-1563"/>
                      <a:pt x="249650" y="2818"/>
                    </a:cubicBezTo>
                    <a:cubicBezTo>
                      <a:pt x="220980" y="24630"/>
                      <a:pt x="193358" y="33203"/>
                      <a:pt x="165068" y="28917"/>
                    </a:cubicBezTo>
                    <a:cubicBezTo>
                      <a:pt x="152400" y="27012"/>
                      <a:pt x="141446" y="21582"/>
                      <a:pt x="129921" y="15772"/>
                    </a:cubicBezTo>
                    <a:cubicBezTo>
                      <a:pt x="122111" y="11867"/>
                      <a:pt x="114014" y="7771"/>
                      <a:pt x="104870" y="4533"/>
                    </a:cubicBezTo>
                    <a:cubicBezTo>
                      <a:pt x="81534" y="-3754"/>
                      <a:pt x="54388" y="-516"/>
                      <a:pt x="33909" y="12915"/>
                    </a:cubicBezTo>
                    <a:cubicBezTo>
                      <a:pt x="13145" y="26535"/>
                      <a:pt x="191" y="50062"/>
                      <a:pt x="0" y="74160"/>
                    </a:cubicBezTo>
                    <a:cubicBezTo>
                      <a:pt x="0" y="81399"/>
                      <a:pt x="5810" y="87305"/>
                      <a:pt x="13049" y="87400"/>
                    </a:cubicBezTo>
                    <a:lnTo>
                      <a:pt x="13145" y="87400"/>
                    </a:lnTo>
                    <a:cubicBezTo>
                      <a:pt x="20383" y="87400"/>
                      <a:pt x="26194" y="81590"/>
                      <a:pt x="26289" y="74351"/>
                    </a:cubicBezTo>
                    <a:cubicBezTo>
                      <a:pt x="26384" y="59111"/>
                      <a:pt x="35052" y="43585"/>
                      <a:pt x="48387" y="34822"/>
                    </a:cubicBezTo>
                    <a:cubicBezTo>
                      <a:pt x="61913" y="25964"/>
                      <a:pt x="80677" y="23678"/>
                      <a:pt x="96107" y="292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PT"/>
              </a:p>
            </p:txBody>
          </p:sp>
        </p:grpSp>
        <p:sp>
          <p:nvSpPr>
            <p:cNvPr id="25" name="Retângulo: Cantos Arredondados 24">
              <a:extLst>
                <a:ext uri="{FF2B5EF4-FFF2-40B4-BE49-F238E27FC236}">
                  <a16:creationId xmlns:a16="http://schemas.microsoft.com/office/drawing/2014/main" id="{B0C59EFC-402C-6CF6-E425-4DB9A3DB9A8C}"/>
                </a:ext>
              </a:extLst>
            </p:cNvPr>
            <p:cNvSpPr/>
            <p:nvPr/>
          </p:nvSpPr>
          <p:spPr>
            <a:xfrm>
              <a:off x="7228985" y="5173323"/>
              <a:ext cx="4405689" cy="838948"/>
            </a:xfrm>
            <a:prstGeom prst="round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F84AFA6F-74B5-AF12-D82D-3FD935503DCD}"/>
                </a:ext>
              </a:extLst>
            </p:cNvPr>
            <p:cNvSpPr txBox="1"/>
            <p:nvPr/>
          </p:nvSpPr>
          <p:spPr>
            <a:xfrm>
              <a:off x="7337226" y="5406604"/>
              <a:ext cx="118494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b="1" dirty="0">
                  <a:solidFill>
                    <a:schemeClr val="bg1"/>
                  </a:solidFill>
                  <a:latin typeface="FT Base Book" pitchFamily="2" charset="0"/>
                </a:rPr>
                <a:t>Consumo</a:t>
              </a:r>
            </a:p>
          </p:txBody>
        </p:sp>
        <p:pic>
          <p:nvPicPr>
            <p:cNvPr id="48" name="Graphic 51">
              <a:extLst>
                <a:ext uri="{FF2B5EF4-FFF2-40B4-BE49-F238E27FC236}">
                  <a16:creationId xmlns:a16="http://schemas.microsoft.com/office/drawing/2014/main" id="{FC33C219-133B-FD96-0224-7463A74314C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748470" y="5483912"/>
              <a:ext cx="459736" cy="364320"/>
            </a:xfrm>
            <a:prstGeom prst="rect">
              <a:avLst/>
            </a:prstGeom>
          </p:spPr>
        </p:pic>
        <p:pic>
          <p:nvPicPr>
            <p:cNvPr id="49" name="Gráfico 48" descr="Carro elétrico estrutura de tópicos">
              <a:extLst>
                <a:ext uri="{FF2B5EF4-FFF2-40B4-BE49-F238E27FC236}">
                  <a16:creationId xmlns:a16="http://schemas.microsoft.com/office/drawing/2014/main" id="{F38749C3-157A-5A35-B137-7CB7C48F3C1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895873" y="5295815"/>
              <a:ext cx="682459" cy="682459"/>
            </a:xfrm>
            <a:prstGeom prst="rect">
              <a:avLst/>
            </a:prstGeom>
          </p:spPr>
        </p:pic>
        <p:cxnSp>
          <p:nvCxnSpPr>
            <p:cNvPr id="52" name="Conector de Seta Reta 51">
              <a:extLst>
                <a:ext uri="{FF2B5EF4-FFF2-40B4-BE49-F238E27FC236}">
                  <a16:creationId xmlns:a16="http://schemas.microsoft.com/office/drawing/2014/main" id="{DFA31B9D-E158-7965-644D-F84EFD5BFA2F}"/>
                </a:ext>
              </a:extLst>
            </p:cNvPr>
            <p:cNvCxnSpPr>
              <a:cxnSpLocks/>
            </p:cNvCxnSpPr>
            <p:nvPr/>
          </p:nvCxnSpPr>
          <p:spPr>
            <a:xfrm>
              <a:off x="9229541" y="5637044"/>
              <a:ext cx="161200" cy="0"/>
            </a:xfrm>
            <a:prstGeom prst="straightConnector1">
              <a:avLst/>
            </a:prstGeom>
            <a:ln w="285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ector de Seta Reta 58">
              <a:extLst>
                <a:ext uri="{FF2B5EF4-FFF2-40B4-BE49-F238E27FC236}">
                  <a16:creationId xmlns:a16="http://schemas.microsoft.com/office/drawing/2014/main" id="{56756E70-1EDA-3BE0-815E-118D9CD977E0}"/>
                </a:ext>
              </a:extLst>
            </p:cNvPr>
            <p:cNvCxnSpPr>
              <a:cxnSpLocks/>
            </p:cNvCxnSpPr>
            <p:nvPr/>
          </p:nvCxnSpPr>
          <p:spPr>
            <a:xfrm>
              <a:off x="9991538" y="5637044"/>
              <a:ext cx="161200" cy="0"/>
            </a:xfrm>
            <a:prstGeom prst="straightConnector1">
              <a:avLst/>
            </a:prstGeom>
            <a:ln w="285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ector de Seta Reta 59">
              <a:extLst>
                <a:ext uri="{FF2B5EF4-FFF2-40B4-BE49-F238E27FC236}">
                  <a16:creationId xmlns:a16="http://schemas.microsoft.com/office/drawing/2014/main" id="{8183170F-A20A-D9EF-C784-12B3B982AB16}"/>
                </a:ext>
              </a:extLst>
            </p:cNvPr>
            <p:cNvCxnSpPr>
              <a:cxnSpLocks/>
            </p:cNvCxnSpPr>
            <p:nvPr/>
          </p:nvCxnSpPr>
          <p:spPr>
            <a:xfrm>
              <a:off x="10680961" y="5637044"/>
              <a:ext cx="161200" cy="0"/>
            </a:xfrm>
            <a:prstGeom prst="straightConnector1">
              <a:avLst/>
            </a:prstGeom>
            <a:ln w="28575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Picture 15">
            <a:extLst>
              <a:ext uri="{FF2B5EF4-FFF2-40B4-BE49-F238E27FC236}">
                <a16:creationId xmlns:a16="http://schemas.microsoft.com/office/drawing/2014/main" id="{D310398C-3285-4B42-34EF-44C15E9ED164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3" y="175551"/>
            <a:ext cx="889594" cy="3249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CBAC94D-948A-83CF-9F7B-BE486A04A16C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10234127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28FF52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Setor Elétrico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prstClr val="white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Nova cadeia de valor e modelos de negócio</a:t>
            </a:r>
          </a:p>
        </p:txBody>
      </p:sp>
    </p:spTree>
    <p:extLst>
      <p:ext uri="{BB962C8B-B14F-4D97-AF65-F5344CB8AC3E}">
        <p14:creationId xmlns:p14="http://schemas.microsoft.com/office/powerpoint/2010/main" val="9731760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AF28D6B9-A29A-49EA-AA02-898F308E89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AF28D6B9-A29A-49EA-AA02-898F308E8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3DFD271B-1855-1120-FD29-7FAC8C6D5EAA}"/>
              </a:ext>
            </a:extLst>
          </p:cNvPr>
          <p:cNvSpPr txBox="1"/>
          <p:nvPr/>
        </p:nvSpPr>
        <p:spPr>
          <a:xfrm rot="18690721">
            <a:off x="5720754" y="3921290"/>
            <a:ext cx="2165545" cy="93847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  <a:t>Modelo de</a:t>
            </a:r>
            <a:b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  <a:t>Negócio</a:t>
            </a:r>
          </a:p>
        </p:txBody>
      </p:sp>
      <p:sp>
        <p:nvSpPr>
          <p:cNvPr id="11" name="Retângulo 5">
            <a:extLst>
              <a:ext uri="{FF2B5EF4-FFF2-40B4-BE49-F238E27FC236}">
                <a16:creationId xmlns:a16="http://schemas.microsoft.com/office/drawing/2014/main" id="{3CB36B1A-C065-348B-B88A-E116B7AB6A60}"/>
              </a:ext>
            </a:extLst>
          </p:cNvPr>
          <p:cNvSpPr/>
          <p:nvPr/>
        </p:nvSpPr>
        <p:spPr>
          <a:xfrm rot="5400000">
            <a:off x="562979" y="3450296"/>
            <a:ext cx="3073328" cy="3742086"/>
          </a:xfrm>
          <a:custGeom>
            <a:avLst/>
            <a:gdLst>
              <a:gd name="connsiteX0" fmla="*/ 0 w 3661829"/>
              <a:gd name="connsiteY0" fmla="*/ 0 h 1088504"/>
              <a:gd name="connsiteX1" fmla="*/ 3661829 w 3661829"/>
              <a:gd name="connsiteY1" fmla="*/ 0 h 1088504"/>
              <a:gd name="connsiteX2" fmla="*/ 3661829 w 3661829"/>
              <a:gd name="connsiteY2" fmla="*/ 1088504 h 1088504"/>
              <a:gd name="connsiteX3" fmla="*/ 0 w 3661829"/>
              <a:gd name="connsiteY3" fmla="*/ 1088504 h 1088504"/>
              <a:gd name="connsiteX4" fmla="*/ 0 w 3661829"/>
              <a:gd name="connsiteY4" fmla="*/ 0 h 1088504"/>
              <a:gd name="connsiteX0" fmla="*/ 3661829 w 3753269"/>
              <a:gd name="connsiteY0" fmla="*/ 0 h 1088504"/>
              <a:gd name="connsiteX1" fmla="*/ 3661829 w 3753269"/>
              <a:gd name="connsiteY1" fmla="*/ 1088504 h 1088504"/>
              <a:gd name="connsiteX2" fmla="*/ 0 w 3753269"/>
              <a:gd name="connsiteY2" fmla="*/ 1088504 h 1088504"/>
              <a:gd name="connsiteX3" fmla="*/ 0 w 3753269"/>
              <a:gd name="connsiteY3" fmla="*/ 0 h 1088504"/>
              <a:gd name="connsiteX4" fmla="*/ 3753269 w 3753269"/>
              <a:gd name="connsiteY4" fmla="*/ 91440 h 1088504"/>
              <a:gd name="connsiteX0" fmla="*/ 3661829 w 3661829"/>
              <a:gd name="connsiteY0" fmla="*/ 0 h 1088504"/>
              <a:gd name="connsiteX1" fmla="*/ 3661829 w 3661829"/>
              <a:gd name="connsiteY1" fmla="*/ 1088504 h 1088504"/>
              <a:gd name="connsiteX2" fmla="*/ 0 w 3661829"/>
              <a:gd name="connsiteY2" fmla="*/ 1088504 h 1088504"/>
              <a:gd name="connsiteX3" fmla="*/ 0 w 3661829"/>
              <a:gd name="connsiteY3" fmla="*/ 0 h 1088504"/>
              <a:gd name="connsiteX0" fmla="*/ 3661829 w 3661829"/>
              <a:gd name="connsiteY0" fmla="*/ 1088504 h 1088504"/>
              <a:gd name="connsiteX1" fmla="*/ 0 w 3661829"/>
              <a:gd name="connsiteY1" fmla="*/ 1088504 h 1088504"/>
              <a:gd name="connsiteX2" fmla="*/ 0 w 3661829"/>
              <a:gd name="connsiteY2" fmla="*/ 0 h 1088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1829" h="1088504">
                <a:moveTo>
                  <a:pt x="3661829" y="1088504"/>
                </a:moveTo>
                <a:lnTo>
                  <a:pt x="0" y="1088504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/>
              <a:ea typeface="+mn-ea"/>
              <a:cs typeface="+mn-cs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AA50947D-10E4-1F80-3DF1-66B555ED8AF4}"/>
              </a:ext>
            </a:extLst>
          </p:cNvPr>
          <p:cNvSpPr txBox="1"/>
          <p:nvPr/>
        </p:nvSpPr>
        <p:spPr>
          <a:xfrm rot="18624368">
            <a:off x="4371664" y="2580566"/>
            <a:ext cx="2165545" cy="93847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  <a:t>Operação </a:t>
            </a:r>
            <a:b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  <a:t>de Sistema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AE01330-9B01-3201-20D1-218F501C808B}"/>
              </a:ext>
            </a:extLst>
          </p:cNvPr>
          <p:cNvSpPr txBox="1"/>
          <p:nvPr/>
        </p:nvSpPr>
        <p:spPr>
          <a:xfrm rot="2452798">
            <a:off x="5684960" y="2541531"/>
            <a:ext cx="2165545" cy="93847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  <a:t>Habilitando</a:t>
            </a:r>
            <a:b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  <a:t>Tecnologias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CF64956B-E736-B33E-5919-3815255E7089}"/>
              </a:ext>
            </a:extLst>
          </p:cNvPr>
          <p:cNvSpPr txBox="1"/>
          <p:nvPr/>
        </p:nvSpPr>
        <p:spPr>
          <a:xfrm rot="2718689">
            <a:off x="4314563" y="3948297"/>
            <a:ext cx="2165545" cy="93847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  <a:t>Design de</a:t>
            </a:r>
            <a:b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Black" pitchFamily="2" charset="0"/>
                <a:ea typeface="Roboto" panose="02000000000000000000" pitchFamily="2" charset="0"/>
                <a:cs typeface="Arial" panose="020B0604020202020204" pitchFamily="34" charset="0"/>
              </a:rPr>
              <a:t>Mercado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6280D267-507C-EE63-2D99-6CB276544B2B}"/>
              </a:ext>
            </a:extLst>
          </p:cNvPr>
          <p:cNvSpPr txBox="1"/>
          <p:nvPr/>
        </p:nvSpPr>
        <p:spPr>
          <a:xfrm>
            <a:off x="5089329" y="3186949"/>
            <a:ext cx="2076782" cy="92333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Light" pitchFamily="2" charset="0"/>
                <a:ea typeface="Roboto" panose="02000000000000000000" pitchFamily="2" charset="0"/>
                <a:cs typeface="Arial" panose="020B0604020202020204" pitchFamily="34" charset="0"/>
              </a:rPr>
              <a:t>Inovações emergentes para</a:t>
            </a:r>
            <a:b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Light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 Light" pitchFamily="2" charset="0"/>
                <a:ea typeface="Roboto" panose="02000000000000000000" pitchFamily="2" charset="0"/>
                <a:cs typeface="Arial" panose="020B0604020202020204" pitchFamily="34" charset="0"/>
              </a:rPr>
              <a:t>o cliente final</a:t>
            </a:r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B6E72202-A22D-F669-46E7-3592B37776C1}"/>
              </a:ext>
            </a:extLst>
          </p:cNvPr>
          <p:cNvGrpSpPr/>
          <p:nvPr/>
        </p:nvGrpSpPr>
        <p:grpSpPr>
          <a:xfrm>
            <a:off x="3977242" y="1593141"/>
            <a:ext cx="2235595" cy="2191534"/>
            <a:chOff x="3978689" y="1645896"/>
            <a:chExt cx="2235595" cy="2191534"/>
          </a:xfrm>
        </p:grpSpPr>
        <p:sp>
          <p:nvSpPr>
            <p:cNvPr id="17" name="Forma Livre: Forma 16">
              <a:extLst>
                <a:ext uri="{FF2B5EF4-FFF2-40B4-BE49-F238E27FC236}">
                  <a16:creationId xmlns:a16="http://schemas.microsoft.com/office/drawing/2014/main" id="{6179410E-E13A-38D7-C0D4-9348BE58F29B}"/>
                </a:ext>
              </a:extLst>
            </p:cNvPr>
            <p:cNvSpPr/>
            <p:nvPr/>
          </p:nvSpPr>
          <p:spPr>
            <a:xfrm>
              <a:off x="5003337" y="2679357"/>
              <a:ext cx="858633" cy="1120695"/>
            </a:xfrm>
            <a:custGeom>
              <a:avLst/>
              <a:gdLst>
                <a:gd name="connsiteX0" fmla="*/ 1706 w 858633"/>
                <a:gd name="connsiteY0" fmla="*/ 1119539 h 1120695"/>
                <a:gd name="connsiteX1" fmla="*/ 859572 w 858633"/>
                <a:gd name="connsiteY1" fmla="*/ -1156 h 112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8633" h="1120695">
                  <a:moveTo>
                    <a:pt x="1706" y="1119539"/>
                  </a:moveTo>
                  <a:cubicBezTo>
                    <a:pt x="-18225" y="579507"/>
                    <a:pt x="351713" y="115591"/>
                    <a:pt x="859572" y="-115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/>
                <a:ea typeface="+mn-ea"/>
                <a:cs typeface="+mn-cs"/>
              </a:endParaRPr>
            </a:p>
          </p:txBody>
        </p:sp>
        <p:sp>
          <p:nvSpPr>
            <p:cNvPr id="18" name="Forma Livre: Forma 17">
              <a:extLst>
                <a:ext uri="{FF2B5EF4-FFF2-40B4-BE49-F238E27FC236}">
                  <a16:creationId xmlns:a16="http://schemas.microsoft.com/office/drawing/2014/main" id="{99E4B485-C352-4AAC-0399-5480B2A7948F}"/>
                </a:ext>
              </a:extLst>
            </p:cNvPr>
            <p:cNvSpPr/>
            <p:nvPr/>
          </p:nvSpPr>
          <p:spPr>
            <a:xfrm>
              <a:off x="3978689" y="1645896"/>
              <a:ext cx="2235595" cy="2191534"/>
            </a:xfrm>
            <a:custGeom>
              <a:avLst/>
              <a:gdLst>
                <a:gd name="connsiteX0" fmla="*/ 1976306 w 2235595"/>
                <a:gd name="connsiteY0" fmla="*/ 1013083 h 2191534"/>
                <a:gd name="connsiteX1" fmla="*/ 2236534 w 2235595"/>
                <a:gd name="connsiteY1" fmla="*/ 494164 h 2191534"/>
                <a:gd name="connsiteX2" fmla="*/ 1988134 w 2235595"/>
                <a:gd name="connsiteY2" fmla="*/ -1156 h 2191534"/>
                <a:gd name="connsiteX3" fmla="*/ 938 w 2235595"/>
                <a:gd name="connsiteY3" fmla="*/ 2190378 h 219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35595" h="2191534">
                  <a:moveTo>
                    <a:pt x="1976306" y="1013083"/>
                  </a:moveTo>
                  <a:lnTo>
                    <a:pt x="2236534" y="494164"/>
                  </a:lnTo>
                  <a:lnTo>
                    <a:pt x="1988134" y="-1156"/>
                  </a:lnTo>
                  <a:cubicBezTo>
                    <a:pt x="872821" y="106838"/>
                    <a:pt x="938" y="1046735"/>
                    <a:pt x="938" y="2190378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/>
                <a:ea typeface="+mn-ea"/>
                <a:cs typeface="+mn-cs"/>
              </a:endParaRPr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E3B4834E-4633-DA1D-6D68-83811D1A86E0}"/>
              </a:ext>
            </a:extLst>
          </p:cNvPr>
          <p:cNvGrpSpPr/>
          <p:nvPr/>
        </p:nvGrpSpPr>
        <p:grpSpPr>
          <a:xfrm>
            <a:off x="5954265" y="1593141"/>
            <a:ext cx="2259430" cy="2242870"/>
            <a:chOff x="5955712" y="1645896"/>
            <a:chExt cx="2259430" cy="2242870"/>
          </a:xfrm>
        </p:grpSpPr>
        <p:sp>
          <p:nvSpPr>
            <p:cNvPr id="20" name="Forma Livre: Forma 19">
              <a:extLst>
                <a:ext uri="{FF2B5EF4-FFF2-40B4-BE49-F238E27FC236}">
                  <a16:creationId xmlns:a16="http://schemas.microsoft.com/office/drawing/2014/main" id="{AA51D57A-AC86-BFF7-388E-7AB3CE743151}"/>
                </a:ext>
              </a:extLst>
            </p:cNvPr>
            <p:cNvSpPr/>
            <p:nvPr/>
          </p:nvSpPr>
          <p:spPr>
            <a:xfrm>
              <a:off x="6076541" y="1645896"/>
              <a:ext cx="2138601" cy="1878787"/>
            </a:xfrm>
            <a:custGeom>
              <a:avLst/>
              <a:gdLst>
                <a:gd name="connsiteX0" fmla="*/ 2139540 w 2138601"/>
                <a:gd name="connsiteY0" fmla="*/ 1877631 h 1878787"/>
                <a:gd name="connsiteX1" fmla="*/ 67533 w 2138601"/>
                <a:gd name="connsiteY1" fmla="*/ -1156 h 1878787"/>
                <a:gd name="connsiteX2" fmla="*/ 938 w 2138601"/>
                <a:gd name="connsiteY2" fmla="*/ 27 h 187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38601" h="1878787">
                  <a:moveTo>
                    <a:pt x="2139540" y="1877631"/>
                  </a:moveTo>
                  <a:cubicBezTo>
                    <a:pt x="2037400" y="823175"/>
                    <a:pt x="1148780" y="-1156"/>
                    <a:pt x="67533" y="-1156"/>
                  </a:cubicBezTo>
                  <a:cubicBezTo>
                    <a:pt x="45236" y="-1156"/>
                    <a:pt x="23057" y="-683"/>
                    <a:pt x="938" y="27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/>
                <a:ea typeface="+mn-ea"/>
                <a:cs typeface="+mn-cs"/>
              </a:endParaRPr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65CCD7DA-E44A-07CC-C342-5C596045A5F0}"/>
                </a:ext>
              </a:extLst>
            </p:cNvPr>
            <p:cNvSpPr/>
            <p:nvPr/>
          </p:nvSpPr>
          <p:spPr>
            <a:xfrm>
              <a:off x="5955712" y="2656350"/>
              <a:ext cx="2259430" cy="1232416"/>
            </a:xfrm>
            <a:custGeom>
              <a:avLst/>
              <a:gdLst>
                <a:gd name="connsiteX0" fmla="*/ 938 w 2259430"/>
                <a:gd name="connsiteY0" fmla="*/ 795 h 1232416"/>
                <a:gd name="connsiteX1" fmla="*/ 68775 w 2259430"/>
                <a:gd name="connsiteY1" fmla="*/ -1156 h 1232416"/>
                <a:gd name="connsiteX2" fmla="*/ 1246129 w 2259430"/>
                <a:gd name="connsiteY2" fmla="*/ 971032 h 1232416"/>
                <a:gd name="connsiteX3" fmla="*/ 1765048 w 2259430"/>
                <a:gd name="connsiteY3" fmla="*/ 1231260 h 1232416"/>
                <a:gd name="connsiteX4" fmla="*/ 2260368 w 2259430"/>
                <a:gd name="connsiteY4" fmla="*/ 982861 h 1232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9430" h="1232416">
                  <a:moveTo>
                    <a:pt x="938" y="795"/>
                  </a:moveTo>
                  <a:cubicBezTo>
                    <a:pt x="23412" y="-447"/>
                    <a:pt x="46005" y="-1156"/>
                    <a:pt x="68775" y="-1156"/>
                  </a:cubicBezTo>
                  <a:cubicBezTo>
                    <a:pt x="653401" y="-1156"/>
                    <a:pt x="1140146" y="417338"/>
                    <a:pt x="1246129" y="971032"/>
                  </a:cubicBezTo>
                  <a:lnTo>
                    <a:pt x="1765048" y="1231260"/>
                  </a:lnTo>
                  <a:lnTo>
                    <a:pt x="2260368" y="982861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/>
                <a:ea typeface="+mn-ea"/>
                <a:cs typeface="+mn-cs"/>
              </a:endParaRPr>
            </a:p>
          </p:txBody>
        </p:sp>
      </p:grpSp>
      <p:sp>
        <p:nvSpPr>
          <p:cNvPr id="22" name="Forma Livre: Forma 21">
            <a:extLst>
              <a:ext uri="{FF2B5EF4-FFF2-40B4-BE49-F238E27FC236}">
                <a16:creationId xmlns:a16="http://schemas.microsoft.com/office/drawing/2014/main" id="{EB8A4DA7-AE69-4D1E-FD43-3966FAA33B15}"/>
              </a:ext>
            </a:extLst>
          </p:cNvPr>
          <p:cNvSpPr/>
          <p:nvPr/>
        </p:nvSpPr>
        <p:spPr>
          <a:xfrm>
            <a:off x="3980495" y="3599263"/>
            <a:ext cx="2259430" cy="2248665"/>
          </a:xfrm>
          <a:custGeom>
            <a:avLst/>
            <a:gdLst>
              <a:gd name="connsiteX0" fmla="*/ 2260368 w 2259430"/>
              <a:gd name="connsiteY0" fmla="*/ 1229249 h 2248665"/>
              <a:gd name="connsiteX1" fmla="*/ 2192473 w 2259430"/>
              <a:gd name="connsiteY1" fmla="*/ 1231201 h 2248665"/>
              <a:gd name="connsiteX2" fmla="*/ 1015177 w 2259430"/>
              <a:gd name="connsiteY2" fmla="*/ 259072 h 2248665"/>
              <a:gd name="connsiteX3" fmla="*/ 496258 w 2259430"/>
              <a:gd name="connsiteY3" fmla="*/ -1156 h 2248665"/>
              <a:gd name="connsiteX4" fmla="*/ 938 w 2259430"/>
              <a:gd name="connsiteY4" fmla="*/ 247243 h 2248665"/>
              <a:gd name="connsiteX5" fmla="*/ 2184192 w 2259430"/>
              <a:gd name="connsiteY5" fmla="*/ 2247510 h 2248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59430" h="2248665">
                <a:moveTo>
                  <a:pt x="2260368" y="1229249"/>
                </a:moveTo>
                <a:cubicBezTo>
                  <a:pt x="2237894" y="1230550"/>
                  <a:pt x="2215302" y="1231201"/>
                  <a:pt x="2192473" y="1231201"/>
                </a:cubicBezTo>
                <a:cubicBezTo>
                  <a:pt x="1607905" y="1231201"/>
                  <a:pt x="1121161" y="812766"/>
                  <a:pt x="1015177" y="259072"/>
                </a:cubicBezTo>
                <a:lnTo>
                  <a:pt x="496258" y="-1156"/>
                </a:lnTo>
                <a:lnTo>
                  <a:pt x="938" y="247243"/>
                </a:lnTo>
                <a:cubicBezTo>
                  <a:pt x="108932" y="1362498"/>
                  <a:pt x="1040549" y="2247510"/>
                  <a:pt x="2184192" y="2247510"/>
                </a:cubicBezTo>
              </a:path>
            </a:pathLst>
          </a:cu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/>
              <a:ea typeface="+mn-ea"/>
              <a:cs typeface="+mn-cs"/>
            </a:endParaRPr>
          </a:p>
        </p:txBody>
      </p: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27CFF5DF-6AB0-037B-CD9B-8674349A0010}"/>
              </a:ext>
            </a:extLst>
          </p:cNvPr>
          <p:cNvGrpSpPr/>
          <p:nvPr/>
        </p:nvGrpSpPr>
        <p:grpSpPr>
          <a:xfrm>
            <a:off x="1329895" y="2514600"/>
            <a:ext cx="2644456" cy="914400"/>
            <a:chOff x="494917" y="2680716"/>
            <a:chExt cx="2644456" cy="914400"/>
          </a:xfrm>
        </p:grpSpPr>
        <p:sp>
          <p:nvSpPr>
            <p:cNvPr id="24" name="CaixaDeTexto 23">
              <a:extLst>
                <a:ext uri="{FF2B5EF4-FFF2-40B4-BE49-F238E27FC236}">
                  <a16:creationId xmlns:a16="http://schemas.microsoft.com/office/drawing/2014/main" id="{513E49A2-923A-68EC-62A9-12DA7F8B6DE7}"/>
                </a:ext>
              </a:extLst>
            </p:cNvPr>
            <p:cNvSpPr txBox="1"/>
            <p:nvPr/>
          </p:nvSpPr>
          <p:spPr>
            <a:xfrm>
              <a:off x="1231601" y="2721305"/>
              <a:ext cx="1907772" cy="73866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Valores complementares em geração renovável</a:t>
              </a:r>
            </a:p>
          </p:txBody>
        </p:sp>
        <p:pic>
          <p:nvPicPr>
            <p:cNvPr id="25" name="Gráfico 24" descr="Blockchain estrutura de tópicos">
              <a:extLst>
                <a:ext uri="{FF2B5EF4-FFF2-40B4-BE49-F238E27FC236}">
                  <a16:creationId xmlns:a16="http://schemas.microsoft.com/office/drawing/2014/main" id="{1C1C00AA-D9B9-708A-3146-D4DB8CE7F83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94917" y="2680716"/>
              <a:ext cx="914400" cy="914400"/>
            </a:xfrm>
            <a:prstGeom prst="rect">
              <a:avLst/>
            </a:prstGeom>
          </p:spPr>
        </p:pic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198223ED-F7FF-9C3E-AC71-95A4406D4B19}"/>
              </a:ext>
            </a:extLst>
          </p:cNvPr>
          <p:cNvGrpSpPr/>
          <p:nvPr/>
        </p:nvGrpSpPr>
        <p:grpSpPr>
          <a:xfrm>
            <a:off x="370120" y="5646596"/>
            <a:ext cx="2259704" cy="914400"/>
            <a:chOff x="359025" y="4880813"/>
            <a:chExt cx="2259704" cy="914400"/>
          </a:xfrm>
        </p:grpSpPr>
        <p:sp>
          <p:nvSpPr>
            <p:cNvPr id="27" name="CaixaDeTexto 26">
              <a:extLst>
                <a:ext uri="{FF2B5EF4-FFF2-40B4-BE49-F238E27FC236}">
                  <a16:creationId xmlns:a16="http://schemas.microsoft.com/office/drawing/2014/main" id="{4695C1FF-857C-EA6A-694E-66B3160F6194}"/>
                </a:ext>
              </a:extLst>
            </p:cNvPr>
            <p:cNvSpPr txBox="1"/>
            <p:nvPr/>
          </p:nvSpPr>
          <p:spPr>
            <a:xfrm>
              <a:off x="1030197" y="5076403"/>
              <a:ext cx="1588532" cy="523220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Empoderamento do consumidor</a:t>
              </a:r>
            </a:p>
          </p:txBody>
        </p:sp>
        <p:pic>
          <p:nvPicPr>
            <p:cNvPr id="28" name="Gráfico 27" descr="Brainstorm estrutura de tópicos">
              <a:extLst>
                <a:ext uri="{FF2B5EF4-FFF2-40B4-BE49-F238E27FC236}">
                  <a16:creationId xmlns:a16="http://schemas.microsoft.com/office/drawing/2014/main" id="{C20BFEC1-5DAA-6905-480C-12EBA0542D8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59025" y="4880813"/>
              <a:ext cx="914400" cy="914400"/>
            </a:xfrm>
            <a:prstGeom prst="rect">
              <a:avLst/>
            </a:prstGeom>
          </p:spPr>
        </p:pic>
      </p:grp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03E68536-F70F-3A2A-DF5B-62FA42418E0B}"/>
              </a:ext>
            </a:extLst>
          </p:cNvPr>
          <p:cNvGrpSpPr/>
          <p:nvPr/>
        </p:nvGrpSpPr>
        <p:grpSpPr>
          <a:xfrm>
            <a:off x="9304779" y="2258033"/>
            <a:ext cx="1505966" cy="1248215"/>
            <a:chOff x="10419748" y="1371024"/>
            <a:chExt cx="1505966" cy="1248215"/>
          </a:xfrm>
        </p:grpSpPr>
        <p:sp>
          <p:nvSpPr>
            <p:cNvPr id="30" name="CaixaDeTexto 29">
              <a:extLst>
                <a:ext uri="{FF2B5EF4-FFF2-40B4-BE49-F238E27FC236}">
                  <a16:creationId xmlns:a16="http://schemas.microsoft.com/office/drawing/2014/main" id="{63585210-DB57-2605-1919-4AE2D87E997F}"/>
                </a:ext>
              </a:extLst>
            </p:cNvPr>
            <p:cNvSpPr txBox="1"/>
            <p:nvPr/>
          </p:nvSpPr>
          <p:spPr>
            <a:xfrm>
              <a:off x="10419748" y="2096019"/>
              <a:ext cx="1505966" cy="523220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Veículos Elétricos </a:t>
              </a:r>
            </a:p>
          </p:txBody>
        </p:sp>
        <p:pic>
          <p:nvPicPr>
            <p:cNvPr id="32" name="Gráfico 31" descr="Carro elétrico estrutura de tópicos">
              <a:extLst>
                <a:ext uri="{FF2B5EF4-FFF2-40B4-BE49-F238E27FC236}">
                  <a16:creationId xmlns:a16="http://schemas.microsoft.com/office/drawing/2014/main" id="{C0ED377F-C67C-A9F4-6A14-5EB2055A7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684983" y="1371024"/>
              <a:ext cx="914400" cy="914400"/>
            </a:xfrm>
            <a:prstGeom prst="rect">
              <a:avLst/>
            </a:prstGeom>
          </p:spPr>
        </p:pic>
      </p:grpSp>
      <p:grpSp>
        <p:nvGrpSpPr>
          <p:cNvPr id="33" name="Agrupar 32">
            <a:extLst>
              <a:ext uri="{FF2B5EF4-FFF2-40B4-BE49-F238E27FC236}">
                <a16:creationId xmlns:a16="http://schemas.microsoft.com/office/drawing/2014/main" id="{2EFB7802-F334-93F0-B4CD-74BB9BDB471C}"/>
              </a:ext>
            </a:extLst>
          </p:cNvPr>
          <p:cNvGrpSpPr/>
          <p:nvPr/>
        </p:nvGrpSpPr>
        <p:grpSpPr>
          <a:xfrm>
            <a:off x="3161939" y="5547879"/>
            <a:ext cx="2338514" cy="1102131"/>
            <a:chOff x="2636026" y="5469799"/>
            <a:chExt cx="2338514" cy="1102131"/>
          </a:xfrm>
        </p:grpSpPr>
        <p:sp>
          <p:nvSpPr>
            <p:cNvPr id="35" name="CaixaDeTexto 34">
              <a:extLst>
                <a:ext uri="{FF2B5EF4-FFF2-40B4-BE49-F238E27FC236}">
                  <a16:creationId xmlns:a16="http://schemas.microsoft.com/office/drawing/2014/main" id="{FFB1EA31-D915-5A1C-18AE-908544F53553}"/>
                </a:ext>
              </a:extLst>
            </p:cNvPr>
            <p:cNvSpPr txBox="1"/>
            <p:nvPr/>
          </p:nvSpPr>
          <p:spPr>
            <a:xfrm>
              <a:off x="2636026" y="5469799"/>
              <a:ext cx="1930818" cy="73866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Valoriza complementos espaciais</a:t>
              </a:r>
            </a:p>
          </p:txBody>
        </p:sp>
        <p:pic>
          <p:nvPicPr>
            <p:cNvPr id="36" name="Gráfico 35" descr="Eletricista masculino estrutura de tópicos">
              <a:extLst>
                <a:ext uri="{FF2B5EF4-FFF2-40B4-BE49-F238E27FC236}">
                  <a16:creationId xmlns:a16="http://schemas.microsoft.com/office/drawing/2014/main" id="{DAE1167A-4FE9-AF60-C6EF-13080D9B6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060140" y="5657530"/>
              <a:ext cx="914400" cy="914400"/>
            </a:xfrm>
            <a:prstGeom prst="rect">
              <a:avLst/>
            </a:prstGeom>
          </p:spPr>
        </p:pic>
      </p:grpSp>
      <p:grpSp>
        <p:nvGrpSpPr>
          <p:cNvPr id="37" name="Agrupar 36">
            <a:extLst>
              <a:ext uri="{FF2B5EF4-FFF2-40B4-BE49-F238E27FC236}">
                <a16:creationId xmlns:a16="http://schemas.microsoft.com/office/drawing/2014/main" id="{939B0DA7-C2ED-BE72-A77E-C76663FCB497}"/>
              </a:ext>
            </a:extLst>
          </p:cNvPr>
          <p:cNvGrpSpPr/>
          <p:nvPr/>
        </p:nvGrpSpPr>
        <p:grpSpPr>
          <a:xfrm>
            <a:off x="8598029" y="5189396"/>
            <a:ext cx="2544154" cy="914400"/>
            <a:chOff x="8501902" y="5148488"/>
            <a:chExt cx="2544154" cy="914400"/>
          </a:xfrm>
        </p:grpSpPr>
        <p:sp>
          <p:nvSpPr>
            <p:cNvPr id="38" name="CaixaDeTexto 37">
              <a:extLst>
                <a:ext uri="{FF2B5EF4-FFF2-40B4-BE49-F238E27FC236}">
                  <a16:creationId xmlns:a16="http://schemas.microsoft.com/office/drawing/2014/main" id="{0885EDD0-B6D8-A16A-F9B8-9CF97D614168}"/>
                </a:ext>
              </a:extLst>
            </p:cNvPr>
            <p:cNvSpPr txBox="1"/>
            <p:nvPr/>
          </p:nvSpPr>
          <p:spPr>
            <a:xfrm>
              <a:off x="8501902" y="5438531"/>
              <a:ext cx="1930818" cy="523220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Reforço da oferta integrada do B2C</a:t>
              </a:r>
            </a:p>
          </p:txBody>
        </p:sp>
        <p:pic>
          <p:nvPicPr>
            <p:cNvPr id="40" name="Gráfico 39" descr="Torre elétrica estrutura de tópicos">
              <a:extLst>
                <a:ext uri="{FF2B5EF4-FFF2-40B4-BE49-F238E27FC236}">
                  <a16:creationId xmlns:a16="http://schemas.microsoft.com/office/drawing/2014/main" id="{39B2F332-7496-FCB5-F2AD-49C171B025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0131656" y="5148488"/>
              <a:ext cx="914400" cy="914400"/>
            </a:xfrm>
            <a:prstGeom prst="rect">
              <a:avLst/>
            </a:prstGeom>
          </p:spPr>
        </p:pic>
      </p:grpSp>
      <p:grpSp>
        <p:nvGrpSpPr>
          <p:cNvPr id="41" name="Agrupar 40">
            <a:extLst>
              <a:ext uri="{FF2B5EF4-FFF2-40B4-BE49-F238E27FC236}">
                <a16:creationId xmlns:a16="http://schemas.microsoft.com/office/drawing/2014/main" id="{227A3A49-E63B-62C7-A4BD-681C25982E61}"/>
              </a:ext>
            </a:extLst>
          </p:cNvPr>
          <p:cNvGrpSpPr/>
          <p:nvPr/>
        </p:nvGrpSpPr>
        <p:grpSpPr>
          <a:xfrm>
            <a:off x="2463693" y="1113634"/>
            <a:ext cx="2328716" cy="1099384"/>
            <a:chOff x="2554857" y="1203372"/>
            <a:chExt cx="2328716" cy="1099384"/>
          </a:xfrm>
        </p:grpSpPr>
        <p:sp>
          <p:nvSpPr>
            <p:cNvPr id="43" name="CaixaDeTexto 42">
              <a:extLst>
                <a:ext uri="{FF2B5EF4-FFF2-40B4-BE49-F238E27FC236}">
                  <a16:creationId xmlns:a16="http://schemas.microsoft.com/office/drawing/2014/main" id="{4E726E4E-2260-B214-542A-DE2A265A472A}"/>
                </a:ext>
              </a:extLst>
            </p:cNvPr>
            <p:cNvSpPr txBox="1"/>
            <p:nvPr/>
          </p:nvSpPr>
          <p:spPr>
            <a:xfrm>
              <a:off x="2554857" y="1564092"/>
              <a:ext cx="1679006" cy="73866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Eletrificação do setor para consumidor final </a:t>
              </a:r>
            </a:p>
          </p:txBody>
        </p:sp>
        <p:pic>
          <p:nvPicPr>
            <p:cNvPr id="44" name="Gráfico 43" descr="Debate de grupo estrutura de tópicos">
              <a:extLst>
                <a:ext uri="{FF2B5EF4-FFF2-40B4-BE49-F238E27FC236}">
                  <a16:creationId xmlns:a16="http://schemas.microsoft.com/office/drawing/2014/main" id="{E3943CF6-3010-9E71-5824-65404C199D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969173" y="1203372"/>
              <a:ext cx="914400" cy="914400"/>
            </a:xfrm>
            <a:prstGeom prst="rect">
              <a:avLst/>
            </a:prstGeom>
          </p:spPr>
        </p:pic>
      </p:grp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28C66CEE-7E56-7FC0-E934-C4AA027CC3F4}"/>
              </a:ext>
            </a:extLst>
          </p:cNvPr>
          <p:cNvGrpSpPr/>
          <p:nvPr/>
        </p:nvGrpSpPr>
        <p:grpSpPr>
          <a:xfrm>
            <a:off x="223316" y="1581820"/>
            <a:ext cx="2184741" cy="1156235"/>
            <a:chOff x="417721" y="1203242"/>
            <a:chExt cx="2184741" cy="1156235"/>
          </a:xfrm>
        </p:grpSpPr>
        <p:sp>
          <p:nvSpPr>
            <p:cNvPr id="47" name="CaixaDeTexto 46">
              <a:extLst>
                <a:ext uri="{FF2B5EF4-FFF2-40B4-BE49-F238E27FC236}">
                  <a16:creationId xmlns:a16="http://schemas.microsoft.com/office/drawing/2014/main" id="{E5524566-18E4-2FC7-7C1E-91D9B3840C3B}"/>
                </a:ext>
              </a:extLst>
            </p:cNvPr>
            <p:cNvSpPr txBox="1"/>
            <p:nvPr/>
          </p:nvSpPr>
          <p:spPr>
            <a:xfrm>
              <a:off x="962820" y="1203242"/>
              <a:ext cx="1639642" cy="73866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Operação descentralizada do sistema</a:t>
              </a:r>
            </a:p>
          </p:txBody>
        </p:sp>
        <p:pic>
          <p:nvPicPr>
            <p:cNvPr id="48" name="Gráfico 47" descr="Rede estrutura de tópicos">
              <a:extLst>
                <a:ext uri="{FF2B5EF4-FFF2-40B4-BE49-F238E27FC236}">
                  <a16:creationId xmlns:a16="http://schemas.microsoft.com/office/drawing/2014/main" id="{7ED179D6-3E61-AC52-A117-092ADB734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7721" y="1445077"/>
              <a:ext cx="914400" cy="914400"/>
            </a:xfrm>
            <a:prstGeom prst="rect">
              <a:avLst/>
            </a:prstGeom>
          </p:spPr>
        </p:pic>
      </p:grpSp>
      <p:grpSp>
        <p:nvGrpSpPr>
          <p:cNvPr id="49" name="Agrupar 48">
            <a:extLst>
              <a:ext uri="{FF2B5EF4-FFF2-40B4-BE49-F238E27FC236}">
                <a16:creationId xmlns:a16="http://schemas.microsoft.com/office/drawing/2014/main" id="{28FA31FE-E25C-C1B9-2998-936A5885DD49}"/>
              </a:ext>
            </a:extLst>
          </p:cNvPr>
          <p:cNvGrpSpPr/>
          <p:nvPr/>
        </p:nvGrpSpPr>
        <p:grpSpPr>
          <a:xfrm>
            <a:off x="10291703" y="1108798"/>
            <a:ext cx="1505966" cy="1142109"/>
            <a:chOff x="8105777" y="1369264"/>
            <a:chExt cx="1505966" cy="1142109"/>
          </a:xfrm>
        </p:grpSpPr>
        <p:sp>
          <p:nvSpPr>
            <p:cNvPr id="50" name="CaixaDeTexto 49">
              <a:extLst>
                <a:ext uri="{FF2B5EF4-FFF2-40B4-BE49-F238E27FC236}">
                  <a16:creationId xmlns:a16="http://schemas.microsoft.com/office/drawing/2014/main" id="{586A7E3E-09A0-AB1D-CF79-3ECBDFCB9551}"/>
                </a:ext>
              </a:extLst>
            </p:cNvPr>
            <p:cNvSpPr txBox="1"/>
            <p:nvPr/>
          </p:nvSpPr>
          <p:spPr>
            <a:xfrm>
              <a:off x="8105777" y="2203596"/>
              <a:ext cx="1505966" cy="307777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Digitalização</a:t>
              </a:r>
            </a:p>
          </p:txBody>
        </p:sp>
        <p:pic>
          <p:nvPicPr>
            <p:cNvPr id="51" name="Gráfico 50" descr="Ciências de aprendizagem remota estrutura de tópicos">
              <a:extLst>
                <a:ext uri="{FF2B5EF4-FFF2-40B4-BE49-F238E27FC236}">
                  <a16:creationId xmlns:a16="http://schemas.microsoft.com/office/drawing/2014/main" id="{F2B00D24-864B-953B-D635-ECCC37845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8393644" y="1369264"/>
              <a:ext cx="914400" cy="914400"/>
            </a:xfrm>
            <a:prstGeom prst="rect">
              <a:avLst/>
            </a:prstGeom>
          </p:spPr>
        </p:pic>
      </p:grpSp>
      <p:grpSp>
        <p:nvGrpSpPr>
          <p:cNvPr id="52" name="Agrupar 51">
            <a:extLst>
              <a:ext uri="{FF2B5EF4-FFF2-40B4-BE49-F238E27FC236}">
                <a16:creationId xmlns:a16="http://schemas.microsoft.com/office/drawing/2014/main" id="{E44C6EEB-6DD1-081B-5932-4AB51A92D7C6}"/>
              </a:ext>
            </a:extLst>
          </p:cNvPr>
          <p:cNvGrpSpPr/>
          <p:nvPr/>
        </p:nvGrpSpPr>
        <p:grpSpPr>
          <a:xfrm>
            <a:off x="514443" y="3912610"/>
            <a:ext cx="2259311" cy="1089369"/>
            <a:chOff x="1430558" y="3914854"/>
            <a:chExt cx="2259311" cy="1089369"/>
          </a:xfrm>
        </p:grpSpPr>
        <p:sp>
          <p:nvSpPr>
            <p:cNvPr id="53" name="CaixaDeTexto 52">
              <a:extLst>
                <a:ext uri="{FF2B5EF4-FFF2-40B4-BE49-F238E27FC236}">
                  <a16:creationId xmlns:a16="http://schemas.microsoft.com/office/drawing/2014/main" id="{18E9A75E-E9B2-CD29-D226-AD1BE7934A52}"/>
                </a:ext>
              </a:extLst>
            </p:cNvPr>
            <p:cNvSpPr txBox="1"/>
            <p:nvPr/>
          </p:nvSpPr>
          <p:spPr>
            <a:xfrm>
              <a:off x="2229369" y="4265559"/>
              <a:ext cx="1460500" cy="738664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Encorajamento da flexibilidade tarifária</a:t>
              </a:r>
            </a:p>
          </p:txBody>
        </p:sp>
        <p:pic>
          <p:nvPicPr>
            <p:cNvPr id="54" name="Gráfico 53" descr="Energia renovável estrutura de tópicos">
              <a:extLst>
                <a:ext uri="{FF2B5EF4-FFF2-40B4-BE49-F238E27FC236}">
                  <a16:creationId xmlns:a16="http://schemas.microsoft.com/office/drawing/2014/main" id="{BA048057-7267-E5E6-14F7-77A8F62954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430558" y="3914854"/>
              <a:ext cx="914400" cy="914400"/>
            </a:xfrm>
            <a:prstGeom prst="rect">
              <a:avLst/>
            </a:prstGeom>
          </p:spPr>
        </p:pic>
      </p:grpSp>
      <p:grpSp>
        <p:nvGrpSpPr>
          <p:cNvPr id="55" name="Agrupar 54">
            <a:extLst>
              <a:ext uri="{FF2B5EF4-FFF2-40B4-BE49-F238E27FC236}">
                <a16:creationId xmlns:a16="http://schemas.microsoft.com/office/drawing/2014/main" id="{89B49EF4-F99F-DB6D-BC9B-E146EB61E29A}"/>
              </a:ext>
            </a:extLst>
          </p:cNvPr>
          <p:cNvGrpSpPr/>
          <p:nvPr/>
        </p:nvGrpSpPr>
        <p:grpSpPr>
          <a:xfrm>
            <a:off x="7959712" y="1163882"/>
            <a:ext cx="1787727" cy="940329"/>
            <a:chOff x="10015017" y="1160895"/>
            <a:chExt cx="1787727" cy="940329"/>
          </a:xfrm>
        </p:grpSpPr>
        <p:sp>
          <p:nvSpPr>
            <p:cNvPr id="56" name="CaixaDeTexto 55">
              <a:extLst>
                <a:ext uri="{FF2B5EF4-FFF2-40B4-BE49-F238E27FC236}">
                  <a16:creationId xmlns:a16="http://schemas.microsoft.com/office/drawing/2014/main" id="{DB04E0CC-C03A-04C0-D4EB-6E2BD77FA01D}"/>
                </a:ext>
              </a:extLst>
            </p:cNvPr>
            <p:cNvSpPr txBox="1"/>
            <p:nvPr/>
          </p:nvSpPr>
          <p:spPr>
            <a:xfrm>
              <a:off x="10015017" y="1793447"/>
              <a:ext cx="1505966" cy="307777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Hidrogênio</a:t>
              </a:r>
            </a:p>
          </p:txBody>
        </p:sp>
        <p:pic>
          <p:nvPicPr>
            <p:cNvPr id="66" name="Gráfico 65" descr="Químicos estrutura de tópicos">
              <a:extLst>
                <a:ext uri="{FF2B5EF4-FFF2-40B4-BE49-F238E27FC236}">
                  <a16:creationId xmlns:a16="http://schemas.microsoft.com/office/drawing/2014/main" id="{00FDCF39-0480-8E8D-EA4B-B3CA9DE6F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10888344" y="1160895"/>
              <a:ext cx="914400" cy="914400"/>
            </a:xfrm>
            <a:prstGeom prst="rect">
              <a:avLst/>
            </a:prstGeom>
          </p:spPr>
        </p:pic>
      </p:grpSp>
      <p:grpSp>
        <p:nvGrpSpPr>
          <p:cNvPr id="67" name="Agrupar 66">
            <a:extLst>
              <a:ext uri="{FF2B5EF4-FFF2-40B4-BE49-F238E27FC236}">
                <a16:creationId xmlns:a16="http://schemas.microsoft.com/office/drawing/2014/main" id="{7573002C-6A32-8DC5-8538-8E64352F7AC7}"/>
              </a:ext>
            </a:extLst>
          </p:cNvPr>
          <p:cNvGrpSpPr/>
          <p:nvPr/>
        </p:nvGrpSpPr>
        <p:grpSpPr>
          <a:xfrm>
            <a:off x="7945844" y="4065655"/>
            <a:ext cx="1634352" cy="1082833"/>
            <a:chOff x="8016525" y="3875031"/>
            <a:chExt cx="1634352" cy="1082833"/>
          </a:xfrm>
        </p:grpSpPr>
        <p:sp>
          <p:nvSpPr>
            <p:cNvPr id="68" name="CaixaDeTexto 67">
              <a:extLst>
                <a:ext uri="{FF2B5EF4-FFF2-40B4-BE49-F238E27FC236}">
                  <a16:creationId xmlns:a16="http://schemas.microsoft.com/office/drawing/2014/main" id="{1159DF0A-294A-DC37-4B2E-7F572E2F2C95}"/>
                </a:ext>
              </a:extLst>
            </p:cNvPr>
            <p:cNvSpPr txBox="1"/>
            <p:nvPr/>
          </p:nvSpPr>
          <p:spPr>
            <a:xfrm>
              <a:off x="8016525" y="4434644"/>
              <a:ext cx="1505966" cy="523220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Energia</a:t>
              </a:r>
              <a:b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</a:b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como serviço</a:t>
              </a:r>
            </a:p>
          </p:txBody>
        </p:sp>
        <p:pic>
          <p:nvPicPr>
            <p:cNvPr id="71" name="Gráfico 70" descr="Conectado desconectado estrutura de tópicos">
              <a:extLst>
                <a:ext uri="{FF2B5EF4-FFF2-40B4-BE49-F238E27FC236}">
                  <a16:creationId xmlns:a16="http://schemas.microsoft.com/office/drawing/2014/main" id="{0EBD063C-FAE4-3205-AB32-6AAC4DB2F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8736477" y="3875031"/>
              <a:ext cx="914400" cy="914400"/>
            </a:xfrm>
            <a:prstGeom prst="rect">
              <a:avLst/>
            </a:prstGeom>
          </p:spPr>
        </p:pic>
      </p:grpSp>
      <p:grpSp>
        <p:nvGrpSpPr>
          <p:cNvPr id="72" name="Agrupar 71">
            <a:extLst>
              <a:ext uri="{FF2B5EF4-FFF2-40B4-BE49-F238E27FC236}">
                <a16:creationId xmlns:a16="http://schemas.microsoft.com/office/drawing/2014/main" id="{B50CE70D-5EED-00CB-1AF1-E86D6C125146}"/>
              </a:ext>
            </a:extLst>
          </p:cNvPr>
          <p:cNvGrpSpPr/>
          <p:nvPr/>
        </p:nvGrpSpPr>
        <p:grpSpPr>
          <a:xfrm>
            <a:off x="5978100" y="3585956"/>
            <a:ext cx="2235596" cy="2261972"/>
            <a:chOff x="5978100" y="3585956"/>
            <a:chExt cx="2235596" cy="2261972"/>
          </a:xfrm>
        </p:grpSpPr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564CE489-8720-E8B6-53CF-D6E6648D1078}"/>
                </a:ext>
              </a:extLst>
            </p:cNvPr>
            <p:cNvSpPr/>
            <p:nvPr/>
          </p:nvSpPr>
          <p:spPr>
            <a:xfrm>
              <a:off x="6340027" y="3683412"/>
              <a:ext cx="858300" cy="1120695"/>
            </a:xfrm>
            <a:custGeom>
              <a:avLst/>
              <a:gdLst>
                <a:gd name="connsiteX0" fmla="*/ 858508 w 858300"/>
                <a:gd name="connsiteY0" fmla="*/ -1156 h 1120695"/>
                <a:gd name="connsiteX1" fmla="*/ 938 w 858300"/>
                <a:gd name="connsiteY1" fmla="*/ 1119539 h 112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8300" h="1120695">
                  <a:moveTo>
                    <a:pt x="858508" y="-1156"/>
                  </a:moveTo>
                  <a:cubicBezTo>
                    <a:pt x="878321" y="535269"/>
                    <a:pt x="492828" y="1006340"/>
                    <a:pt x="938" y="1119539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/>
                <a:ea typeface="+mn-ea"/>
                <a:cs typeface="+mn-cs"/>
              </a:endParaRPr>
            </a:p>
          </p:txBody>
        </p:sp>
        <p:sp>
          <p:nvSpPr>
            <p:cNvPr id="76" name="Forma Livre: Forma 75">
              <a:extLst>
                <a:ext uri="{FF2B5EF4-FFF2-40B4-BE49-F238E27FC236}">
                  <a16:creationId xmlns:a16="http://schemas.microsoft.com/office/drawing/2014/main" id="{00AF5471-64B8-A206-6C50-42E2FE83C5CF}"/>
                </a:ext>
              </a:extLst>
            </p:cNvPr>
            <p:cNvSpPr/>
            <p:nvPr/>
          </p:nvSpPr>
          <p:spPr>
            <a:xfrm>
              <a:off x="5978100" y="3585956"/>
              <a:ext cx="2235596" cy="2261972"/>
            </a:xfrm>
            <a:custGeom>
              <a:avLst/>
              <a:gdLst>
                <a:gd name="connsiteX0" fmla="*/ 261166 w 2235596"/>
                <a:gd name="connsiteY0" fmla="*/ 1246637 h 2261972"/>
                <a:gd name="connsiteX1" fmla="*/ 938 w 2235596"/>
                <a:gd name="connsiteY1" fmla="*/ 1765555 h 2261972"/>
                <a:gd name="connsiteX2" fmla="*/ 249338 w 2235596"/>
                <a:gd name="connsiteY2" fmla="*/ 2260817 h 2261972"/>
                <a:gd name="connsiteX3" fmla="*/ 2236534 w 2235596"/>
                <a:gd name="connsiteY3" fmla="*/ 69283 h 2261972"/>
                <a:gd name="connsiteX4" fmla="*/ 2235292 w 2235596"/>
                <a:gd name="connsiteY4" fmla="*/ -1156 h 2261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35596" h="2261972">
                  <a:moveTo>
                    <a:pt x="261166" y="1246637"/>
                  </a:moveTo>
                  <a:lnTo>
                    <a:pt x="938" y="1765555"/>
                  </a:lnTo>
                  <a:lnTo>
                    <a:pt x="249338" y="2260817"/>
                  </a:lnTo>
                  <a:cubicBezTo>
                    <a:pt x="1364652" y="2152822"/>
                    <a:pt x="2236534" y="1212926"/>
                    <a:pt x="2236534" y="69283"/>
                  </a:cubicBezTo>
                  <a:cubicBezTo>
                    <a:pt x="2236534" y="45626"/>
                    <a:pt x="2236002" y="21969"/>
                    <a:pt x="2235292" y="-115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ulish"/>
                <a:ea typeface="+mn-ea"/>
                <a:cs typeface="+mn-cs"/>
              </a:endParaRPr>
            </a:p>
          </p:txBody>
        </p:sp>
      </p:grpSp>
      <p:sp>
        <p:nvSpPr>
          <p:cNvPr id="77" name="Retângulo 5">
            <a:extLst>
              <a:ext uri="{FF2B5EF4-FFF2-40B4-BE49-F238E27FC236}">
                <a16:creationId xmlns:a16="http://schemas.microsoft.com/office/drawing/2014/main" id="{7DD6B3A8-2E76-7546-1872-5D900536FCCB}"/>
              </a:ext>
            </a:extLst>
          </p:cNvPr>
          <p:cNvSpPr/>
          <p:nvPr/>
        </p:nvSpPr>
        <p:spPr>
          <a:xfrm>
            <a:off x="6158068" y="5843664"/>
            <a:ext cx="6033932" cy="523220"/>
          </a:xfrm>
          <a:custGeom>
            <a:avLst/>
            <a:gdLst>
              <a:gd name="connsiteX0" fmla="*/ 0 w 3661829"/>
              <a:gd name="connsiteY0" fmla="*/ 0 h 1088504"/>
              <a:gd name="connsiteX1" fmla="*/ 3661829 w 3661829"/>
              <a:gd name="connsiteY1" fmla="*/ 0 h 1088504"/>
              <a:gd name="connsiteX2" fmla="*/ 3661829 w 3661829"/>
              <a:gd name="connsiteY2" fmla="*/ 1088504 h 1088504"/>
              <a:gd name="connsiteX3" fmla="*/ 0 w 3661829"/>
              <a:gd name="connsiteY3" fmla="*/ 1088504 h 1088504"/>
              <a:gd name="connsiteX4" fmla="*/ 0 w 3661829"/>
              <a:gd name="connsiteY4" fmla="*/ 0 h 1088504"/>
              <a:gd name="connsiteX0" fmla="*/ 3661829 w 3753269"/>
              <a:gd name="connsiteY0" fmla="*/ 0 h 1088504"/>
              <a:gd name="connsiteX1" fmla="*/ 3661829 w 3753269"/>
              <a:gd name="connsiteY1" fmla="*/ 1088504 h 1088504"/>
              <a:gd name="connsiteX2" fmla="*/ 0 w 3753269"/>
              <a:gd name="connsiteY2" fmla="*/ 1088504 h 1088504"/>
              <a:gd name="connsiteX3" fmla="*/ 0 w 3753269"/>
              <a:gd name="connsiteY3" fmla="*/ 0 h 1088504"/>
              <a:gd name="connsiteX4" fmla="*/ 3753269 w 3753269"/>
              <a:gd name="connsiteY4" fmla="*/ 91440 h 1088504"/>
              <a:gd name="connsiteX0" fmla="*/ 3661829 w 3661829"/>
              <a:gd name="connsiteY0" fmla="*/ 0 h 1088504"/>
              <a:gd name="connsiteX1" fmla="*/ 3661829 w 3661829"/>
              <a:gd name="connsiteY1" fmla="*/ 1088504 h 1088504"/>
              <a:gd name="connsiteX2" fmla="*/ 0 w 3661829"/>
              <a:gd name="connsiteY2" fmla="*/ 1088504 h 1088504"/>
              <a:gd name="connsiteX3" fmla="*/ 0 w 3661829"/>
              <a:gd name="connsiteY3" fmla="*/ 0 h 1088504"/>
              <a:gd name="connsiteX0" fmla="*/ 3661829 w 3661829"/>
              <a:gd name="connsiteY0" fmla="*/ 1088504 h 1088504"/>
              <a:gd name="connsiteX1" fmla="*/ 0 w 3661829"/>
              <a:gd name="connsiteY1" fmla="*/ 1088504 h 1088504"/>
              <a:gd name="connsiteX2" fmla="*/ 0 w 3661829"/>
              <a:gd name="connsiteY2" fmla="*/ 0 h 1088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1829" h="1088504">
                <a:moveTo>
                  <a:pt x="3661829" y="1088504"/>
                </a:moveTo>
                <a:lnTo>
                  <a:pt x="0" y="1088504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/>
              <a:ea typeface="+mn-ea"/>
              <a:cs typeface="+mn-cs"/>
            </a:endParaRPr>
          </a:p>
        </p:txBody>
      </p:sp>
      <p:grpSp>
        <p:nvGrpSpPr>
          <p:cNvPr id="78" name="Agrupar 77">
            <a:extLst>
              <a:ext uri="{FF2B5EF4-FFF2-40B4-BE49-F238E27FC236}">
                <a16:creationId xmlns:a16="http://schemas.microsoft.com/office/drawing/2014/main" id="{B81A336B-1213-FD3F-5918-250C82E43866}"/>
              </a:ext>
            </a:extLst>
          </p:cNvPr>
          <p:cNvGrpSpPr/>
          <p:nvPr/>
        </p:nvGrpSpPr>
        <p:grpSpPr>
          <a:xfrm>
            <a:off x="2741470" y="4410161"/>
            <a:ext cx="1460500" cy="873794"/>
            <a:chOff x="2560237" y="4441906"/>
            <a:chExt cx="1460500" cy="873794"/>
          </a:xfrm>
        </p:grpSpPr>
        <p:sp>
          <p:nvSpPr>
            <p:cNvPr id="79" name="CaixaDeTexto 78">
              <a:extLst>
                <a:ext uri="{FF2B5EF4-FFF2-40B4-BE49-F238E27FC236}">
                  <a16:creationId xmlns:a16="http://schemas.microsoft.com/office/drawing/2014/main" id="{5C660069-17EA-AD7C-00F2-AA4C94D9BDA4}"/>
                </a:ext>
              </a:extLst>
            </p:cNvPr>
            <p:cNvSpPr txBox="1"/>
            <p:nvPr/>
          </p:nvSpPr>
          <p:spPr>
            <a:xfrm>
              <a:off x="2560237" y="5007923"/>
              <a:ext cx="1460500" cy="307777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lish Light" pitchFamily="2" charset="0"/>
                  <a:ea typeface="+mn-ea"/>
                  <a:cs typeface="+mn-cs"/>
                </a:rPr>
                <a:t>Baterias</a:t>
              </a:r>
            </a:p>
          </p:txBody>
        </p:sp>
        <p:pic>
          <p:nvPicPr>
            <p:cNvPr id="80" name="Gráfico 79" descr="Carregamento da bateria estrutura de tópicos">
              <a:extLst>
                <a:ext uri="{FF2B5EF4-FFF2-40B4-BE49-F238E27FC236}">
                  <a16:creationId xmlns:a16="http://schemas.microsoft.com/office/drawing/2014/main" id="{50DB7A5E-6B3E-0E0B-5B8F-2D8C8F1C38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2912635" y="4441906"/>
              <a:ext cx="755703" cy="75570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084A27A-0852-BA16-26A8-29703FB06E8E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10234127" cy="37394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prstClr val="white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Novos modelos de consumo pedem novos modelos de negócio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2C7C066E-F30A-9EA8-7518-C8EEB30CD3D3}"/>
              </a:ext>
            </a:extLst>
          </p:cNvPr>
          <p:cNvSpPr/>
          <p:nvPr/>
        </p:nvSpPr>
        <p:spPr>
          <a:xfrm>
            <a:off x="10484413" y="144233"/>
            <a:ext cx="1383535" cy="529535"/>
          </a:xfrm>
          <a:prstGeom prst="rect">
            <a:avLst/>
          </a:prstGeom>
          <a:solidFill>
            <a:srgbClr val="212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Picture 15">
            <a:extLst>
              <a:ext uri="{FF2B5EF4-FFF2-40B4-BE49-F238E27FC236}">
                <a16:creationId xmlns:a16="http://schemas.microsoft.com/office/drawing/2014/main" id="{CC223738-E682-2C6B-9B64-3310BB5F61BE}"/>
              </a:ext>
            </a:extLst>
          </p:cNvPr>
          <p:cNvPicPr>
            <a:picLocks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3" y="175551"/>
            <a:ext cx="889594" cy="32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3771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0AD1DFF-ADAE-7A56-4BE9-4B5C84859E6C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10234127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0000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EDP é uma companhia global presente em 28 países, em vários estágios da cadeia, contribuindo com a transição energética</a:t>
            </a:r>
            <a:endParaRPr kumimoji="0" lang="pt-BR" sz="2700" b="0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6D32FF"/>
              </a:solidFill>
              <a:effectLst/>
              <a:uLnTx/>
              <a:uFillTx/>
              <a:latin typeface="FT Base"/>
              <a:ea typeface="+mj-ea"/>
              <a:cs typeface="+mj-cs"/>
            </a:endParaRPr>
          </a:p>
        </p:txBody>
      </p:sp>
      <p:grpSp>
        <p:nvGrpSpPr>
          <p:cNvPr id="929" name="Agrupar 928">
            <a:extLst>
              <a:ext uri="{FF2B5EF4-FFF2-40B4-BE49-F238E27FC236}">
                <a16:creationId xmlns:a16="http://schemas.microsoft.com/office/drawing/2014/main" id="{F9936D9C-08BD-1CB6-8916-1BB13DC85008}"/>
              </a:ext>
            </a:extLst>
          </p:cNvPr>
          <p:cNvGrpSpPr/>
          <p:nvPr/>
        </p:nvGrpSpPr>
        <p:grpSpPr>
          <a:xfrm>
            <a:off x="581438" y="4067527"/>
            <a:ext cx="1366602" cy="1871281"/>
            <a:chOff x="683419" y="4148295"/>
            <a:chExt cx="995324" cy="1362892"/>
          </a:xfrm>
        </p:grpSpPr>
        <p:sp>
          <p:nvSpPr>
            <p:cNvPr id="578" name="Freeform 488">
              <a:extLst>
                <a:ext uri="{FF2B5EF4-FFF2-40B4-BE49-F238E27FC236}">
                  <a16:creationId xmlns:a16="http://schemas.microsoft.com/office/drawing/2014/main" id="{FBAC94CF-CE18-E82B-8A73-B2E29BCDC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6780" y="5424526"/>
              <a:ext cx="21795" cy="15741"/>
            </a:xfrm>
            <a:custGeom>
              <a:avLst/>
              <a:gdLst>
                <a:gd name="T0" fmla="*/ 6 w 7"/>
                <a:gd name="T1" fmla="*/ 1 h 5"/>
                <a:gd name="T2" fmla="*/ 4 w 7"/>
                <a:gd name="T3" fmla="*/ 2 h 5"/>
                <a:gd name="T4" fmla="*/ 2 w 7"/>
                <a:gd name="T5" fmla="*/ 0 h 5"/>
                <a:gd name="T6" fmla="*/ 1 w 7"/>
                <a:gd name="T7" fmla="*/ 2 h 5"/>
                <a:gd name="T8" fmla="*/ 2 w 7"/>
                <a:gd name="T9" fmla="*/ 5 h 5"/>
                <a:gd name="T10" fmla="*/ 6 w 7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6" y="1"/>
                  </a:moveTo>
                  <a:cubicBezTo>
                    <a:pt x="5" y="1"/>
                    <a:pt x="5" y="3"/>
                    <a:pt x="4" y="2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0" y="3"/>
                    <a:pt x="1" y="5"/>
                    <a:pt x="2" y="5"/>
                  </a:cubicBezTo>
                  <a:cubicBezTo>
                    <a:pt x="4" y="5"/>
                    <a:pt x="7" y="2"/>
                    <a:pt x="6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79" name="Freeform 489">
              <a:extLst>
                <a:ext uri="{FF2B5EF4-FFF2-40B4-BE49-F238E27FC236}">
                  <a16:creationId xmlns:a16="http://schemas.microsoft.com/office/drawing/2014/main" id="{38CB519E-DE0E-A476-95C0-C69732D5E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3461" y="5434213"/>
              <a:ext cx="19374" cy="13319"/>
            </a:xfrm>
            <a:custGeom>
              <a:avLst/>
              <a:gdLst>
                <a:gd name="T0" fmla="*/ 3 w 6"/>
                <a:gd name="T1" fmla="*/ 1 h 4"/>
                <a:gd name="T2" fmla="*/ 2 w 6"/>
                <a:gd name="T3" fmla="*/ 2 h 4"/>
                <a:gd name="T4" fmla="*/ 1 w 6"/>
                <a:gd name="T5" fmla="*/ 3 h 4"/>
                <a:gd name="T6" fmla="*/ 5 w 6"/>
                <a:gd name="T7" fmla="*/ 2 h 4"/>
                <a:gd name="T8" fmla="*/ 3 w 6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3" y="1"/>
                  </a:moveTo>
                  <a:cubicBezTo>
                    <a:pt x="3" y="0"/>
                    <a:pt x="2" y="1"/>
                    <a:pt x="2" y="2"/>
                  </a:cubicBezTo>
                  <a:cubicBezTo>
                    <a:pt x="1" y="2"/>
                    <a:pt x="0" y="4"/>
                    <a:pt x="1" y="3"/>
                  </a:cubicBezTo>
                  <a:cubicBezTo>
                    <a:pt x="2" y="3"/>
                    <a:pt x="6" y="3"/>
                    <a:pt x="5" y="2"/>
                  </a:cubicBezTo>
                  <a:cubicBezTo>
                    <a:pt x="4" y="2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80" name="Freeform 490">
              <a:extLst>
                <a:ext uri="{FF2B5EF4-FFF2-40B4-BE49-F238E27FC236}">
                  <a16:creationId xmlns:a16="http://schemas.microsoft.com/office/drawing/2014/main" id="{DAC515D3-78F5-B2B5-1932-31A9BF4FB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822" y="5424526"/>
              <a:ext cx="36326" cy="23006"/>
            </a:xfrm>
            <a:custGeom>
              <a:avLst/>
              <a:gdLst>
                <a:gd name="T0" fmla="*/ 10 w 11"/>
                <a:gd name="T1" fmla="*/ 1 h 7"/>
                <a:gd name="T2" fmla="*/ 7 w 11"/>
                <a:gd name="T3" fmla="*/ 1 h 7"/>
                <a:gd name="T4" fmla="*/ 6 w 11"/>
                <a:gd name="T5" fmla="*/ 0 h 7"/>
                <a:gd name="T6" fmla="*/ 4 w 11"/>
                <a:gd name="T7" fmla="*/ 1 h 7"/>
                <a:gd name="T8" fmla="*/ 4 w 11"/>
                <a:gd name="T9" fmla="*/ 2 h 7"/>
                <a:gd name="T10" fmla="*/ 5 w 11"/>
                <a:gd name="T11" fmla="*/ 3 h 7"/>
                <a:gd name="T12" fmla="*/ 3 w 11"/>
                <a:gd name="T13" fmla="*/ 3 h 7"/>
                <a:gd name="T14" fmla="*/ 4 w 11"/>
                <a:gd name="T15" fmla="*/ 5 h 7"/>
                <a:gd name="T16" fmla="*/ 1 w 11"/>
                <a:gd name="T17" fmla="*/ 5 h 7"/>
                <a:gd name="T18" fmla="*/ 1 w 11"/>
                <a:gd name="T19" fmla="*/ 6 h 7"/>
                <a:gd name="T20" fmla="*/ 3 w 11"/>
                <a:gd name="T21" fmla="*/ 7 h 7"/>
                <a:gd name="T22" fmla="*/ 7 w 11"/>
                <a:gd name="T23" fmla="*/ 5 h 7"/>
                <a:gd name="T24" fmla="*/ 10 w 11"/>
                <a:gd name="T2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7">
                  <a:moveTo>
                    <a:pt x="10" y="1"/>
                  </a:moveTo>
                  <a:cubicBezTo>
                    <a:pt x="8" y="2"/>
                    <a:pt x="7" y="2"/>
                    <a:pt x="7" y="1"/>
                  </a:cubicBezTo>
                  <a:cubicBezTo>
                    <a:pt x="6" y="1"/>
                    <a:pt x="7" y="0"/>
                    <a:pt x="6" y="0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4" y="2"/>
                  </a:cubicBezTo>
                  <a:cubicBezTo>
                    <a:pt x="5" y="2"/>
                    <a:pt x="6" y="3"/>
                    <a:pt x="5" y="3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4" y="4"/>
                    <a:pt x="5" y="4"/>
                    <a:pt x="4" y="5"/>
                  </a:cubicBezTo>
                  <a:cubicBezTo>
                    <a:pt x="2" y="5"/>
                    <a:pt x="2" y="6"/>
                    <a:pt x="1" y="5"/>
                  </a:cubicBezTo>
                  <a:cubicBezTo>
                    <a:pt x="1" y="4"/>
                    <a:pt x="0" y="4"/>
                    <a:pt x="1" y="6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5" y="7"/>
                    <a:pt x="6" y="6"/>
                    <a:pt x="7" y="5"/>
                  </a:cubicBezTo>
                  <a:cubicBezTo>
                    <a:pt x="8" y="4"/>
                    <a:pt x="11" y="0"/>
                    <a:pt x="10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81" name="Freeform 491">
              <a:extLst>
                <a:ext uri="{FF2B5EF4-FFF2-40B4-BE49-F238E27FC236}">
                  <a16:creationId xmlns:a16="http://schemas.microsoft.com/office/drawing/2014/main" id="{DD22A3E9-3EE0-F2DA-BE51-94F321817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025" y="5453586"/>
              <a:ext cx="46013" cy="19374"/>
            </a:xfrm>
            <a:custGeom>
              <a:avLst/>
              <a:gdLst>
                <a:gd name="T0" fmla="*/ 11 w 14"/>
                <a:gd name="T1" fmla="*/ 2 h 6"/>
                <a:gd name="T2" fmla="*/ 10 w 14"/>
                <a:gd name="T3" fmla="*/ 1 h 6"/>
                <a:gd name="T4" fmla="*/ 7 w 14"/>
                <a:gd name="T5" fmla="*/ 2 h 6"/>
                <a:gd name="T6" fmla="*/ 5 w 14"/>
                <a:gd name="T7" fmla="*/ 2 h 6"/>
                <a:gd name="T8" fmla="*/ 3 w 14"/>
                <a:gd name="T9" fmla="*/ 1 h 6"/>
                <a:gd name="T10" fmla="*/ 2 w 14"/>
                <a:gd name="T11" fmla="*/ 2 h 6"/>
                <a:gd name="T12" fmla="*/ 1 w 14"/>
                <a:gd name="T13" fmla="*/ 3 h 6"/>
                <a:gd name="T14" fmla="*/ 2 w 14"/>
                <a:gd name="T15" fmla="*/ 4 h 6"/>
                <a:gd name="T16" fmla="*/ 4 w 14"/>
                <a:gd name="T17" fmla="*/ 5 h 6"/>
                <a:gd name="T18" fmla="*/ 7 w 14"/>
                <a:gd name="T19" fmla="*/ 5 h 6"/>
                <a:gd name="T20" fmla="*/ 11 w 14"/>
                <a:gd name="T2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6">
                  <a:moveTo>
                    <a:pt x="11" y="2"/>
                  </a:moveTo>
                  <a:cubicBezTo>
                    <a:pt x="11" y="2"/>
                    <a:pt x="11" y="2"/>
                    <a:pt x="10" y="1"/>
                  </a:cubicBezTo>
                  <a:cubicBezTo>
                    <a:pt x="9" y="1"/>
                    <a:pt x="8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1"/>
                    <a:pt x="4" y="0"/>
                    <a:pt x="3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3"/>
                    <a:pt x="1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5" y="5"/>
                    <a:pt x="6" y="6"/>
                    <a:pt x="7" y="5"/>
                  </a:cubicBezTo>
                  <a:cubicBezTo>
                    <a:pt x="8" y="5"/>
                    <a:pt x="14" y="2"/>
                    <a:pt x="11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82" name="Freeform 496">
              <a:extLst>
                <a:ext uri="{FF2B5EF4-FFF2-40B4-BE49-F238E27FC236}">
                  <a16:creationId xmlns:a16="http://schemas.microsoft.com/office/drawing/2014/main" id="{FB8695CD-F169-8DD1-3935-BEEFF4263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964" y="5405153"/>
              <a:ext cx="26639" cy="23006"/>
            </a:xfrm>
            <a:custGeom>
              <a:avLst/>
              <a:gdLst>
                <a:gd name="T0" fmla="*/ 6 w 8"/>
                <a:gd name="T1" fmla="*/ 2 h 7"/>
                <a:gd name="T2" fmla="*/ 3 w 8"/>
                <a:gd name="T3" fmla="*/ 0 h 7"/>
                <a:gd name="T4" fmla="*/ 3 w 8"/>
                <a:gd name="T5" fmla="*/ 1 h 7"/>
                <a:gd name="T6" fmla="*/ 3 w 8"/>
                <a:gd name="T7" fmla="*/ 2 h 7"/>
                <a:gd name="T8" fmla="*/ 2 w 8"/>
                <a:gd name="T9" fmla="*/ 2 h 7"/>
                <a:gd name="T10" fmla="*/ 1 w 8"/>
                <a:gd name="T11" fmla="*/ 2 h 7"/>
                <a:gd name="T12" fmla="*/ 3 w 8"/>
                <a:gd name="T13" fmla="*/ 4 h 7"/>
                <a:gd name="T14" fmla="*/ 3 w 8"/>
                <a:gd name="T15" fmla="*/ 6 h 7"/>
                <a:gd name="T16" fmla="*/ 1 w 8"/>
                <a:gd name="T17" fmla="*/ 6 h 7"/>
                <a:gd name="T18" fmla="*/ 2 w 8"/>
                <a:gd name="T19" fmla="*/ 7 h 7"/>
                <a:gd name="T20" fmla="*/ 4 w 8"/>
                <a:gd name="T21" fmla="*/ 6 h 7"/>
                <a:gd name="T22" fmla="*/ 4 w 8"/>
                <a:gd name="T23" fmla="*/ 5 h 7"/>
                <a:gd name="T24" fmla="*/ 5 w 8"/>
                <a:gd name="T25" fmla="*/ 3 h 7"/>
                <a:gd name="T26" fmla="*/ 5 w 8"/>
                <a:gd name="T27" fmla="*/ 3 h 7"/>
                <a:gd name="T28" fmla="*/ 5 w 8"/>
                <a:gd name="T29" fmla="*/ 4 h 7"/>
                <a:gd name="T30" fmla="*/ 6 w 8"/>
                <a:gd name="T3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7">
                  <a:moveTo>
                    <a:pt x="6" y="2"/>
                  </a:moveTo>
                  <a:cubicBezTo>
                    <a:pt x="6" y="2"/>
                    <a:pt x="5" y="0"/>
                    <a:pt x="3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3"/>
                    <a:pt x="3" y="2"/>
                    <a:pt x="2" y="2"/>
                  </a:cubicBezTo>
                  <a:cubicBezTo>
                    <a:pt x="1" y="1"/>
                    <a:pt x="0" y="1"/>
                    <a:pt x="1" y="2"/>
                  </a:cubicBezTo>
                  <a:cubicBezTo>
                    <a:pt x="2" y="3"/>
                    <a:pt x="3" y="3"/>
                    <a:pt x="3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0" y="7"/>
                    <a:pt x="1" y="7"/>
                    <a:pt x="2" y="7"/>
                  </a:cubicBezTo>
                  <a:cubicBezTo>
                    <a:pt x="3" y="7"/>
                    <a:pt x="4" y="7"/>
                    <a:pt x="4" y="6"/>
                  </a:cubicBezTo>
                  <a:cubicBezTo>
                    <a:pt x="4" y="6"/>
                    <a:pt x="3" y="6"/>
                    <a:pt x="4" y="5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5" y="3"/>
                    <a:pt x="4" y="1"/>
                    <a:pt x="5" y="3"/>
                  </a:cubicBezTo>
                  <a:cubicBezTo>
                    <a:pt x="5" y="4"/>
                    <a:pt x="4" y="5"/>
                    <a:pt x="5" y="4"/>
                  </a:cubicBezTo>
                  <a:cubicBezTo>
                    <a:pt x="7" y="2"/>
                    <a:pt x="8" y="2"/>
                    <a:pt x="6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83" name="Freeform 497">
              <a:extLst>
                <a:ext uri="{FF2B5EF4-FFF2-40B4-BE49-F238E27FC236}">
                  <a16:creationId xmlns:a16="http://schemas.microsoft.com/office/drawing/2014/main" id="{9CB5667C-6326-4328-A00E-0417A7C15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2542" y="5362773"/>
              <a:ext cx="19374" cy="29060"/>
            </a:xfrm>
            <a:custGeom>
              <a:avLst/>
              <a:gdLst>
                <a:gd name="T0" fmla="*/ 6 w 6"/>
                <a:gd name="T1" fmla="*/ 6 h 9"/>
                <a:gd name="T2" fmla="*/ 5 w 6"/>
                <a:gd name="T3" fmla="*/ 4 h 9"/>
                <a:gd name="T4" fmla="*/ 5 w 6"/>
                <a:gd name="T5" fmla="*/ 2 h 9"/>
                <a:gd name="T6" fmla="*/ 3 w 6"/>
                <a:gd name="T7" fmla="*/ 1 h 9"/>
                <a:gd name="T8" fmla="*/ 3 w 6"/>
                <a:gd name="T9" fmla="*/ 2 h 9"/>
                <a:gd name="T10" fmla="*/ 2 w 6"/>
                <a:gd name="T11" fmla="*/ 5 h 9"/>
                <a:gd name="T12" fmla="*/ 1 w 6"/>
                <a:gd name="T13" fmla="*/ 6 h 9"/>
                <a:gd name="T14" fmla="*/ 1 w 6"/>
                <a:gd name="T15" fmla="*/ 8 h 9"/>
                <a:gd name="T16" fmla="*/ 3 w 6"/>
                <a:gd name="T17" fmla="*/ 6 h 9"/>
                <a:gd name="T18" fmla="*/ 4 w 6"/>
                <a:gd name="T19" fmla="*/ 9 h 9"/>
                <a:gd name="T20" fmla="*/ 6 w 6"/>
                <a:gd name="T2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9">
                  <a:moveTo>
                    <a:pt x="6" y="6"/>
                  </a:moveTo>
                  <a:cubicBezTo>
                    <a:pt x="6" y="5"/>
                    <a:pt x="5" y="5"/>
                    <a:pt x="5" y="4"/>
                  </a:cubicBezTo>
                  <a:cubicBezTo>
                    <a:pt x="5" y="3"/>
                    <a:pt x="6" y="2"/>
                    <a:pt x="5" y="2"/>
                  </a:cubicBezTo>
                  <a:cubicBezTo>
                    <a:pt x="5" y="2"/>
                    <a:pt x="4" y="1"/>
                    <a:pt x="3" y="1"/>
                  </a:cubicBezTo>
                  <a:cubicBezTo>
                    <a:pt x="2" y="0"/>
                    <a:pt x="3" y="1"/>
                    <a:pt x="3" y="2"/>
                  </a:cubicBezTo>
                  <a:cubicBezTo>
                    <a:pt x="3" y="4"/>
                    <a:pt x="3" y="5"/>
                    <a:pt x="2" y="5"/>
                  </a:cubicBezTo>
                  <a:cubicBezTo>
                    <a:pt x="1" y="5"/>
                    <a:pt x="0" y="5"/>
                    <a:pt x="1" y="6"/>
                  </a:cubicBezTo>
                  <a:cubicBezTo>
                    <a:pt x="1" y="7"/>
                    <a:pt x="0" y="9"/>
                    <a:pt x="1" y="8"/>
                  </a:cubicBezTo>
                  <a:cubicBezTo>
                    <a:pt x="2" y="7"/>
                    <a:pt x="3" y="5"/>
                    <a:pt x="3" y="6"/>
                  </a:cubicBezTo>
                  <a:cubicBezTo>
                    <a:pt x="3" y="7"/>
                    <a:pt x="2" y="9"/>
                    <a:pt x="4" y="9"/>
                  </a:cubicBezTo>
                  <a:cubicBezTo>
                    <a:pt x="5" y="9"/>
                    <a:pt x="6" y="7"/>
                    <a:pt x="6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84" name="Freeform 498">
              <a:extLst>
                <a:ext uri="{FF2B5EF4-FFF2-40B4-BE49-F238E27FC236}">
                  <a16:creationId xmlns:a16="http://schemas.microsoft.com/office/drawing/2014/main" id="{6331F00E-CFCA-0DBD-452B-443DADCE3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910" y="5391833"/>
              <a:ext cx="9687" cy="19374"/>
            </a:xfrm>
            <a:custGeom>
              <a:avLst/>
              <a:gdLst>
                <a:gd name="T0" fmla="*/ 3 w 3"/>
                <a:gd name="T1" fmla="*/ 2 h 6"/>
                <a:gd name="T2" fmla="*/ 2 w 3"/>
                <a:gd name="T3" fmla="*/ 1 h 6"/>
                <a:gd name="T4" fmla="*/ 1 w 3"/>
                <a:gd name="T5" fmla="*/ 6 h 6"/>
                <a:gd name="T6" fmla="*/ 3 w 3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6">
                  <a:moveTo>
                    <a:pt x="3" y="2"/>
                  </a:moveTo>
                  <a:cubicBezTo>
                    <a:pt x="3" y="1"/>
                    <a:pt x="3" y="0"/>
                    <a:pt x="2" y="1"/>
                  </a:cubicBezTo>
                  <a:cubicBezTo>
                    <a:pt x="1" y="2"/>
                    <a:pt x="0" y="6"/>
                    <a:pt x="1" y="6"/>
                  </a:cubicBezTo>
                  <a:cubicBezTo>
                    <a:pt x="2" y="5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85" name="Freeform 499">
              <a:extLst>
                <a:ext uri="{FF2B5EF4-FFF2-40B4-BE49-F238E27FC236}">
                  <a16:creationId xmlns:a16="http://schemas.microsoft.com/office/drawing/2014/main" id="{99EA8FE8-97B6-CBDA-7D3C-01BF24706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910" y="5343399"/>
              <a:ext cx="19374" cy="26639"/>
            </a:xfrm>
            <a:custGeom>
              <a:avLst/>
              <a:gdLst>
                <a:gd name="T0" fmla="*/ 4 w 6"/>
                <a:gd name="T1" fmla="*/ 2 h 8"/>
                <a:gd name="T2" fmla="*/ 4 w 6"/>
                <a:gd name="T3" fmla="*/ 0 h 8"/>
                <a:gd name="T4" fmla="*/ 3 w 6"/>
                <a:gd name="T5" fmla="*/ 3 h 8"/>
                <a:gd name="T6" fmla="*/ 2 w 6"/>
                <a:gd name="T7" fmla="*/ 3 h 8"/>
                <a:gd name="T8" fmla="*/ 2 w 6"/>
                <a:gd name="T9" fmla="*/ 2 h 8"/>
                <a:gd name="T10" fmla="*/ 1 w 6"/>
                <a:gd name="T11" fmla="*/ 4 h 8"/>
                <a:gd name="T12" fmla="*/ 1 w 6"/>
                <a:gd name="T13" fmla="*/ 6 h 8"/>
                <a:gd name="T14" fmla="*/ 2 w 6"/>
                <a:gd name="T15" fmla="*/ 6 h 8"/>
                <a:gd name="T16" fmla="*/ 2 w 6"/>
                <a:gd name="T17" fmla="*/ 7 h 8"/>
                <a:gd name="T18" fmla="*/ 5 w 6"/>
                <a:gd name="T19" fmla="*/ 6 h 8"/>
                <a:gd name="T20" fmla="*/ 6 w 6"/>
                <a:gd name="T21" fmla="*/ 4 h 8"/>
                <a:gd name="T22" fmla="*/ 4 w 6"/>
                <a:gd name="T2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8">
                  <a:moveTo>
                    <a:pt x="4" y="2"/>
                  </a:moveTo>
                  <a:cubicBezTo>
                    <a:pt x="3" y="4"/>
                    <a:pt x="4" y="0"/>
                    <a:pt x="4" y="0"/>
                  </a:cubicBezTo>
                  <a:cubicBezTo>
                    <a:pt x="3" y="1"/>
                    <a:pt x="4" y="2"/>
                    <a:pt x="3" y="3"/>
                  </a:cubicBezTo>
                  <a:cubicBezTo>
                    <a:pt x="3" y="4"/>
                    <a:pt x="3" y="4"/>
                    <a:pt x="2" y="3"/>
                  </a:cubicBezTo>
                  <a:cubicBezTo>
                    <a:pt x="2" y="2"/>
                    <a:pt x="2" y="1"/>
                    <a:pt x="2" y="2"/>
                  </a:cubicBezTo>
                  <a:cubicBezTo>
                    <a:pt x="2" y="3"/>
                    <a:pt x="2" y="3"/>
                    <a:pt x="1" y="4"/>
                  </a:cubicBezTo>
                  <a:cubicBezTo>
                    <a:pt x="0" y="5"/>
                    <a:pt x="0" y="6"/>
                    <a:pt x="1" y="6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7"/>
                    <a:pt x="1" y="8"/>
                    <a:pt x="2" y="7"/>
                  </a:cubicBezTo>
                  <a:cubicBezTo>
                    <a:pt x="4" y="6"/>
                    <a:pt x="5" y="7"/>
                    <a:pt x="5" y="6"/>
                  </a:cubicBezTo>
                  <a:cubicBezTo>
                    <a:pt x="6" y="5"/>
                    <a:pt x="6" y="5"/>
                    <a:pt x="6" y="4"/>
                  </a:cubicBezTo>
                  <a:cubicBezTo>
                    <a:pt x="6" y="4"/>
                    <a:pt x="5" y="2"/>
                    <a:pt x="4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86" name="Freeform 500">
              <a:extLst>
                <a:ext uri="{FF2B5EF4-FFF2-40B4-BE49-F238E27FC236}">
                  <a16:creationId xmlns:a16="http://schemas.microsoft.com/office/drawing/2014/main" id="{F9138B19-FC0A-C113-6C3A-D401D812E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651" y="5269538"/>
              <a:ext cx="19374" cy="19374"/>
            </a:xfrm>
            <a:custGeom>
              <a:avLst/>
              <a:gdLst>
                <a:gd name="T0" fmla="*/ 4 w 6"/>
                <a:gd name="T1" fmla="*/ 5 h 6"/>
                <a:gd name="T2" fmla="*/ 5 w 6"/>
                <a:gd name="T3" fmla="*/ 3 h 6"/>
                <a:gd name="T4" fmla="*/ 3 w 6"/>
                <a:gd name="T5" fmla="*/ 2 h 6"/>
                <a:gd name="T6" fmla="*/ 3 w 6"/>
                <a:gd name="T7" fmla="*/ 1 h 6"/>
                <a:gd name="T8" fmla="*/ 1 w 6"/>
                <a:gd name="T9" fmla="*/ 1 h 6"/>
                <a:gd name="T10" fmla="*/ 3 w 6"/>
                <a:gd name="T11" fmla="*/ 2 h 6"/>
                <a:gd name="T12" fmla="*/ 4 w 6"/>
                <a:gd name="T13" fmla="*/ 4 h 6"/>
                <a:gd name="T14" fmla="*/ 4 w 6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4" y="5"/>
                  </a:moveTo>
                  <a:cubicBezTo>
                    <a:pt x="5" y="5"/>
                    <a:pt x="6" y="4"/>
                    <a:pt x="5" y="3"/>
                  </a:cubicBezTo>
                  <a:cubicBezTo>
                    <a:pt x="5" y="3"/>
                    <a:pt x="3" y="3"/>
                    <a:pt x="3" y="2"/>
                  </a:cubicBezTo>
                  <a:cubicBezTo>
                    <a:pt x="3" y="1"/>
                    <a:pt x="4" y="1"/>
                    <a:pt x="3" y="1"/>
                  </a:cubicBezTo>
                  <a:cubicBezTo>
                    <a:pt x="3" y="1"/>
                    <a:pt x="0" y="0"/>
                    <a:pt x="1" y="1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3"/>
                    <a:pt x="4" y="3"/>
                    <a:pt x="4" y="4"/>
                  </a:cubicBezTo>
                  <a:cubicBezTo>
                    <a:pt x="4" y="5"/>
                    <a:pt x="3" y="6"/>
                    <a:pt x="4" y="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87" name="Freeform 501">
              <a:extLst>
                <a:ext uri="{FF2B5EF4-FFF2-40B4-BE49-F238E27FC236}">
                  <a16:creationId xmlns:a16="http://schemas.microsoft.com/office/drawing/2014/main" id="{8A15F8BF-2060-CFC0-F1D8-17ABF0AC8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283" y="5211417"/>
              <a:ext cx="19374" cy="35115"/>
            </a:xfrm>
            <a:custGeom>
              <a:avLst/>
              <a:gdLst>
                <a:gd name="T0" fmla="*/ 4 w 6"/>
                <a:gd name="T1" fmla="*/ 10 h 11"/>
                <a:gd name="T2" fmla="*/ 1 w 6"/>
                <a:gd name="T3" fmla="*/ 10 h 11"/>
                <a:gd name="T4" fmla="*/ 2 w 6"/>
                <a:gd name="T5" fmla="*/ 1 h 11"/>
                <a:gd name="T6" fmla="*/ 4 w 6"/>
                <a:gd name="T7" fmla="*/ 0 h 11"/>
                <a:gd name="T8" fmla="*/ 6 w 6"/>
                <a:gd name="T9" fmla="*/ 1 h 11"/>
                <a:gd name="T10" fmla="*/ 5 w 6"/>
                <a:gd name="T11" fmla="*/ 4 h 11"/>
                <a:gd name="T12" fmla="*/ 6 w 6"/>
                <a:gd name="T13" fmla="*/ 7 h 11"/>
                <a:gd name="T14" fmla="*/ 4 w 6"/>
                <a:gd name="T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1">
                  <a:moveTo>
                    <a:pt x="4" y="10"/>
                  </a:moveTo>
                  <a:cubicBezTo>
                    <a:pt x="3" y="10"/>
                    <a:pt x="0" y="11"/>
                    <a:pt x="1" y="10"/>
                  </a:cubicBezTo>
                  <a:cubicBezTo>
                    <a:pt x="1" y="8"/>
                    <a:pt x="2" y="2"/>
                    <a:pt x="2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6" y="2"/>
                    <a:pt x="5" y="3"/>
                    <a:pt x="5" y="4"/>
                  </a:cubicBezTo>
                  <a:cubicBezTo>
                    <a:pt x="5" y="5"/>
                    <a:pt x="6" y="7"/>
                    <a:pt x="6" y="7"/>
                  </a:cubicBezTo>
                  <a:cubicBezTo>
                    <a:pt x="6" y="7"/>
                    <a:pt x="5" y="9"/>
                    <a:pt x="4" y="1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88" name="Freeform 502">
              <a:extLst>
                <a:ext uri="{FF2B5EF4-FFF2-40B4-BE49-F238E27FC236}">
                  <a16:creationId xmlns:a16="http://schemas.microsoft.com/office/drawing/2014/main" id="{C602B97C-ED07-BDE7-8E97-E6E658BB1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778" y="4190674"/>
              <a:ext cx="13319" cy="13319"/>
            </a:xfrm>
            <a:custGeom>
              <a:avLst/>
              <a:gdLst>
                <a:gd name="T0" fmla="*/ 3 w 4"/>
                <a:gd name="T1" fmla="*/ 2 h 4"/>
                <a:gd name="T2" fmla="*/ 0 w 4"/>
                <a:gd name="T3" fmla="*/ 2 h 4"/>
                <a:gd name="T4" fmla="*/ 0 w 4"/>
                <a:gd name="T5" fmla="*/ 0 h 4"/>
                <a:gd name="T6" fmla="*/ 3 w 4"/>
                <a:gd name="T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2"/>
                  </a:moveTo>
                  <a:cubicBezTo>
                    <a:pt x="1" y="3"/>
                    <a:pt x="0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89" name="Freeform 503">
              <a:extLst>
                <a:ext uri="{FF2B5EF4-FFF2-40B4-BE49-F238E27FC236}">
                  <a16:creationId xmlns:a16="http://schemas.microsoft.com/office/drawing/2014/main" id="{C8ED2662-62FC-D194-DDCF-F2D3DE4A8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135" y="4213680"/>
              <a:ext cx="19374" cy="19374"/>
            </a:xfrm>
            <a:custGeom>
              <a:avLst/>
              <a:gdLst>
                <a:gd name="T0" fmla="*/ 1 w 6"/>
                <a:gd name="T1" fmla="*/ 4 h 6"/>
                <a:gd name="T2" fmla="*/ 3 w 6"/>
                <a:gd name="T3" fmla="*/ 3 h 6"/>
                <a:gd name="T4" fmla="*/ 4 w 6"/>
                <a:gd name="T5" fmla="*/ 1 h 6"/>
                <a:gd name="T6" fmla="*/ 4 w 6"/>
                <a:gd name="T7" fmla="*/ 5 h 6"/>
                <a:gd name="T8" fmla="*/ 1 w 6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1" y="4"/>
                  </a:moveTo>
                  <a:cubicBezTo>
                    <a:pt x="0" y="3"/>
                    <a:pt x="3" y="4"/>
                    <a:pt x="3" y="3"/>
                  </a:cubicBezTo>
                  <a:cubicBezTo>
                    <a:pt x="3" y="2"/>
                    <a:pt x="3" y="0"/>
                    <a:pt x="4" y="1"/>
                  </a:cubicBezTo>
                  <a:cubicBezTo>
                    <a:pt x="5" y="1"/>
                    <a:pt x="6" y="5"/>
                    <a:pt x="4" y="5"/>
                  </a:cubicBezTo>
                  <a:cubicBezTo>
                    <a:pt x="3" y="6"/>
                    <a:pt x="2" y="6"/>
                    <a:pt x="1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90" name="Freeform 504">
              <a:extLst>
                <a:ext uri="{FF2B5EF4-FFF2-40B4-BE49-F238E27FC236}">
                  <a16:creationId xmlns:a16="http://schemas.microsoft.com/office/drawing/2014/main" id="{795BA2F5-A50E-DF17-7976-005485AA6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8137" y="4404994"/>
              <a:ext cx="48434" cy="44801"/>
            </a:xfrm>
            <a:custGeom>
              <a:avLst/>
              <a:gdLst>
                <a:gd name="T0" fmla="*/ 13 w 15"/>
                <a:gd name="T1" fmla="*/ 5 h 14"/>
                <a:gd name="T2" fmla="*/ 9 w 15"/>
                <a:gd name="T3" fmla="*/ 2 h 14"/>
                <a:gd name="T4" fmla="*/ 6 w 15"/>
                <a:gd name="T5" fmla="*/ 1 h 14"/>
                <a:gd name="T6" fmla="*/ 3 w 15"/>
                <a:gd name="T7" fmla="*/ 0 h 14"/>
                <a:gd name="T8" fmla="*/ 1 w 15"/>
                <a:gd name="T9" fmla="*/ 2 h 14"/>
                <a:gd name="T10" fmla="*/ 0 w 15"/>
                <a:gd name="T11" fmla="*/ 4 h 14"/>
                <a:gd name="T12" fmla="*/ 1 w 15"/>
                <a:gd name="T13" fmla="*/ 5 h 14"/>
                <a:gd name="T14" fmla="*/ 0 w 15"/>
                <a:gd name="T15" fmla="*/ 8 h 14"/>
                <a:gd name="T16" fmla="*/ 1 w 15"/>
                <a:gd name="T17" fmla="*/ 11 h 14"/>
                <a:gd name="T18" fmla="*/ 2 w 15"/>
                <a:gd name="T19" fmla="*/ 12 h 14"/>
                <a:gd name="T20" fmla="*/ 5 w 15"/>
                <a:gd name="T21" fmla="*/ 11 h 14"/>
                <a:gd name="T22" fmla="*/ 6 w 15"/>
                <a:gd name="T23" fmla="*/ 13 h 14"/>
                <a:gd name="T24" fmla="*/ 8 w 15"/>
                <a:gd name="T25" fmla="*/ 13 h 14"/>
                <a:gd name="T26" fmla="*/ 10 w 15"/>
                <a:gd name="T27" fmla="*/ 11 h 14"/>
                <a:gd name="T28" fmla="*/ 13 w 15"/>
                <a:gd name="T2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14">
                  <a:moveTo>
                    <a:pt x="13" y="5"/>
                  </a:moveTo>
                  <a:cubicBezTo>
                    <a:pt x="12" y="2"/>
                    <a:pt x="10" y="3"/>
                    <a:pt x="9" y="2"/>
                  </a:cubicBezTo>
                  <a:cubicBezTo>
                    <a:pt x="7" y="2"/>
                    <a:pt x="7" y="1"/>
                    <a:pt x="6" y="1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1"/>
                    <a:pt x="2" y="1"/>
                    <a:pt x="1" y="2"/>
                  </a:cubicBezTo>
                  <a:cubicBezTo>
                    <a:pt x="1" y="2"/>
                    <a:pt x="0" y="4"/>
                    <a:pt x="0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0" y="5"/>
                    <a:pt x="0" y="7"/>
                    <a:pt x="0" y="8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1" y="11"/>
                    <a:pt x="2" y="12"/>
                    <a:pt x="2" y="12"/>
                  </a:cubicBezTo>
                  <a:cubicBezTo>
                    <a:pt x="3" y="11"/>
                    <a:pt x="4" y="11"/>
                    <a:pt x="5" y="11"/>
                  </a:cubicBezTo>
                  <a:cubicBezTo>
                    <a:pt x="5" y="12"/>
                    <a:pt x="5" y="13"/>
                    <a:pt x="6" y="13"/>
                  </a:cubicBezTo>
                  <a:cubicBezTo>
                    <a:pt x="7" y="13"/>
                    <a:pt x="7" y="14"/>
                    <a:pt x="8" y="13"/>
                  </a:cubicBezTo>
                  <a:cubicBezTo>
                    <a:pt x="9" y="12"/>
                    <a:pt x="8" y="12"/>
                    <a:pt x="10" y="11"/>
                  </a:cubicBezTo>
                  <a:cubicBezTo>
                    <a:pt x="11" y="10"/>
                    <a:pt x="15" y="9"/>
                    <a:pt x="13" y="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80" name="Freeform 595">
              <a:extLst>
                <a:ext uri="{FF2B5EF4-FFF2-40B4-BE49-F238E27FC236}">
                  <a16:creationId xmlns:a16="http://schemas.microsoft.com/office/drawing/2014/main" id="{D1E8CC74-5B4B-32D7-AB3E-8EFB1B09E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5444" y="4940878"/>
              <a:ext cx="38747" cy="35115"/>
            </a:xfrm>
            <a:custGeom>
              <a:avLst/>
              <a:gdLst>
                <a:gd name="T0" fmla="*/ 5 w 12"/>
                <a:gd name="T1" fmla="*/ 6 h 11"/>
                <a:gd name="T2" fmla="*/ 2 w 12"/>
                <a:gd name="T3" fmla="*/ 11 h 11"/>
                <a:gd name="T4" fmla="*/ 8 w 12"/>
                <a:gd name="T5" fmla="*/ 6 h 11"/>
                <a:gd name="T6" fmla="*/ 10 w 12"/>
                <a:gd name="T7" fmla="*/ 1 h 11"/>
                <a:gd name="T8" fmla="*/ 5 w 12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5" y="6"/>
                  </a:moveTo>
                  <a:cubicBezTo>
                    <a:pt x="6" y="7"/>
                    <a:pt x="0" y="11"/>
                    <a:pt x="2" y="11"/>
                  </a:cubicBezTo>
                  <a:cubicBezTo>
                    <a:pt x="4" y="11"/>
                    <a:pt x="7" y="6"/>
                    <a:pt x="8" y="6"/>
                  </a:cubicBezTo>
                  <a:cubicBezTo>
                    <a:pt x="9" y="5"/>
                    <a:pt x="12" y="2"/>
                    <a:pt x="10" y="1"/>
                  </a:cubicBezTo>
                  <a:cubicBezTo>
                    <a:pt x="10" y="0"/>
                    <a:pt x="5" y="5"/>
                    <a:pt x="5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82" name="Freeform 597">
              <a:extLst>
                <a:ext uri="{FF2B5EF4-FFF2-40B4-BE49-F238E27FC236}">
                  <a16:creationId xmlns:a16="http://schemas.microsoft.com/office/drawing/2014/main" id="{4A9676EE-F361-697B-B7A8-F7C4CEC18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206" y="5432482"/>
              <a:ext cx="71440" cy="59331"/>
            </a:xfrm>
            <a:custGeom>
              <a:avLst/>
              <a:gdLst>
                <a:gd name="T0" fmla="*/ 19 w 22"/>
                <a:gd name="T1" fmla="*/ 15 h 18"/>
                <a:gd name="T2" fmla="*/ 12 w 22"/>
                <a:gd name="T3" fmla="*/ 12 h 18"/>
                <a:gd name="T4" fmla="*/ 3 w 22"/>
                <a:gd name="T5" fmla="*/ 4 h 18"/>
                <a:gd name="T6" fmla="*/ 1 w 22"/>
                <a:gd name="T7" fmla="*/ 3 h 18"/>
                <a:gd name="T8" fmla="*/ 2 w 22"/>
                <a:gd name="T9" fmla="*/ 2 h 18"/>
                <a:gd name="T10" fmla="*/ 0 w 22"/>
                <a:gd name="T11" fmla="*/ 0 h 18"/>
                <a:gd name="T12" fmla="*/ 0 w 22"/>
                <a:gd name="T13" fmla="*/ 16 h 18"/>
                <a:gd name="T14" fmla="*/ 8 w 22"/>
                <a:gd name="T15" fmla="*/ 16 h 18"/>
                <a:gd name="T16" fmla="*/ 12 w 22"/>
                <a:gd name="T17" fmla="*/ 18 h 18"/>
                <a:gd name="T18" fmla="*/ 16 w 22"/>
                <a:gd name="T19" fmla="*/ 17 h 18"/>
                <a:gd name="T20" fmla="*/ 19 w 22"/>
                <a:gd name="T21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18">
                  <a:moveTo>
                    <a:pt x="19" y="15"/>
                  </a:moveTo>
                  <a:cubicBezTo>
                    <a:pt x="16" y="15"/>
                    <a:pt x="15" y="14"/>
                    <a:pt x="12" y="12"/>
                  </a:cubicBezTo>
                  <a:cubicBezTo>
                    <a:pt x="8" y="9"/>
                    <a:pt x="5" y="5"/>
                    <a:pt x="3" y="4"/>
                  </a:cubicBezTo>
                  <a:cubicBezTo>
                    <a:pt x="2" y="4"/>
                    <a:pt x="0" y="4"/>
                    <a:pt x="1" y="3"/>
                  </a:cubicBezTo>
                  <a:cubicBezTo>
                    <a:pt x="2" y="2"/>
                    <a:pt x="3" y="2"/>
                    <a:pt x="2" y="2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7" y="16"/>
                    <a:pt x="8" y="16"/>
                  </a:cubicBezTo>
                  <a:cubicBezTo>
                    <a:pt x="9" y="16"/>
                    <a:pt x="11" y="17"/>
                    <a:pt x="12" y="18"/>
                  </a:cubicBezTo>
                  <a:cubicBezTo>
                    <a:pt x="13" y="17"/>
                    <a:pt x="15" y="16"/>
                    <a:pt x="16" y="17"/>
                  </a:cubicBezTo>
                  <a:cubicBezTo>
                    <a:pt x="17" y="17"/>
                    <a:pt x="22" y="15"/>
                    <a:pt x="19" y="1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83" name="Freeform 598">
              <a:extLst>
                <a:ext uri="{FF2B5EF4-FFF2-40B4-BE49-F238E27FC236}">
                  <a16:creationId xmlns:a16="http://schemas.microsoft.com/office/drawing/2014/main" id="{C31177E2-AE16-B7C2-F977-25D7EE25F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976" y="5426428"/>
              <a:ext cx="108977" cy="84759"/>
            </a:xfrm>
            <a:custGeom>
              <a:avLst/>
              <a:gdLst>
                <a:gd name="T0" fmla="*/ 22 w 34"/>
                <a:gd name="T1" fmla="*/ 18 h 26"/>
                <a:gd name="T2" fmla="*/ 22 w 34"/>
                <a:gd name="T3" fmla="*/ 2 h 26"/>
                <a:gd name="T4" fmla="*/ 20 w 34"/>
                <a:gd name="T5" fmla="*/ 1 h 26"/>
                <a:gd name="T6" fmla="*/ 18 w 34"/>
                <a:gd name="T7" fmla="*/ 0 h 26"/>
                <a:gd name="T8" fmla="*/ 16 w 34"/>
                <a:gd name="T9" fmla="*/ 2 h 26"/>
                <a:gd name="T10" fmla="*/ 14 w 34"/>
                <a:gd name="T11" fmla="*/ 2 h 26"/>
                <a:gd name="T12" fmla="*/ 14 w 34"/>
                <a:gd name="T13" fmla="*/ 4 h 26"/>
                <a:gd name="T14" fmla="*/ 13 w 34"/>
                <a:gd name="T15" fmla="*/ 7 h 26"/>
                <a:gd name="T16" fmla="*/ 14 w 34"/>
                <a:gd name="T17" fmla="*/ 7 h 26"/>
                <a:gd name="T18" fmla="*/ 18 w 34"/>
                <a:gd name="T19" fmla="*/ 6 h 26"/>
                <a:gd name="T20" fmla="*/ 16 w 34"/>
                <a:gd name="T21" fmla="*/ 8 h 26"/>
                <a:gd name="T22" fmla="*/ 14 w 34"/>
                <a:gd name="T23" fmla="*/ 11 h 26"/>
                <a:gd name="T24" fmla="*/ 17 w 34"/>
                <a:gd name="T25" fmla="*/ 13 h 26"/>
                <a:gd name="T26" fmla="*/ 18 w 34"/>
                <a:gd name="T27" fmla="*/ 14 h 26"/>
                <a:gd name="T28" fmla="*/ 14 w 34"/>
                <a:gd name="T29" fmla="*/ 14 h 26"/>
                <a:gd name="T30" fmla="*/ 12 w 34"/>
                <a:gd name="T31" fmla="*/ 14 h 26"/>
                <a:gd name="T32" fmla="*/ 11 w 34"/>
                <a:gd name="T33" fmla="*/ 13 h 26"/>
                <a:gd name="T34" fmla="*/ 12 w 34"/>
                <a:gd name="T35" fmla="*/ 12 h 26"/>
                <a:gd name="T36" fmla="*/ 12 w 34"/>
                <a:gd name="T37" fmla="*/ 10 h 26"/>
                <a:gd name="T38" fmla="*/ 11 w 34"/>
                <a:gd name="T39" fmla="*/ 10 h 26"/>
                <a:gd name="T40" fmla="*/ 10 w 34"/>
                <a:gd name="T41" fmla="*/ 12 h 26"/>
                <a:gd name="T42" fmla="*/ 8 w 34"/>
                <a:gd name="T43" fmla="*/ 12 h 26"/>
                <a:gd name="T44" fmla="*/ 7 w 34"/>
                <a:gd name="T45" fmla="*/ 12 h 26"/>
                <a:gd name="T46" fmla="*/ 4 w 34"/>
                <a:gd name="T47" fmla="*/ 11 h 26"/>
                <a:gd name="T48" fmla="*/ 1 w 34"/>
                <a:gd name="T49" fmla="*/ 13 h 26"/>
                <a:gd name="T50" fmla="*/ 4 w 34"/>
                <a:gd name="T51" fmla="*/ 12 h 26"/>
                <a:gd name="T52" fmla="*/ 5 w 34"/>
                <a:gd name="T53" fmla="*/ 13 h 26"/>
                <a:gd name="T54" fmla="*/ 7 w 34"/>
                <a:gd name="T55" fmla="*/ 13 h 26"/>
                <a:gd name="T56" fmla="*/ 8 w 34"/>
                <a:gd name="T57" fmla="*/ 14 h 26"/>
                <a:gd name="T58" fmla="*/ 5 w 34"/>
                <a:gd name="T59" fmla="*/ 15 h 26"/>
                <a:gd name="T60" fmla="*/ 6 w 34"/>
                <a:gd name="T61" fmla="*/ 16 h 26"/>
                <a:gd name="T62" fmla="*/ 9 w 34"/>
                <a:gd name="T63" fmla="*/ 16 h 26"/>
                <a:gd name="T64" fmla="*/ 10 w 34"/>
                <a:gd name="T65" fmla="*/ 17 h 26"/>
                <a:gd name="T66" fmla="*/ 10 w 34"/>
                <a:gd name="T67" fmla="*/ 18 h 26"/>
                <a:gd name="T68" fmla="*/ 13 w 34"/>
                <a:gd name="T69" fmla="*/ 18 h 26"/>
                <a:gd name="T70" fmla="*/ 14 w 34"/>
                <a:gd name="T71" fmla="*/ 18 h 26"/>
                <a:gd name="T72" fmla="*/ 16 w 34"/>
                <a:gd name="T73" fmla="*/ 21 h 26"/>
                <a:gd name="T74" fmla="*/ 20 w 34"/>
                <a:gd name="T75" fmla="*/ 23 h 26"/>
                <a:gd name="T76" fmla="*/ 19 w 34"/>
                <a:gd name="T77" fmla="*/ 21 h 26"/>
                <a:gd name="T78" fmla="*/ 26 w 34"/>
                <a:gd name="T79" fmla="*/ 24 h 26"/>
                <a:gd name="T80" fmla="*/ 23 w 34"/>
                <a:gd name="T81" fmla="*/ 19 h 26"/>
                <a:gd name="T82" fmla="*/ 30 w 34"/>
                <a:gd name="T83" fmla="*/ 20 h 26"/>
                <a:gd name="T84" fmla="*/ 34 w 34"/>
                <a:gd name="T85" fmla="*/ 20 h 26"/>
                <a:gd name="T86" fmla="*/ 34 w 34"/>
                <a:gd name="T87" fmla="*/ 20 h 26"/>
                <a:gd name="T88" fmla="*/ 30 w 34"/>
                <a:gd name="T89" fmla="*/ 18 h 26"/>
                <a:gd name="T90" fmla="*/ 22 w 34"/>
                <a:gd name="T91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" h="26">
                  <a:moveTo>
                    <a:pt x="22" y="18"/>
                  </a:move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1" y="1"/>
                    <a:pt x="20" y="1"/>
                  </a:cubicBezTo>
                  <a:cubicBezTo>
                    <a:pt x="18" y="1"/>
                    <a:pt x="19" y="0"/>
                    <a:pt x="18" y="0"/>
                  </a:cubicBezTo>
                  <a:cubicBezTo>
                    <a:pt x="17" y="1"/>
                    <a:pt x="17" y="2"/>
                    <a:pt x="16" y="2"/>
                  </a:cubicBezTo>
                  <a:cubicBezTo>
                    <a:pt x="14" y="2"/>
                    <a:pt x="14" y="1"/>
                    <a:pt x="14" y="2"/>
                  </a:cubicBezTo>
                  <a:cubicBezTo>
                    <a:pt x="14" y="2"/>
                    <a:pt x="14" y="3"/>
                    <a:pt x="14" y="4"/>
                  </a:cubicBezTo>
                  <a:cubicBezTo>
                    <a:pt x="13" y="5"/>
                    <a:pt x="13" y="6"/>
                    <a:pt x="13" y="7"/>
                  </a:cubicBezTo>
                  <a:cubicBezTo>
                    <a:pt x="13" y="7"/>
                    <a:pt x="13" y="8"/>
                    <a:pt x="14" y="7"/>
                  </a:cubicBezTo>
                  <a:cubicBezTo>
                    <a:pt x="15" y="6"/>
                    <a:pt x="18" y="6"/>
                    <a:pt x="18" y="6"/>
                  </a:cubicBezTo>
                  <a:cubicBezTo>
                    <a:pt x="18" y="7"/>
                    <a:pt x="17" y="8"/>
                    <a:pt x="16" y="8"/>
                  </a:cubicBezTo>
                  <a:cubicBezTo>
                    <a:pt x="15" y="9"/>
                    <a:pt x="14" y="10"/>
                    <a:pt x="14" y="11"/>
                  </a:cubicBezTo>
                  <a:cubicBezTo>
                    <a:pt x="14" y="12"/>
                    <a:pt x="16" y="12"/>
                    <a:pt x="17" y="13"/>
                  </a:cubicBezTo>
                  <a:cubicBezTo>
                    <a:pt x="18" y="14"/>
                    <a:pt x="20" y="14"/>
                    <a:pt x="18" y="14"/>
                  </a:cubicBezTo>
                  <a:cubicBezTo>
                    <a:pt x="17" y="14"/>
                    <a:pt x="15" y="13"/>
                    <a:pt x="14" y="14"/>
                  </a:cubicBezTo>
                  <a:cubicBezTo>
                    <a:pt x="13" y="14"/>
                    <a:pt x="13" y="14"/>
                    <a:pt x="12" y="14"/>
                  </a:cubicBezTo>
                  <a:cubicBezTo>
                    <a:pt x="11" y="13"/>
                    <a:pt x="10" y="13"/>
                    <a:pt x="11" y="13"/>
                  </a:cubicBezTo>
                  <a:cubicBezTo>
                    <a:pt x="13" y="13"/>
                    <a:pt x="12" y="12"/>
                    <a:pt x="12" y="12"/>
                  </a:cubicBezTo>
                  <a:cubicBezTo>
                    <a:pt x="12" y="11"/>
                    <a:pt x="12" y="10"/>
                    <a:pt x="12" y="10"/>
                  </a:cubicBezTo>
                  <a:cubicBezTo>
                    <a:pt x="12" y="9"/>
                    <a:pt x="12" y="10"/>
                    <a:pt x="11" y="10"/>
                  </a:cubicBezTo>
                  <a:cubicBezTo>
                    <a:pt x="10" y="11"/>
                    <a:pt x="10" y="12"/>
                    <a:pt x="10" y="12"/>
                  </a:cubicBezTo>
                  <a:cubicBezTo>
                    <a:pt x="9" y="12"/>
                    <a:pt x="9" y="12"/>
                    <a:pt x="8" y="12"/>
                  </a:cubicBezTo>
                  <a:cubicBezTo>
                    <a:pt x="8" y="12"/>
                    <a:pt x="8" y="12"/>
                    <a:pt x="7" y="12"/>
                  </a:cubicBezTo>
                  <a:cubicBezTo>
                    <a:pt x="6" y="12"/>
                    <a:pt x="4" y="11"/>
                    <a:pt x="4" y="11"/>
                  </a:cubicBezTo>
                  <a:cubicBezTo>
                    <a:pt x="3" y="12"/>
                    <a:pt x="0" y="13"/>
                    <a:pt x="1" y="13"/>
                  </a:cubicBezTo>
                  <a:cubicBezTo>
                    <a:pt x="2" y="13"/>
                    <a:pt x="3" y="12"/>
                    <a:pt x="4" y="12"/>
                  </a:cubicBezTo>
                  <a:cubicBezTo>
                    <a:pt x="4" y="13"/>
                    <a:pt x="4" y="14"/>
                    <a:pt x="5" y="13"/>
                  </a:cubicBezTo>
                  <a:cubicBezTo>
                    <a:pt x="6" y="12"/>
                    <a:pt x="6" y="13"/>
                    <a:pt x="7" y="13"/>
                  </a:cubicBezTo>
                  <a:cubicBezTo>
                    <a:pt x="7" y="14"/>
                    <a:pt x="9" y="14"/>
                    <a:pt x="8" y="14"/>
                  </a:cubicBezTo>
                  <a:cubicBezTo>
                    <a:pt x="7" y="14"/>
                    <a:pt x="5" y="14"/>
                    <a:pt x="5" y="15"/>
                  </a:cubicBezTo>
                  <a:cubicBezTo>
                    <a:pt x="5" y="15"/>
                    <a:pt x="4" y="17"/>
                    <a:pt x="6" y="16"/>
                  </a:cubicBezTo>
                  <a:cubicBezTo>
                    <a:pt x="7" y="16"/>
                    <a:pt x="7" y="15"/>
                    <a:pt x="9" y="16"/>
                  </a:cubicBezTo>
                  <a:cubicBezTo>
                    <a:pt x="10" y="18"/>
                    <a:pt x="11" y="17"/>
                    <a:pt x="10" y="17"/>
                  </a:cubicBezTo>
                  <a:cubicBezTo>
                    <a:pt x="8" y="18"/>
                    <a:pt x="9" y="18"/>
                    <a:pt x="10" y="18"/>
                  </a:cubicBezTo>
                  <a:cubicBezTo>
                    <a:pt x="11" y="18"/>
                    <a:pt x="12" y="19"/>
                    <a:pt x="13" y="18"/>
                  </a:cubicBezTo>
                  <a:cubicBezTo>
                    <a:pt x="13" y="17"/>
                    <a:pt x="13" y="17"/>
                    <a:pt x="14" y="18"/>
                  </a:cubicBezTo>
                  <a:cubicBezTo>
                    <a:pt x="15" y="19"/>
                    <a:pt x="15" y="20"/>
                    <a:pt x="16" y="21"/>
                  </a:cubicBezTo>
                  <a:cubicBezTo>
                    <a:pt x="17" y="21"/>
                    <a:pt x="20" y="24"/>
                    <a:pt x="20" y="23"/>
                  </a:cubicBezTo>
                  <a:cubicBezTo>
                    <a:pt x="19" y="22"/>
                    <a:pt x="18" y="21"/>
                    <a:pt x="19" y="21"/>
                  </a:cubicBezTo>
                  <a:cubicBezTo>
                    <a:pt x="20" y="21"/>
                    <a:pt x="27" y="26"/>
                    <a:pt x="26" y="24"/>
                  </a:cubicBezTo>
                  <a:cubicBezTo>
                    <a:pt x="25" y="22"/>
                    <a:pt x="21" y="19"/>
                    <a:pt x="23" y="19"/>
                  </a:cubicBezTo>
                  <a:cubicBezTo>
                    <a:pt x="24" y="19"/>
                    <a:pt x="28" y="20"/>
                    <a:pt x="30" y="20"/>
                  </a:cubicBezTo>
                  <a:cubicBezTo>
                    <a:pt x="32" y="20"/>
                    <a:pt x="33" y="20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3" y="19"/>
                    <a:pt x="31" y="18"/>
                    <a:pt x="30" y="18"/>
                  </a:cubicBezTo>
                  <a:cubicBezTo>
                    <a:pt x="29" y="18"/>
                    <a:pt x="22" y="18"/>
                    <a:pt x="22" y="18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84" name="Freeform 599">
              <a:extLst>
                <a:ext uri="{FF2B5EF4-FFF2-40B4-BE49-F238E27FC236}">
                  <a16:creationId xmlns:a16="http://schemas.microsoft.com/office/drawing/2014/main" id="{A08A003E-87EE-E85B-76F5-68DAC7081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657" y="4200361"/>
              <a:ext cx="249436" cy="197368"/>
            </a:xfrm>
            <a:custGeom>
              <a:avLst/>
              <a:gdLst>
                <a:gd name="T0" fmla="*/ 70 w 77"/>
                <a:gd name="T1" fmla="*/ 29 h 61"/>
                <a:gd name="T2" fmla="*/ 74 w 77"/>
                <a:gd name="T3" fmla="*/ 25 h 61"/>
                <a:gd name="T4" fmla="*/ 77 w 77"/>
                <a:gd name="T5" fmla="*/ 18 h 61"/>
                <a:gd name="T6" fmla="*/ 70 w 77"/>
                <a:gd name="T7" fmla="*/ 18 h 61"/>
                <a:gd name="T8" fmla="*/ 70 w 77"/>
                <a:gd name="T9" fmla="*/ 15 h 61"/>
                <a:gd name="T10" fmla="*/ 67 w 77"/>
                <a:gd name="T11" fmla="*/ 10 h 61"/>
                <a:gd name="T12" fmla="*/ 65 w 77"/>
                <a:gd name="T13" fmla="*/ 10 h 61"/>
                <a:gd name="T14" fmla="*/ 63 w 77"/>
                <a:gd name="T15" fmla="*/ 10 h 61"/>
                <a:gd name="T16" fmla="*/ 60 w 77"/>
                <a:gd name="T17" fmla="*/ 9 h 61"/>
                <a:gd name="T18" fmla="*/ 60 w 77"/>
                <a:gd name="T19" fmla="*/ 6 h 61"/>
                <a:gd name="T20" fmla="*/ 61 w 77"/>
                <a:gd name="T21" fmla="*/ 5 h 61"/>
                <a:gd name="T22" fmla="*/ 48 w 77"/>
                <a:gd name="T23" fmla="*/ 9 h 61"/>
                <a:gd name="T24" fmla="*/ 40 w 77"/>
                <a:gd name="T25" fmla="*/ 5 h 61"/>
                <a:gd name="T26" fmla="*/ 29 w 77"/>
                <a:gd name="T27" fmla="*/ 5 h 61"/>
                <a:gd name="T28" fmla="*/ 19 w 77"/>
                <a:gd name="T29" fmla="*/ 1 h 61"/>
                <a:gd name="T30" fmla="*/ 11 w 77"/>
                <a:gd name="T31" fmla="*/ 5 h 61"/>
                <a:gd name="T32" fmla="*/ 12 w 77"/>
                <a:gd name="T33" fmla="*/ 14 h 61"/>
                <a:gd name="T34" fmla="*/ 11 w 77"/>
                <a:gd name="T35" fmla="*/ 5 h 61"/>
                <a:gd name="T36" fmla="*/ 8 w 77"/>
                <a:gd name="T37" fmla="*/ 2 h 61"/>
                <a:gd name="T38" fmla="*/ 4 w 77"/>
                <a:gd name="T39" fmla="*/ 5 h 61"/>
                <a:gd name="T40" fmla="*/ 1 w 77"/>
                <a:gd name="T41" fmla="*/ 13 h 61"/>
                <a:gd name="T42" fmla="*/ 5 w 77"/>
                <a:gd name="T43" fmla="*/ 16 h 61"/>
                <a:gd name="T44" fmla="*/ 7 w 77"/>
                <a:gd name="T45" fmla="*/ 22 h 61"/>
                <a:gd name="T46" fmla="*/ 12 w 77"/>
                <a:gd name="T47" fmla="*/ 26 h 61"/>
                <a:gd name="T48" fmla="*/ 19 w 77"/>
                <a:gd name="T49" fmla="*/ 26 h 61"/>
                <a:gd name="T50" fmla="*/ 25 w 77"/>
                <a:gd name="T51" fmla="*/ 30 h 61"/>
                <a:gd name="T52" fmla="*/ 32 w 77"/>
                <a:gd name="T53" fmla="*/ 30 h 61"/>
                <a:gd name="T54" fmla="*/ 32 w 77"/>
                <a:gd name="T55" fmla="*/ 38 h 61"/>
                <a:gd name="T56" fmla="*/ 33 w 77"/>
                <a:gd name="T57" fmla="*/ 48 h 61"/>
                <a:gd name="T58" fmla="*/ 35 w 77"/>
                <a:gd name="T59" fmla="*/ 54 h 61"/>
                <a:gd name="T60" fmla="*/ 43 w 77"/>
                <a:gd name="T61" fmla="*/ 60 h 61"/>
                <a:gd name="T62" fmla="*/ 46 w 77"/>
                <a:gd name="T63" fmla="*/ 61 h 61"/>
                <a:gd name="T64" fmla="*/ 54 w 77"/>
                <a:gd name="T65" fmla="*/ 54 h 61"/>
                <a:gd name="T66" fmla="*/ 54 w 77"/>
                <a:gd name="T67" fmla="*/ 51 h 61"/>
                <a:gd name="T68" fmla="*/ 50 w 77"/>
                <a:gd name="T69" fmla="*/ 42 h 61"/>
                <a:gd name="T70" fmla="*/ 59 w 77"/>
                <a:gd name="T71" fmla="*/ 43 h 61"/>
                <a:gd name="T72" fmla="*/ 62 w 77"/>
                <a:gd name="T73" fmla="*/ 43 h 61"/>
                <a:gd name="T74" fmla="*/ 73 w 77"/>
                <a:gd name="T75" fmla="*/ 37 h 61"/>
                <a:gd name="T76" fmla="*/ 73 w 77"/>
                <a:gd name="T77" fmla="*/ 3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7" h="61">
                  <a:moveTo>
                    <a:pt x="69" y="32"/>
                  </a:moveTo>
                  <a:cubicBezTo>
                    <a:pt x="69" y="31"/>
                    <a:pt x="69" y="30"/>
                    <a:pt x="70" y="29"/>
                  </a:cubicBezTo>
                  <a:cubicBezTo>
                    <a:pt x="70" y="28"/>
                    <a:pt x="72" y="28"/>
                    <a:pt x="73" y="27"/>
                  </a:cubicBezTo>
                  <a:cubicBezTo>
                    <a:pt x="74" y="26"/>
                    <a:pt x="75" y="26"/>
                    <a:pt x="74" y="25"/>
                  </a:cubicBezTo>
                  <a:cubicBezTo>
                    <a:pt x="73" y="24"/>
                    <a:pt x="71" y="22"/>
                    <a:pt x="73" y="21"/>
                  </a:cubicBezTo>
                  <a:cubicBezTo>
                    <a:pt x="74" y="20"/>
                    <a:pt x="77" y="20"/>
                    <a:pt x="77" y="18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3" y="17"/>
                    <a:pt x="71" y="17"/>
                    <a:pt x="70" y="18"/>
                  </a:cubicBezTo>
                  <a:cubicBezTo>
                    <a:pt x="69" y="18"/>
                    <a:pt x="65" y="18"/>
                    <a:pt x="67" y="17"/>
                  </a:cubicBezTo>
                  <a:cubicBezTo>
                    <a:pt x="69" y="16"/>
                    <a:pt x="69" y="17"/>
                    <a:pt x="70" y="15"/>
                  </a:cubicBezTo>
                  <a:cubicBezTo>
                    <a:pt x="70" y="14"/>
                    <a:pt x="71" y="13"/>
                    <a:pt x="70" y="12"/>
                  </a:cubicBezTo>
                  <a:cubicBezTo>
                    <a:pt x="68" y="12"/>
                    <a:pt x="67" y="10"/>
                    <a:pt x="67" y="10"/>
                  </a:cubicBezTo>
                  <a:cubicBezTo>
                    <a:pt x="66" y="10"/>
                    <a:pt x="67" y="11"/>
                    <a:pt x="66" y="11"/>
                  </a:cubicBezTo>
                  <a:cubicBezTo>
                    <a:pt x="66" y="11"/>
                    <a:pt x="65" y="11"/>
                    <a:pt x="65" y="10"/>
                  </a:cubicBezTo>
                  <a:cubicBezTo>
                    <a:pt x="64" y="9"/>
                    <a:pt x="64" y="10"/>
                    <a:pt x="64" y="11"/>
                  </a:cubicBezTo>
                  <a:cubicBezTo>
                    <a:pt x="63" y="11"/>
                    <a:pt x="63" y="11"/>
                    <a:pt x="63" y="10"/>
                  </a:cubicBezTo>
                  <a:cubicBezTo>
                    <a:pt x="63" y="10"/>
                    <a:pt x="62" y="8"/>
                    <a:pt x="61" y="8"/>
                  </a:cubicBezTo>
                  <a:cubicBezTo>
                    <a:pt x="61" y="8"/>
                    <a:pt x="60" y="10"/>
                    <a:pt x="60" y="9"/>
                  </a:cubicBezTo>
                  <a:cubicBezTo>
                    <a:pt x="59" y="9"/>
                    <a:pt x="59" y="9"/>
                    <a:pt x="60" y="8"/>
                  </a:cubicBezTo>
                  <a:cubicBezTo>
                    <a:pt x="60" y="7"/>
                    <a:pt x="59" y="7"/>
                    <a:pt x="60" y="6"/>
                  </a:cubicBezTo>
                  <a:cubicBezTo>
                    <a:pt x="61" y="6"/>
                    <a:pt x="65" y="6"/>
                    <a:pt x="64" y="6"/>
                  </a:cubicBezTo>
                  <a:cubicBezTo>
                    <a:pt x="63" y="5"/>
                    <a:pt x="63" y="5"/>
                    <a:pt x="61" y="5"/>
                  </a:cubicBezTo>
                  <a:cubicBezTo>
                    <a:pt x="59" y="5"/>
                    <a:pt x="55" y="4"/>
                    <a:pt x="53" y="6"/>
                  </a:cubicBezTo>
                  <a:cubicBezTo>
                    <a:pt x="51" y="8"/>
                    <a:pt x="50" y="9"/>
                    <a:pt x="48" y="9"/>
                  </a:cubicBezTo>
                  <a:cubicBezTo>
                    <a:pt x="46" y="8"/>
                    <a:pt x="44" y="8"/>
                    <a:pt x="43" y="7"/>
                  </a:cubicBezTo>
                  <a:cubicBezTo>
                    <a:pt x="42" y="7"/>
                    <a:pt x="42" y="5"/>
                    <a:pt x="40" y="5"/>
                  </a:cubicBezTo>
                  <a:cubicBezTo>
                    <a:pt x="39" y="5"/>
                    <a:pt x="33" y="6"/>
                    <a:pt x="32" y="6"/>
                  </a:cubicBezTo>
                  <a:cubicBezTo>
                    <a:pt x="30" y="6"/>
                    <a:pt x="29" y="6"/>
                    <a:pt x="29" y="5"/>
                  </a:cubicBezTo>
                  <a:cubicBezTo>
                    <a:pt x="29" y="3"/>
                    <a:pt x="28" y="1"/>
                    <a:pt x="26" y="1"/>
                  </a:cubicBezTo>
                  <a:cubicBezTo>
                    <a:pt x="24" y="1"/>
                    <a:pt x="21" y="0"/>
                    <a:pt x="19" y="1"/>
                  </a:cubicBezTo>
                  <a:cubicBezTo>
                    <a:pt x="18" y="1"/>
                    <a:pt x="15" y="2"/>
                    <a:pt x="14" y="3"/>
                  </a:cubicBezTo>
                  <a:cubicBezTo>
                    <a:pt x="14" y="3"/>
                    <a:pt x="11" y="4"/>
                    <a:pt x="11" y="5"/>
                  </a:cubicBezTo>
                  <a:cubicBezTo>
                    <a:pt x="11" y="6"/>
                    <a:pt x="14" y="9"/>
                    <a:pt x="14" y="10"/>
                  </a:cubicBezTo>
                  <a:cubicBezTo>
                    <a:pt x="14" y="11"/>
                    <a:pt x="14" y="14"/>
                    <a:pt x="12" y="14"/>
                  </a:cubicBezTo>
                  <a:cubicBezTo>
                    <a:pt x="11" y="14"/>
                    <a:pt x="8" y="11"/>
                    <a:pt x="8" y="10"/>
                  </a:cubicBezTo>
                  <a:cubicBezTo>
                    <a:pt x="8" y="9"/>
                    <a:pt x="11" y="6"/>
                    <a:pt x="11" y="5"/>
                  </a:cubicBezTo>
                  <a:cubicBezTo>
                    <a:pt x="11" y="4"/>
                    <a:pt x="8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6" y="3"/>
                    <a:pt x="4" y="5"/>
                    <a:pt x="4" y="5"/>
                  </a:cubicBezTo>
                  <a:cubicBezTo>
                    <a:pt x="3" y="6"/>
                    <a:pt x="4" y="7"/>
                    <a:pt x="3" y="8"/>
                  </a:cubicBezTo>
                  <a:cubicBezTo>
                    <a:pt x="3" y="10"/>
                    <a:pt x="2" y="12"/>
                    <a:pt x="1" y="13"/>
                  </a:cubicBezTo>
                  <a:cubicBezTo>
                    <a:pt x="0" y="14"/>
                    <a:pt x="3" y="14"/>
                    <a:pt x="4" y="14"/>
                  </a:cubicBezTo>
                  <a:cubicBezTo>
                    <a:pt x="4" y="14"/>
                    <a:pt x="5" y="15"/>
                    <a:pt x="5" y="16"/>
                  </a:cubicBezTo>
                  <a:cubicBezTo>
                    <a:pt x="5" y="17"/>
                    <a:pt x="6" y="17"/>
                    <a:pt x="7" y="19"/>
                  </a:cubicBezTo>
                  <a:cubicBezTo>
                    <a:pt x="8" y="20"/>
                    <a:pt x="7" y="21"/>
                    <a:pt x="7" y="22"/>
                  </a:cubicBezTo>
                  <a:cubicBezTo>
                    <a:pt x="7" y="23"/>
                    <a:pt x="7" y="24"/>
                    <a:pt x="8" y="25"/>
                  </a:cubicBezTo>
                  <a:cubicBezTo>
                    <a:pt x="8" y="26"/>
                    <a:pt x="11" y="26"/>
                    <a:pt x="12" y="26"/>
                  </a:cubicBezTo>
                  <a:cubicBezTo>
                    <a:pt x="13" y="27"/>
                    <a:pt x="14" y="26"/>
                    <a:pt x="15" y="26"/>
                  </a:cubicBezTo>
                  <a:cubicBezTo>
                    <a:pt x="15" y="25"/>
                    <a:pt x="17" y="25"/>
                    <a:pt x="19" y="26"/>
                  </a:cubicBezTo>
                  <a:cubicBezTo>
                    <a:pt x="20" y="26"/>
                    <a:pt x="23" y="30"/>
                    <a:pt x="23" y="31"/>
                  </a:cubicBezTo>
                  <a:cubicBezTo>
                    <a:pt x="24" y="32"/>
                    <a:pt x="24" y="31"/>
                    <a:pt x="25" y="30"/>
                  </a:cubicBezTo>
                  <a:cubicBezTo>
                    <a:pt x="26" y="30"/>
                    <a:pt x="26" y="30"/>
                    <a:pt x="28" y="31"/>
                  </a:cubicBezTo>
                  <a:cubicBezTo>
                    <a:pt x="29" y="31"/>
                    <a:pt x="31" y="31"/>
                    <a:pt x="32" y="30"/>
                  </a:cubicBezTo>
                  <a:cubicBezTo>
                    <a:pt x="33" y="30"/>
                    <a:pt x="34" y="30"/>
                    <a:pt x="34" y="31"/>
                  </a:cubicBezTo>
                  <a:cubicBezTo>
                    <a:pt x="35" y="32"/>
                    <a:pt x="32" y="35"/>
                    <a:pt x="32" y="38"/>
                  </a:cubicBezTo>
                  <a:cubicBezTo>
                    <a:pt x="32" y="42"/>
                    <a:pt x="34" y="44"/>
                    <a:pt x="35" y="45"/>
                  </a:cubicBezTo>
                  <a:cubicBezTo>
                    <a:pt x="35" y="47"/>
                    <a:pt x="34" y="47"/>
                    <a:pt x="33" y="48"/>
                  </a:cubicBezTo>
                  <a:cubicBezTo>
                    <a:pt x="32" y="49"/>
                    <a:pt x="32" y="49"/>
                    <a:pt x="34" y="50"/>
                  </a:cubicBezTo>
                  <a:cubicBezTo>
                    <a:pt x="35" y="51"/>
                    <a:pt x="35" y="52"/>
                    <a:pt x="35" y="54"/>
                  </a:cubicBezTo>
                  <a:cubicBezTo>
                    <a:pt x="36" y="55"/>
                    <a:pt x="38" y="58"/>
                    <a:pt x="39" y="59"/>
                  </a:cubicBezTo>
                  <a:cubicBezTo>
                    <a:pt x="40" y="60"/>
                    <a:pt x="42" y="61"/>
                    <a:pt x="43" y="60"/>
                  </a:cubicBezTo>
                  <a:cubicBezTo>
                    <a:pt x="44" y="60"/>
                    <a:pt x="44" y="60"/>
                    <a:pt x="45" y="60"/>
                  </a:cubicBezTo>
                  <a:cubicBezTo>
                    <a:pt x="45" y="60"/>
                    <a:pt x="45" y="61"/>
                    <a:pt x="46" y="61"/>
                  </a:cubicBezTo>
                  <a:cubicBezTo>
                    <a:pt x="48" y="60"/>
                    <a:pt x="50" y="58"/>
                    <a:pt x="52" y="57"/>
                  </a:cubicBezTo>
                  <a:cubicBezTo>
                    <a:pt x="53" y="56"/>
                    <a:pt x="52" y="55"/>
                    <a:pt x="54" y="54"/>
                  </a:cubicBezTo>
                  <a:cubicBezTo>
                    <a:pt x="55" y="53"/>
                    <a:pt x="58" y="52"/>
                    <a:pt x="57" y="52"/>
                  </a:cubicBezTo>
                  <a:cubicBezTo>
                    <a:pt x="56" y="51"/>
                    <a:pt x="54" y="52"/>
                    <a:pt x="54" y="51"/>
                  </a:cubicBezTo>
                  <a:cubicBezTo>
                    <a:pt x="53" y="49"/>
                    <a:pt x="53" y="47"/>
                    <a:pt x="52" y="45"/>
                  </a:cubicBezTo>
                  <a:cubicBezTo>
                    <a:pt x="51" y="44"/>
                    <a:pt x="49" y="43"/>
                    <a:pt x="50" y="42"/>
                  </a:cubicBezTo>
                  <a:cubicBezTo>
                    <a:pt x="51" y="42"/>
                    <a:pt x="52" y="43"/>
                    <a:pt x="54" y="43"/>
                  </a:cubicBezTo>
                  <a:cubicBezTo>
                    <a:pt x="56" y="43"/>
                    <a:pt x="58" y="43"/>
                    <a:pt x="59" y="43"/>
                  </a:cubicBezTo>
                  <a:cubicBezTo>
                    <a:pt x="59" y="44"/>
                    <a:pt x="59" y="45"/>
                    <a:pt x="60" y="44"/>
                  </a:cubicBezTo>
                  <a:cubicBezTo>
                    <a:pt x="61" y="44"/>
                    <a:pt x="60" y="43"/>
                    <a:pt x="62" y="43"/>
                  </a:cubicBezTo>
                  <a:cubicBezTo>
                    <a:pt x="63" y="43"/>
                    <a:pt x="69" y="40"/>
                    <a:pt x="71" y="39"/>
                  </a:cubicBezTo>
                  <a:cubicBezTo>
                    <a:pt x="72" y="38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2" y="36"/>
                    <a:pt x="69" y="33"/>
                    <a:pt x="69" y="3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85" name="Freeform 600">
              <a:extLst>
                <a:ext uri="{FF2B5EF4-FFF2-40B4-BE49-F238E27FC236}">
                  <a16:creationId xmlns:a16="http://schemas.microsoft.com/office/drawing/2014/main" id="{A6A84C67-BEDF-706F-62C0-528D7AF19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0454" y="4258482"/>
              <a:ext cx="87182" cy="129561"/>
            </a:xfrm>
            <a:custGeom>
              <a:avLst/>
              <a:gdLst>
                <a:gd name="T0" fmla="*/ 23 w 27"/>
                <a:gd name="T1" fmla="*/ 31 h 40"/>
                <a:gd name="T2" fmla="*/ 20 w 27"/>
                <a:gd name="T3" fmla="*/ 27 h 40"/>
                <a:gd name="T4" fmla="*/ 18 w 27"/>
                <a:gd name="T5" fmla="*/ 23 h 40"/>
                <a:gd name="T6" fmla="*/ 19 w 27"/>
                <a:gd name="T7" fmla="*/ 20 h 40"/>
                <a:gd name="T8" fmla="*/ 22 w 27"/>
                <a:gd name="T9" fmla="*/ 19 h 40"/>
                <a:gd name="T10" fmla="*/ 23 w 27"/>
                <a:gd name="T11" fmla="*/ 16 h 40"/>
                <a:gd name="T12" fmla="*/ 23 w 27"/>
                <a:gd name="T13" fmla="*/ 13 h 40"/>
                <a:gd name="T14" fmla="*/ 21 w 27"/>
                <a:gd name="T15" fmla="*/ 11 h 40"/>
                <a:gd name="T16" fmla="*/ 17 w 27"/>
                <a:gd name="T17" fmla="*/ 9 h 40"/>
                <a:gd name="T18" fmla="*/ 15 w 27"/>
                <a:gd name="T19" fmla="*/ 6 h 40"/>
                <a:gd name="T20" fmla="*/ 8 w 27"/>
                <a:gd name="T21" fmla="*/ 0 h 40"/>
                <a:gd name="T22" fmla="*/ 4 w 27"/>
                <a:gd name="T23" fmla="*/ 3 h 40"/>
                <a:gd name="T24" fmla="*/ 5 w 27"/>
                <a:gd name="T25" fmla="*/ 7 h 40"/>
                <a:gd name="T26" fmla="*/ 4 w 27"/>
                <a:gd name="T27" fmla="*/ 9 h 40"/>
                <a:gd name="T28" fmla="*/ 1 w 27"/>
                <a:gd name="T29" fmla="*/ 11 h 40"/>
                <a:gd name="T30" fmla="*/ 0 w 27"/>
                <a:gd name="T31" fmla="*/ 14 h 40"/>
                <a:gd name="T32" fmla="*/ 4 w 27"/>
                <a:gd name="T33" fmla="*/ 19 h 40"/>
                <a:gd name="T34" fmla="*/ 4 w 27"/>
                <a:gd name="T35" fmla="*/ 19 h 40"/>
                <a:gd name="T36" fmla="*/ 7 w 27"/>
                <a:gd name="T37" fmla="*/ 20 h 40"/>
                <a:gd name="T38" fmla="*/ 8 w 27"/>
                <a:gd name="T39" fmla="*/ 22 h 40"/>
                <a:gd name="T40" fmla="*/ 9 w 27"/>
                <a:gd name="T41" fmla="*/ 26 h 40"/>
                <a:gd name="T42" fmla="*/ 7 w 27"/>
                <a:gd name="T43" fmla="*/ 31 h 40"/>
                <a:gd name="T44" fmla="*/ 13 w 27"/>
                <a:gd name="T45" fmla="*/ 40 h 40"/>
                <a:gd name="T46" fmla="*/ 17 w 27"/>
                <a:gd name="T47" fmla="*/ 38 h 40"/>
                <a:gd name="T48" fmla="*/ 23 w 27"/>
                <a:gd name="T49" fmla="*/ 36 h 40"/>
                <a:gd name="T50" fmla="*/ 27 w 27"/>
                <a:gd name="T51" fmla="*/ 37 h 40"/>
                <a:gd name="T52" fmla="*/ 27 w 27"/>
                <a:gd name="T53" fmla="*/ 37 h 40"/>
                <a:gd name="T54" fmla="*/ 23 w 27"/>
                <a:gd name="T55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" h="40">
                  <a:moveTo>
                    <a:pt x="23" y="31"/>
                  </a:moveTo>
                  <a:cubicBezTo>
                    <a:pt x="22" y="30"/>
                    <a:pt x="21" y="28"/>
                    <a:pt x="20" y="27"/>
                  </a:cubicBezTo>
                  <a:cubicBezTo>
                    <a:pt x="19" y="26"/>
                    <a:pt x="17" y="24"/>
                    <a:pt x="18" y="23"/>
                  </a:cubicBezTo>
                  <a:cubicBezTo>
                    <a:pt x="19" y="22"/>
                    <a:pt x="18" y="21"/>
                    <a:pt x="19" y="20"/>
                  </a:cubicBezTo>
                  <a:cubicBezTo>
                    <a:pt x="20" y="20"/>
                    <a:pt x="21" y="20"/>
                    <a:pt x="22" y="19"/>
                  </a:cubicBezTo>
                  <a:cubicBezTo>
                    <a:pt x="23" y="19"/>
                    <a:pt x="24" y="17"/>
                    <a:pt x="23" y="16"/>
                  </a:cubicBezTo>
                  <a:cubicBezTo>
                    <a:pt x="22" y="16"/>
                    <a:pt x="23" y="15"/>
                    <a:pt x="23" y="13"/>
                  </a:cubicBezTo>
                  <a:cubicBezTo>
                    <a:pt x="22" y="13"/>
                    <a:pt x="22" y="13"/>
                    <a:pt x="21" y="11"/>
                  </a:cubicBezTo>
                  <a:cubicBezTo>
                    <a:pt x="19" y="10"/>
                    <a:pt x="18" y="10"/>
                    <a:pt x="17" y="9"/>
                  </a:cubicBezTo>
                  <a:cubicBezTo>
                    <a:pt x="15" y="8"/>
                    <a:pt x="16" y="7"/>
                    <a:pt x="15" y="6"/>
                  </a:cubicBezTo>
                  <a:cubicBezTo>
                    <a:pt x="14" y="4"/>
                    <a:pt x="10" y="0"/>
                    <a:pt x="8" y="0"/>
                  </a:cubicBezTo>
                  <a:cubicBezTo>
                    <a:pt x="8" y="2"/>
                    <a:pt x="5" y="2"/>
                    <a:pt x="4" y="3"/>
                  </a:cubicBezTo>
                  <a:cubicBezTo>
                    <a:pt x="2" y="4"/>
                    <a:pt x="4" y="6"/>
                    <a:pt x="5" y="7"/>
                  </a:cubicBezTo>
                  <a:cubicBezTo>
                    <a:pt x="6" y="8"/>
                    <a:pt x="5" y="8"/>
                    <a:pt x="4" y="9"/>
                  </a:cubicBezTo>
                  <a:cubicBezTo>
                    <a:pt x="3" y="10"/>
                    <a:pt x="1" y="10"/>
                    <a:pt x="1" y="11"/>
                  </a:cubicBezTo>
                  <a:cubicBezTo>
                    <a:pt x="0" y="12"/>
                    <a:pt x="0" y="13"/>
                    <a:pt x="0" y="14"/>
                  </a:cubicBezTo>
                  <a:cubicBezTo>
                    <a:pt x="0" y="15"/>
                    <a:pt x="3" y="18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9"/>
                    <a:pt x="7" y="19"/>
                    <a:pt x="7" y="20"/>
                  </a:cubicBezTo>
                  <a:cubicBezTo>
                    <a:pt x="7" y="21"/>
                    <a:pt x="6" y="21"/>
                    <a:pt x="8" y="22"/>
                  </a:cubicBezTo>
                  <a:cubicBezTo>
                    <a:pt x="9" y="24"/>
                    <a:pt x="9" y="25"/>
                    <a:pt x="9" y="26"/>
                  </a:cubicBezTo>
                  <a:cubicBezTo>
                    <a:pt x="9" y="27"/>
                    <a:pt x="7" y="29"/>
                    <a:pt x="7" y="31"/>
                  </a:cubicBezTo>
                  <a:cubicBezTo>
                    <a:pt x="7" y="33"/>
                    <a:pt x="11" y="40"/>
                    <a:pt x="13" y="40"/>
                  </a:cubicBezTo>
                  <a:cubicBezTo>
                    <a:pt x="16" y="40"/>
                    <a:pt x="16" y="38"/>
                    <a:pt x="17" y="38"/>
                  </a:cubicBezTo>
                  <a:cubicBezTo>
                    <a:pt x="18" y="38"/>
                    <a:pt x="22" y="36"/>
                    <a:pt x="23" y="36"/>
                  </a:cubicBezTo>
                  <a:cubicBezTo>
                    <a:pt x="24" y="36"/>
                    <a:pt x="25" y="36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6" y="35"/>
                    <a:pt x="24" y="32"/>
                    <a:pt x="23" y="3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86" name="Freeform 601">
              <a:extLst>
                <a:ext uri="{FF2B5EF4-FFF2-40B4-BE49-F238E27FC236}">
                  <a16:creationId xmlns:a16="http://schemas.microsoft.com/office/drawing/2014/main" id="{BC314661-14AA-B24D-2F81-5ED4D4C3D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6154" y="4297229"/>
              <a:ext cx="77495" cy="81127"/>
            </a:xfrm>
            <a:custGeom>
              <a:avLst/>
              <a:gdLst>
                <a:gd name="T0" fmla="*/ 21 w 24"/>
                <a:gd name="T1" fmla="*/ 9 h 25"/>
                <a:gd name="T2" fmla="*/ 24 w 24"/>
                <a:gd name="T3" fmla="*/ 3 h 25"/>
                <a:gd name="T4" fmla="*/ 19 w 24"/>
                <a:gd name="T5" fmla="*/ 2 h 25"/>
                <a:gd name="T6" fmla="*/ 15 w 24"/>
                <a:gd name="T7" fmla="*/ 2 h 25"/>
                <a:gd name="T8" fmla="*/ 12 w 24"/>
                <a:gd name="T9" fmla="*/ 3 h 25"/>
                <a:gd name="T10" fmla="*/ 10 w 24"/>
                <a:gd name="T11" fmla="*/ 2 h 25"/>
                <a:gd name="T12" fmla="*/ 9 w 24"/>
                <a:gd name="T13" fmla="*/ 1 h 25"/>
                <a:gd name="T14" fmla="*/ 7 w 24"/>
                <a:gd name="T15" fmla="*/ 2 h 25"/>
                <a:gd name="T16" fmla="*/ 6 w 24"/>
                <a:gd name="T17" fmla="*/ 1 h 25"/>
                <a:gd name="T18" fmla="*/ 6 w 24"/>
                <a:gd name="T19" fmla="*/ 4 h 25"/>
                <a:gd name="T20" fmla="*/ 5 w 24"/>
                <a:gd name="T21" fmla="*/ 7 h 25"/>
                <a:gd name="T22" fmla="*/ 2 w 24"/>
                <a:gd name="T23" fmla="*/ 8 h 25"/>
                <a:gd name="T24" fmla="*/ 1 w 24"/>
                <a:gd name="T25" fmla="*/ 11 h 25"/>
                <a:gd name="T26" fmla="*/ 3 w 24"/>
                <a:gd name="T27" fmla="*/ 15 h 25"/>
                <a:gd name="T28" fmla="*/ 6 w 24"/>
                <a:gd name="T29" fmla="*/ 19 h 25"/>
                <a:gd name="T30" fmla="*/ 10 w 24"/>
                <a:gd name="T31" fmla="*/ 25 h 25"/>
                <a:gd name="T32" fmla="*/ 10 w 24"/>
                <a:gd name="T33" fmla="*/ 25 h 25"/>
                <a:gd name="T34" fmla="*/ 12 w 24"/>
                <a:gd name="T35" fmla="*/ 24 h 25"/>
                <a:gd name="T36" fmla="*/ 14 w 24"/>
                <a:gd name="T37" fmla="*/ 21 h 25"/>
                <a:gd name="T38" fmla="*/ 18 w 24"/>
                <a:gd name="T39" fmla="*/ 21 h 25"/>
                <a:gd name="T40" fmla="*/ 20 w 24"/>
                <a:gd name="T41" fmla="*/ 22 h 25"/>
                <a:gd name="T42" fmla="*/ 23 w 24"/>
                <a:gd name="T43" fmla="*/ 18 h 25"/>
                <a:gd name="T44" fmla="*/ 21 w 24"/>
                <a:gd name="T45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25">
                  <a:moveTo>
                    <a:pt x="21" y="9"/>
                  </a:moveTo>
                  <a:cubicBezTo>
                    <a:pt x="21" y="8"/>
                    <a:pt x="22" y="5"/>
                    <a:pt x="24" y="3"/>
                  </a:cubicBezTo>
                  <a:cubicBezTo>
                    <a:pt x="22" y="2"/>
                    <a:pt x="20" y="2"/>
                    <a:pt x="19" y="2"/>
                  </a:cubicBezTo>
                  <a:cubicBezTo>
                    <a:pt x="18" y="2"/>
                    <a:pt x="17" y="2"/>
                    <a:pt x="15" y="2"/>
                  </a:cubicBezTo>
                  <a:cubicBezTo>
                    <a:pt x="13" y="2"/>
                    <a:pt x="13" y="3"/>
                    <a:pt x="12" y="3"/>
                  </a:cubicBezTo>
                  <a:cubicBezTo>
                    <a:pt x="11" y="3"/>
                    <a:pt x="10" y="3"/>
                    <a:pt x="10" y="2"/>
                  </a:cubicBezTo>
                  <a:cubicBezTo>
                    <a:pt x="10" y="1"/>
                    <a:pt x="9" y="0"/>
                    <a:pt x="9" y="1"/>
                  </a:cubicBezTo>
                  <a:cubicBezTo>
                    <a:pt x="8" y="1"/>
                    <a:pt x="8" y="2"/>
                    <a:pt x="7" y="2"/>
                  </a:cubicBezTo>
                  <a:cubicBezTo>
                    <a:pt x="7" y="2"/>
                    <a:pt x="6" y="2"/>
                    <a:pt x="6" y="1"/>
                  </a:cubicBezTo>
                  <a:cubicBezTo>
                    <a:pt x="6" y="3"/>
                    <a:pt x="5" y="4"/>
                    <a:pt x="6" y="4"/>
                  </a:cubicBezTo>
                  <a:cubicBezTo>
                    <a:pt x="7" y="5"/>
                    <a:pt x="6" y="7"/>
                    <a:pt x="5" y="7"/>
                  </a:cubicBezTo>
                  <a:cubicBezTo>
                    <a:pt x="4" y="8"/>
                    <a:pt x="3" y="8"/>
                    <a:pt x="2" y="8"/>
                  </a:cubicBezTo>
                  <a:cubicBezTo>
                    <a:pt x="1" y="9"/>
                    <a:pt x="2" y="10"/>
                    <a:pt x="1" y="11"/>
                  </a:cubicBezTo>
                  <a:cubicBezTo>
                    <a:pt x="0" y="12"/>
                    <a:pt x="2" y="14"/>
                    <a:pt x="3" y="15"/>
                  </a:cubicBezTo>
                  <a:cubicBezTo>
                    <a:pt x="4" y="16"/>
                    <a:pt x="5" y="18"/>
                    <a:pt x="6" y="19"/>
                  </a:cubicBezTo>
                  <a:cubicBezTo>
                    <a:pt x="7" y="20"/>
                    <a:pt x="9" y="23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1" y="25"/>
                    <a:pt x="12" y="25"/>
                    <a:pt x="12" y="24"/>
                  </a:cubicBezTo>
                  <a:cubicBezTo>
                    <a:pt x="13" y="23"/>
                    <a:pt x="12" y="21"/>
                    <a:pt x="14" y="21"/>
                  </a:cubicBezTo>
                  <a:cubicBezTo>
                    <a:pt x="15" y="21"/>
                    <a:pt x="17" y="21"/>
                    <a:pt x="18" y="21"/>
                  </a:cubicBezTo>
                  <a:cubicBezTo>
                    <a:pt x="19" y="21"/>
                    <a:pt x="19" y="22"/>
                    <a:pt x="20" y="22"/>
                  </a:cubicBezTo>
                  <a:cubicBezTo>
                    <a:pt x="21" y="21"/>
                    <a:pt x="23" y="19"/>
                    <a:pt x="23" y="18"/>
                  </a:cubicBezTo>
                  <a:cubicBezTo>
                    <a:pt x="23" y="16"/>
                    <a:pt x="21" y="11"/>
                    <a:pt x="21" y="9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87" name="Freeform 602">
              <a:extLst>
                <a:ext uri="{FF2B5EF4-FFF2-40B4-BE49-F238E27FC236}">
                  <a16:creationId xmlns:a16="http://schemas.microsoft.com/office/drawing/2014/main" id="{56598737-3658-957E-78EC-9D171A8CB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329" y="4306915"/>
              <a:ext cx="54489" cy="65386"/>
            </a:xfrm>
            <a:custGeom>
              <a:avLst/>
              <a:gdLst>
                <a:gd name="T0" fmla="*/ 13 w 17"/>
                <a:gd name="T1" fmla="*/ 6 h 20"/>
                <a:gd name="T2" fmla="*/ 8 w 17"/>
                <a:gd name="T3" fmla="*/ 1 h 20"/>
                <a:gd name="T4" fmla="*/ 4 w 17"/>
                <a:gd name="T5" fmla="*/ 0 h 20"/>
                <a:gd name="T6" fmla="*/ 1 w 17"/>
                <a:gd name="T7" fmla="*/ 6 h 20"/>
                <a:gd name="T8" fmla="*/ 3 w 17"/>
                <a:gd name="T9" fmla="*/ 15 h 20"/>
                <a:gd name="T10" fmla="*/ 0 w 17"/>
                <a:gd name="T11" fmla="*/ 19 h 20"/>
                <a:gd name="T12" fmla="*/ 1 w 17"/>
                <a:gd name="T13" fmla="*/ 19 h 20"/>
                <a:gd name="T14" fmla="*/ 5 w 17"/>
                <a:gd name="T15" fmla="*/ 19 h 20"/>
                <a:gd name="T16" fmla="*/ 9 w 17"/>
                <a:gd name="T17" fmla="*/ 20 h 20"/>
                <a:gd name="T18" fmla="*/ 13 w 17"/>
                <a:gd name="T19" fmla="*/ 15 h 20"/>
                <a:gd name="T20" fmla="*/ 17 w 17"/>
                <a:gd name="T21" fmla="*/ 8 h 20"/>
                <a:gd name="T22" fmla="*/ 13 w 17"/>
                <a:gd name="T23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20">
                  <a:moveTo>
                    <a:pt x="13" y="6"/>
                  </a:moveTo>
                  <a:cubicBezTo>
                    <a:pt x="12" y="4"/>
                    <a:pt x="10" y="2"/>
                    <a:pt x="8" y="1"/>
                  </a:cubicBezTo>
                  <a:cubicBezTo>
                    <a:pt x="7" y="1"/>
                    <a:pt x="6" y="0"/>
                    <a:pt x="4" y="0"/>
                  </a:cubicBezTo>
                  <a:cubicBezTo>
                    <a:pt x="2" y="2"/>
                    <a:pt x="1" y="5"/>
                    <a:pt x="1" y="6"/>
                  </a:cubicBezTo>
                  <a:cubicBezTo>
                    <a:pt x="1" y="8"/>
                    <a:pt x="3" y="13"/>
                    <a:pt x="3" y="15"/>
                  </a:cubicBezTo>
                  <a:cubicBezTo>
                    <a:pt x="3" y="16"/>
                    <a:pt x="1" y="18"/>
                    <a:pt x="0" y="19"/>
                  </a:cubicBezTo>
                  <a:cubicBezTo>
                    <a:pt x="0" y="19"/>
                    <a:pt x="0" y="19"/>
                    <a:pt x="1" y="19"/>
                  </a:cubicBezTo>
                  <a:cubicBezTo>
                    <a:pt x="2" y="20"/>
                    <a:pt x="2" y="19"/>
                    <a:pt x="5" y="19"/>
                  </a:cubicBezTo>
                  <a:cubicBezTo>
                    <a:pt x="7" y="19"/>
                    <a:pt x="7" y="20"/>
                    <a:pt x="9" y="20"/>
                  </a:cubicBezTo>
                  <a:cubicBezTo>
                    <a:pt x="10" y="19"/>
                    <a:pt x="12" y="18"/>
                    <a:pt x="13" y="15"/>
                  </a:cubicBezTo>
                  <a:cubicBezTo>
                    <a:pt x="14" y="14"/>
                    <a:pt x="16" y="10"/>
                    <a:pt x="17" y="8"/>
                  </a:cubicBezTo>
                  <a:cubicBezTo>
                    <a:pt x="16" y="7"/>
                    <a:pt x="14" y="6"/>
                    <a:pt x="13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88" name="Freeform 603">
              <a:extLst>
                <a:ext uri="{FF2B5EF4-FFF2-40B4-BE49-F238E27FC236}">
                  <a16:creationId xmlns:a16="http://schemas.microsoft.com/office/drawing/2014/main" id="{76ACBD4B-9F50-0DDD-95F3-2943D2A60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348" y="4184620"/>
              <a:ext cx="280919" cy="303922"/>
            </a:xfrm>
            <a:custGeom>
              <a:avLst/>
              <a:gdLst>
                <a:gd name="T0" fmla="*/ 87 w 87"/>
                <a:gd name="T1" fmla="*/ 50 h 94"/>
                <a:gd name="T2" fmla="*/ 86 w 87"/>
                <a:gd name="T3" fmla="*/ 36 h 94"/>
                <a:gd name="T4" fmla="*/ 80 w 87"/>
                <a:gd name="T5" fmla="*/ 36 h 94"/>
                <a:gd name="T6" fmla="*/ 75 w 87"/>
                <a:gd name="T7" fmla="*/ 36 h 94"/>
                <a:gd name="T8" fmla="*/ 67 w 87"/>
                <a:gd name="T9" fmla="*/ 31 h 94"/>
                <a:gd name="T10" fmla="*/ 60 w 87"/>
                <a:gd name="T11" fmla="*/ 30 h 94"/>
                <a:gd name="T12" fmla="*/ 59 w 87"/>
                <a:gd name="T13" fmla="*/ 24 h 94"/>
                <a:gd name="T14" fmla="*/ 56 w 87"/>
                <a:gd name="T15" fmla="*/ 19 h 94"/>
                <a:gd name="T16" fmla="*/ 55 w 87"/>
                <a:gd name="T17" fmla="*/ 13 h 94"/>
                <a:gd name="T18" fmla="*/ 60 w 87"/>
                <a:gd name="T19" fmla="*/ 7 h 94"/>
                <a:gd name="T20" fmla="*/ 63 w 87"/>
                <a:gd name="T21" fmla="*/ 4 h 94"/>
                <a:gd name="T22" fmla="*/ 61 w 87"/>
                <a:gd name="T23" fmla="*/ 1 h 94"/>
                <a:gd name="T24" fmla="*/ 57 w 87"/>
                <a:gd name="T25" fmla="*/ 4 h 94"/>
                <a:gd name="T26" fmla="*/ 49 w 87"/>
                <a:gd name="T27" fmla="*/ 7 h 94"/>
                <a:gd name="T28" fmla="*/ 46 w 87"/>
                <a:gd name="T29" fmla="*/ 8 h 94"/>
                <a:gd name="T30" fmla="*/ 41 w 87"/>
                <a:gd name="T31" fmla="*/ 13 h 94"/>
                <a:gd name="T32" fmla="*/ 35 w 87"/>
                <a:gd name="T33" fmla="*/ 22 h 94"/>
                <a:gd name="T34" fmla="*/ 30 w 87"/>
                <a:gd name="T35" fmla="*/ 20 h 94"/>
                <a:gd name="T36" fmla="*/ 24 w 87"/>
                <a:gd name="T37" fmla="*/ 18 h 94"/>
                <a:gd name="T38" fmla="*/ 17 w 87"/>
                <a:gd name="T39" fmla="*/ 17 h 94"/>
                <a:gd name="T40" fmla="*/ 11 w 87"/>
                <a:gd name="T41" fmla="*/ 20 h 94"/>
                <a:gd name="T42" fmla="*/ 3 w 87"/>
                <a:gd name="T43" fmla="*/ 18 h 94"/>
                <a:gd name="T44" fmla="*/ 0 w 87"/>
                <a:gd name="T45" fmla="*/ 18 h 94"/>
                <a:gd name="T46" fmla="*/ 0 w 87"/>
                <a:gd name="T47" fmla="*/ 23 h 94"/>
                <a:gd name="T48" fmla="*/ 7 w 87"/>
                <a:gd name="T49" fmla="*/ 25 h 94"/>
                <a:gd name="T50" fmla="*/ 10 w 87"/>
                <a:gd name="T51" fmla="*/ 27 h 94"/>
                <a:gd name="T52" fmla="*/ 14 w 87"/>
                <a:gd name="T53" fmla="*/ 29 h 94"/>
                <a:gd name="T54" fmla="*/ 14 w 87"/>
                <a:gd name="T55" fmla="*/ 25 h 94"/>
                <a:gd name="T56" fmla="*/ 18 w 87"/>
                <a:gd name="T57" fmla="*/ 20 h 94"/>
                <a:gd name="T58" fmla="*/ 23 w 87"/>
                <a:gd name="T59" fmla="*/ 21 h 94"/>
                <a:gd name="T60" fmla="*/ 26 w 87"/>
                <a:gd name="T61" fmla="*/ 23 h 94"/>
                <a:gd name="T62" fmla="*/ 28 w 87"/>
                <a:gd name="T63" fmla="*/ 30 h 94"/>
                <a:gd name="T64" fmla="*/ 31 w 87"/>
                <a:gd name="T65" fmla="*/ 38 h 94"/>
                <a:gd name="T66" fmla="*/ 32 w 87"/>
                <a:gd name="T67" fmla="*/ 49 h 94"/>
                <a:gd name="T68" fmla="*/ 24 w 87"/>
                <a:gd name="T69" fmla="*/ 57 h 94"/>
                <a:gd name="T70" fmla="*/ 22 w 87"/>
                <a:gd name="T71" fmla="*/ 61 h 94"/>
                <a:gd name="T72" fmla="*/ 25 w 87"/>
                <a:gd name="T73" fmla="*/ 63 h 94"/>
                <a:gd name="T74" fmla="*/ 34 w 87"/>
                <a:gd name="T75" fmla="*/ 68 h 94"/>
                <a:gd name="T76" fmla="*/ 39 w 87"/>
                <a:gd name="T77" fmla="*/ 69 h 94"/>
                <a:gd name="T78" fmla="*/ 46 w 87"/>
                <a:gd name="T79" fmla="*/ 71 h 94"/>
                <a:gd name="T80" fmla="*/ 53 w 87"/>
                <a:gd name="T81" fmla="*/ 81 h 94"/>
                <a:gd name="T82" fmla="*/ 61 w 87"/>
                <a:gd name="T83" fmla="*/ 84 h 94"/>
                <a:gd name="T84" fmla="*/ 66 w 87"/>
                <a:gd name="T85" fmla="*/ 83 h 94"/>
                <a:gd name="T86" fmla="*/ 71 w 87"/>
                <a:gd name="T87" fmla="*/ 85 h 94"/>
                <a:gd name="T88" fmla="*/ 71 w 87"/>
                <a:gd name="T89" fmla="*/ 92 h 94"/>
                <a:gd name="T90" fmla="*/ 73 w 87"/>
                <a:gd name="T91" fmla="*/ 88 h 94"/>
                <a:gd name="T92" fmla="*/ 73 w 87"/>
                <a:gd name="T93" fmla="*/ 73 h 94"/>
                <a:gd name="T94" fmla="*/ 73 w 87"/>
                <a:gd name="T95" fmla="*/ 66 h 94"/>
                <a:gd name="T96" fmla="*/ 73 w 87"/>
                <a:gd name="T97" fmla="*/ 63 h 94"/>
                <a:gd name="T98" fmla="*/ 81 w 87"/>
                <a:gd name="T99" fmla="*/ 61 h 94"/>
                <a:gd name="T100" fmla="*/ 86 w 87"/>
                <a:gd name="T101" fmla="*/ 5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" h="94">
                  <a:moveTo>
                    <a:pt x="85" y="53"/>
                  </a:moveTo>
                  <a:cubicBezTo>
                    <a:pt x="86" y="52"/>
                    <a:pt x="87" y="52"/>
                    <a:pt x="87" y="50"/>
                  </a:cubicBezTo>
                  <a:cubicBezTo>
                    <a:pt x="86" y="49"/>
                    <a:pt x="84" y="47"/>
                    <a:pt x="84" y="43"/>
                  </a:cubicBezTo>
                  <a:cubicBezTo>
                    <a:pt x="84" y="40"/>
                    <a:pt x="87" y="37"/>
                    <a:pt x="86" y="36"/>
                  </a:cubicBezTo>
                  <a:cubicBezTo>
                    <a:pt x="86" y="35"/>
                    <a:pt x="85" y="35"/>
                    <a:pt x="84" y="35"/>
                  </a:cubicBezTo>
                  <a:cubicBezTo>
                    <a:pt x="83" y="36"/>
                    <a:pt x="81" y="36"/>
                    <a:pt x="80" y="36"/>
                  </a:cubicBezTo>
                  <a:cubicBezTo>
                    <a:pt x="78" y="35"/>
                    <a:pt x="78" y="35"/>
                    <a:pt x="77" y="35"/>
                  </a:cubicBezTo>
                  <a:cubicBezTo>
                    <a:pt x="76" y="36"/>
                    <a:pt x="76" y="37"/>
                    <a:pt x="75" y="36"/>
                  </a:cubicBezTo>
                  <a:cubicBezTo>
                    <a:pt x="75" y="35"/>
                    <a:pt x="72" y="31"/>
                    <a:pt x="71" y="31"/>
                  </a:cubicBezTo>
                  <a:cubicBezTo>
                    <a:pt x="69" y="30"/>
                    <a:pt x="67" y="30"/>
                    <a:pt x="67" y="31"/>
                  </a:cubicBezTo>
                  <a:cubicBezTo>
                    <a:pt x="66" y="31"/>
                    <a:pt x="65" y="32"/>
                    <a:pt x="64" y="31"/>
                  </a:cubicBezTo>
                  <a:cubicBezTo>
                    <a:pt x="63" y="31"/>
                    <a:pt x="60" y="31"/>
                    <a:pt x="60" y="30"/>
                  </a:cubicBezTo>
                  <a:cubicBezTo>
                    <a:pt x="59" y="29"/>
                    <a:pt x="59" y="28"/>
                    <a:pt x="59" y="27"/>
                  </a:cubicBezTo>
                  <a:cubicBezTo>
                    <a:pt x="59" y="26"/>
                    <a:pt x="60" y="25"/>
                    <a:pt x="59" y="24"/>
                  </a:cubicBezTo>
                  <a:cubicBezTo>
                    <a:pt x="58" y="22"/>
                    <a:pt x="57" y="22"/>
                    <a:pt x="57" y="21"/>
                  </a:cubicBezTo>
                  <a:cubicBezTo>
                    <a:pt x="57" y="20"/>
                    <a:pt x="56" y="19"/>
                    <a:pt x="56" y="19"/>
                  </a:cubicBezTo>
                  <a:cubicBezTo>
                    <a:pt x="55" y="19"/>
                    <a:pt x="52" y="19"/>
                    <a:pt x="53" y="18"/>
                  </a:cubicBezTo>
                  <a:cubicBezTo>
                    <a:pt x="54" y="17"/>
                    <a:pt x="55" y="15"/>
                    <a:pt x="55" y="13"/>
                  </a:cubicBezTo>
                  <a:cubicBezTo>
                    <a:pt x="56" y="12"/>
                    <a:pt x="55" y="11"/>
                    <a:pt x="56" y="10"/>
                  </a:cubicBezTo>
                  <a:cubicBezTo>
                    <a:pt x="56" y="10"/>
                    <a:pt x="58" y="8"/>
                    <a:pt x="60" y="7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60" y="6"/>
                    <a:pt x="62" y="5"/>
                    <a:pt x="63" y="4"/>
                  </a:cubicBezTo>
                  <a:cubicBezTo>
                    <a:pt x="64" y="4"/>
                    <a:pt x="66" y="2"/>
                    <a:pt x="65" y="1"/>
                  </a:cubicBezTo>
                  <a:cubicBezTo>
                    <a:pt x="64" y="0"/>
                    <a:pt x="62" y="0"/>
                    <a:pt x="61" y="1"/>
                  </a:cubicBezTo>
                  <a:cubicBezTo>
                    <a:pt x="60" y="2"/>
                    <a:pt x="59" y="3"/>
                    <a:pt x="59" y="3"/>
                  </a:cubicBezTo>
                  <a:cubicBezTo>
                    <a:pt x="58" y="3"/>
                    <a:pt x="57" y="4"/>
                    <a:pt x="57" y="4"/>
                  </a:cubicBezTo>
                  <a:cubicBezTo>
                    <a:pt x="56" y="5"/>
                    <a:pt x="55" y="7"/>
                    <a:pt x="54" y="7"/>
                  </a:cubicBezTo>
                  <a:cubicBezTo>
                    <a:pt x="53" y="7"/>
                    <a:pt x="50" y="6"/>
                    <a:pt x="49" y="7"/>
                  </a:cubicBezTo>
                  <a:cubicBezTo>
                    <a:pt x="48" y="9"/>
                    <a:pt x="48" y="11"/>
                    <a:pt x="47" y="10"/>
                  </a:cubicBezTo>
                  <a:cubicBezTo>
                    <a:pt x="46" y="9"/>
                    <a:pt x="46" y="8"/>
                    <a:pt x="46" y="8"/>
                  </a:cubicBezTo>
                  <a:cubicBezTo>
                    <a:pt x="45" y="8"/>
                    <a:pt x="44" y="8"/>
                    <a:pt x="43" y="9"/>
                  </a:cubicBezTo>
                  <a:cubicBezTo>
                    <a:pt x="43" y="9"/>
                    <a:pt x="41" y="11"/>
                    <a:pt x="41" y="13"/>
                  </a:cubicBezTo>
                  <a:cubicBezTo>
                    <a:pt x="40" y="14"/>
                    <a:pt x="41" y="16"/>
                    <a:pt x="40" y="17"/>
                  </a:cubicBezTo>
                  <a:cubicBezTo>
                    <a:pt x="39" y="18"/>
                    <a:pt x="36" y="20"/>
                    <a:pt x="35" y="22"/>
                  </a:cubicBezTo>
                  <a:cubicBezTo>
                    <a:pt x="34" y="24"/>
                    <a:pt x="34" y="26"/>
                    <a:pt x="34" y="26"/>
                  </a:cubicBezTo>
                  <a:cubicBezTo>
                    <a:pt x="33" y="25"/>
                    <a:pt x="31" y="22"/>
                    <a:pt x="30" y="20"/>
                  </a:cubicBezTo>
                  <a:cubicBezTo>
                    <a:pt x="28" y="19"/>
                    <a:pt x="27" y="18"/>
                    <a:pt x="27" y="19"/>
                  </a:cubicBezTo>
                  <a:cubicBezTo>
                    <a:pt x="27" y="19"/>
                    <a:pt x="25" y="19"/>
                    <a:pt x="24" y="18"/>
                  </a:cubicBezTo>
                  <a:cubicBezTo>
                    <a:pt x="24" y="18"/>
                    <a:pt x="20" y="16"/>
                    <a:pt x="19" y="16"/>
                  </a:cubicBezTo>
                  <a:cubicBezTo>
                    <a:pt x="18" y="16"/>
                    <a:pt x="17" y="17"/>
                    <a:pt x="17" y="17"/>
                  </a:cubicBezTo>
                  <a:cubicBezTo>
                    <a:pt x="16" y="18"/>
                    <a:pt x="13" y="19"/>
                    <a:pt x="13" y="19"/>
                  </a:cubicBezTo>
                  <a:cubicBezTo>
                    <a:pt x="13" y="19"/>
                    <a:pt x="13" y="20"/>
                    <a:pt x="11" y="20"/>
                  </a:cubicBezTo>
                  <a:cubicBezTo>
                    <a:pt x="10" y="21"/>
                    <a:pt x="7" y="21"/>
                    <a:pt x="6" y="20"/>
                  </a:cubicBezTo>
                  <a:cubicBezTo>
                    <a:pt x="6" y="19"/>
                    <a:pt x="4" y="19"/>
                    <a:pt x="3" y="18"/>
                  </a:cubicBezTo>
                  <a:cubicBezTo>
                    <a:pt x="3" y="18"/>
                    <a:pt x="2" y="17"/>
                    <a:pt x="1" y="17"/>
                  </a:cubicBezTo>
                  <a:cubicBezTo>
                    <a:pt x="0" y="17"/>
                    <a:pt x="0" y="18"/>
                    <a:pt x="0" y="18"/>
                  </a:cubicBezTo>
                  <a:cubicBezTo>
                    <a:pt x="0" y="20"/>
                    <a:pt x="1" y="20"/>
                    <a:pt x="1" y="21"/>
                  </a:cubicBezTo>
                  <a:cubicBezTo>
                    <a:pt x="1" y="21"/>
                    <a:pt x="0" y="22"/>
                    <a:pt x="0" y="23"/>
                  </a:cubicBezTo>
                  <a:cubicBezTo>
                    <a:pt x="1" y="23"/>
                    <a:pt x="1" y="23"/>
                    <a:pt x="1" y="24"/>
                  </a:cubicBezTo>
                  <a:cubicBezTo>
                    <a:pt x="3" y="24"/>
                    <a:pt x="6" y="24"/>
                    <a:pt x="7" y="25"/>
                  </a:cubicBezTo>
                  <a:cubicBezTo>
                    <a:pt x="8" y="26"/>
                    <a:pt x="9" y="28"/>
                    <a:pt x="9" y="27"/>
                  </a:cubicBezTo>
                  <a:cubicBezTo>
                    <a:pt x="9" y="27"/>
                    <a:pt x="10" y="26"/>
                    <a:pt x="10" y="27"/>
                  </a:cubicBezTo>
                  <a:cubicBezTo>
                    <a:pt x="10" y="27"/>
                    <a:pt x="10" y="29"/>
                    <a:pt x="12" y="29"/>
                  </a:cubicBezTo>
                  <a:cubicBezTo>
                    <a:pt x="13" y="30"/>
                    <a:pt x="14" y="29"/>
                    <a:pt x="14" y="29"/>
                  </a:cubicBezTo>
                  <a:cubicBezTo>
                    <a:pt x="15" y="28"/>
                    <a:pt x="16" y="28"/>
                    <a:pt x="16" y="27"/>
                  </a:cubicBezTo>
                  <a:cubicBezTo>
                    <a:pt x="15" y="26"/>
                    <a:pt x="13" y="25"/>
                    <a:pt x="14" y="25"/>
                  </a:cubicBezTo>
                  <a:cubicBezTo>
                    <a:pt x="14" y="24"/>
                    <a:pt x="15" y="24"/>
                    <a:pt x="16" y="23"/>
                  </a:cubicBezTo>
                  <a:cubicBezTo>
                    <a:pt x="16" y="23"/>
                    <a:pt x="17" y="21"/>
                    <a:pt x="18" y="20"/>
                  </a:cubicBezTo>
                  <a:cubicBezTo>
                    <a:pt x="19" y="19"/>
                    <a:pt x="20" y="19"/>
                    <a:pt x="21" y="19"/>
                  </a:cubicBezTo>
                  <a:cubicBezTo>
                    <a:pt x="22" y="19"/>
                    <a:pt x="22" y="21"/>
                    <a:pt x="23" y="21"/>
                  </a:cubicBezTo>
                  <a:cubicBezTo>
                    <a:pt x="24" y="21"/>
                    <a:pt x="24" y="21"/>
                    <a:pt x="24" y="22"/>
                  </a:cubicBezTo>
                  <a:cubicBezTo>
                    <a:pt x="24" y="23"/>
                    <a:pt x="26" y="23"/>
                    <a:pt x="26" y="23"/>
                  </a:cubicBezTo>
                  <a:cubicBezTo>
                    <a:pt x="26" y="24"/>
                    <a:pt x="25" y="24"/>
                    <a:pt x="25" y="25"/>
                  </a:cubicBezTo>
                  <a:cubicBezTo>
                    <a:pt x="25" y="26"/>
                    <a:pt x="27" y="29"/>
                    <a:pt x="28" y="30"/>
                  </a:cubicBezTo>
                  <a:cubicBezTo>
                    <a:pt x="29" y="30"/>
                    <a:pt x="31" y="33"/>
                    <a:pt x="31" y="34"/>
                  </a:cubicBezTo>
                  <a:cubicBezTo>
                    <a:pt x="31" y="36"/>
                    <a:pt x="31" y="37"/>
                    <a:pt x="31" y="38"/>
                  </a:cubicBezTo>
                  <a:cubicBezTo>
                    <a:pt x="31" y="40"/>
                    <a:pt x="31" y="45"/>
                    <a:pt x="31" y="46"/>
                  </a:cubicBezTo>
                  <a:cubicBezTo>
                    <a:pt x="30" y="48"/>
                    <a:pt x="32" y="49"/>
                    <a:pt x="32" y="49"/>
                  </a:cubicBezTo>
                  <a:cubicBezTo>
                    <a:pt x="31" y="50"/>
                    <a:pt x="29" y="55"/>
                    <a:pt x="27" y="56"/>
                  </a:cubicBezTo>
                  <a:cubicBezTo>
                    <a:pt x="26" y="56"/>
                    <a:pt x="25" y="56"/>
                    <a:pt x="24" y="57"/>
                  </a:cubicBezTo>
                  <a:cubicBezTo>
                    <a:pt x="23" y="58"/>
                    <a:pt x="24" y="59"/>
                    <a:pt x="23" y="60"/>
                  </a:cubicBezTo>
                  <a:cubicBezTo>
                    <a:pt x="23" y="60"/>
                    <a:pt x="22" y="60"/>
                    <a:pt x="22" y="61"/>
                  </a:cubicBezTo>
                  <a:cubicBezTo>
                    <a:pt x="22" y="61"/>
                    <a:pt x="22" y="61"/>
                    <a:pt x="22" y="62"/>
                  </a:cubicBezTo>
                  <a:cubicBezTo>
                    <a:pt x="23" y="63"/>
                    <a:pt x="24" y="63"/>
                    <a:pt x="25" y="63"/>
                  </a:cubicBezTo>
                  <a:cubicBezTo>
                    <a:pt x="26" y="64"/>
                    <a:pt x="29" y="65"/>
                    <a:pt x="30" y="66"/>
                  </a:cubicBezTo>
                  <a:cubicBezTo>
                    <a:pt x="30" y="68"/>
                    <a:pt x="32" y="68"/>
                    <a:pt x="34" y="68"/>
                  </a:cubicBezTo>
                  <a:cubicBezTo>
                    <a:pt x="36" y="68"/>
                    <a:pt x="36" y="67"/>
                    <a:pt x="37" y="68"/>
                  </a:cubicBezTo>
                  <a:cubicBezTo>
                    <a:pt x="38" y="68"/>
                    <a:pt x="39" y="69"/>
                    <a:pt x="39" y="69"/>
                  </a:cubicBezTo>
                  <a:cubicBezTo>
                    <a:pt x="40" y="70"/>
                    <a:pt x="41" y="70"/>
                    <a:pt x="42" y="70"/>
                  </a:cubicBezTo>
                  <a:cubicBezTo>
                    <a:pt x="44" y="70"/>
                    <a:pt x="44" y="70"/>
                    <a:pt x="46" y="71"/>
                  </a:cubicBezTo>
                  <a:cubicBezTo>
                    <a:pt x="47" y="73"/>
                    <a:pt x="49" y="76"/>
                    <a:pt x="50" y="76"/>
                  </a:cubicBezTo>
                  <a:cubicBezTo>
                    <a:pt x="51" y="77"/>
                    <a:pt x="52" y="80"/>
                    <a:pt x="53" y="81"/>
                  </a:cubicBezTo>
                  <a:cubicBezTo>
                    <a:pt x="54" y="82"/>
                    <a:pt x="55" y="84"/>
                    <a:pt x="56" y="84"/>
                  </a:cubicBezTo>
                  <a:cubicBezTo>
                    <a:pt x="57" y="84"/>
                    <a:pt x="60" y="85"/>
                    <a:pt x="61" y="84"/>
                  </a:cubicBezTo>
                  <a:cubicBezTo>
                    <a:pt x="62" y="83"/>
                    <a:pt x="62" y="83"/>
                    <a:pt x="64" y="83"/>
                  </a:cubicBezTo>
                  <a:cubicBezTo>
                    <a:pt x="65" y="83"/>
                    <a:pt x="65" y="84"/>
                    <a:pt x="66" y="83"/>
                  </a:cubicBezTo>
                  <a:cubicBezTo>
                    <a:pt x="67" y="83"/>
                    <a:pt x="67" y="83"/>
                    <a:pt x="68" y="83"/>
                  </a:cubicBezTo>
                  <a:cubicBezTo>
                    <a:pt x="69" y="84"/>
                    <a:pt x="71" y="84"/>
                    <a:pt x="71" y="85"/>
                  </a:cubicBezTo>
                  <a:cubicBezTo>
                    <a:pt x="71" y="86"/>
                    <a:pt x="70" y="89"/>
                    <a:pt x="69" y="90"/>
                  </a:cubicBezTo>
                  <a:cubicBezTo>
                    <a:pt x="68" y="91"/>
                    <a:pt x="71" y="92"/>
                    <a:pt x="71" y="92"/>
                  </a:cubicBezTo>
                  <a:cubicBezTo>
                    <a:pt x="71" y="92"/>
                    <a:pt x="72" y="94"/>
                    <a:pt x="71" y="94"/>
                  </a:cubicBezTo>
                  <a:cubicBezTo>
                    <a:pt x="73" y="94"/>
                    <a:pt x="73" y="90"/>
                    <a:pt x="73" y="88"/>
                  </a:cubicBezTo>
                  <a:cubicBezTo>
                    <a:pt x="73" y="87"/>
                    <a:pt x="75" y="80"/>
                    <a:pt x="76" y="78"/>
                  </a:cubicBezTo>
                  <a:cubicBezTo>
                    <a:pt x="76" y="76"/>
                    <a:pt x="74" y="74"/>
                    <a:pt x="73" y="73"/>
                  </a:cubicBezTo>
                  <a:cubicBezTo>
                    <a:pt x="72" y="71"/>
                    <a:pt x="72" y="70"/>
                    <a:pt x="72" y="69"/>
                  </a:cubicBezTo>
                  <a:cubicBezTo>
                    <a:pt x="72" y="68"/>
                    <a:pt x="71" y="67"/>
                    <a:pt x="73" y="66"/>
                  </a:cubicBezTo>
                  <a:cubicBezTo>
                    <a:pt x="75" y="66"/>
                    <a:pt x="78" y="65"/>
                    <a:pt x="76" y="65"/>
                  </a:cubicBezTo>
                  <a:cubicBezTo>
                    <a:pt x="74" y="64"/>
                    <a:pt x="73" y="64"/>
                    <a:pt x="73" y="63"/>
                  </a:cubicBezTo>
                  <a:cubicBezTo>
                    <a:pt x="73" y="62"/>
                    <a:pt x="73" y="61"/>
                    <a:pt x="73" y="61"/>
                  </a:cubicBezTo>
                  <a:cubicBezTo>
                    <a:pt x="73" y="61"/>
                    <a:pt x="79" y="62"/>
                    <a:pt x="81" y="61"/>
                  </a:cubicBezTo>
                  <a:cubicBezTo>
                    <a:pt x="84" y="60"/>
                    <a:pt x="87" y="58"/>
                    <a:pt x="87" y="59"/>
                  </a:cubicBezTo>
                  <a:cubicBezTo>
                    <a:pt x="87" y="57"/>
                    <a:pt x="87" y="56"/>
                    <a:pt x="86" y="55"/>
                  </a:cubicBezTo>
                  <a:cubicBezTo>
                    <a:pt x="84" y="54"/>
                    <a:pt x="84" y="54"/>
                    <a:pt x="85" y="53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89" name="Freeform 604">
              <a:extLst>
                <a:ext uri="{FF2B5EF4-FFF2-40B4-BE49-F238E27FC236}">
                  <a16:creationId xmlns:a16="http://schemas.microsoft.com/office/drawing/2014/main" id="{E26CEB67-B4DB-A498-542C-094B3D0C1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463" y="4384410"/>
              <a:ext cx="104134" cy="119874"/>
            </a:xfrm>
            <a:custGeom>
              <a:avLst/>
              <a:gdLst>
                <a:gd name="T0" fmla="*/ 23 w 32"/>
                <a:gd name="T1" fmla="*/ 6 h 37"/>
                <a:gd name="T2" fmla="*/ 19 w 32"/>
                <a:gd name="T3" fmla="*/ 4 h 37"/>
                <a:gd name="T4" fmla="*/ 14 w 32"/>
                <a:gd name="T5" fmla="*/ 1 h 37"/>
                <a:gd name="T6" fmla="*/ 11 w 32"/>
                <a:gd name="T7" fmla="*/ 0 h 37"/>
                <a:gd name="T8" fmla="*/ 11 w 32"/>
                <a:gd name="T9" fmla="*/ 2 h 37"/>
                <a:gd name="T10" fmla="*/ 7 w 32"/>
                <a:gd name="T11" fmla="*/ 3 h 37"/>
                <a:gd name="T12" fmla="*/ 5 w 32"/>
                <a:gd name="T13" fmla="*/ 4 h 37"/>
                <a:gd name="T14" fmla="*/ 5 w 32"/>
                <a:gd name="T15" fmla="*/ 7 h 37"/>
                <a:gd name="T16" fmla="*/ 2 w 32"/>
                <a:gd name="T17" fmla="*/ 10 h 37"/>
                <a:gd name="T18" fmla="*/ 2 w 32"/>
                <a:gd name="T19" fmla="*/ 12 h 37"/>
                <a:gd name="T20" fmla="*/ 1 w 32"/>
                <a:gd name="T21" fmla="*/ 15 h 37"/>
                <a:gd name="T22" fmla="*/ 1 w 32"/>
                <a:gd name="T23" fmla="*/ 18 h 37"/>
                <a:gd name="T24" fmla="*/ 0 w 32"/>
                <a:gd name="T25" fmla="*/ 21 h 37"/>
                <a:gd name="T26" fmla="*/ 3 w 32"/>
                <a:gd name="T27" fmla="*/ 23 h 37"/>
                <a:gd name="T28" fmla="*/ 5 w 32"/>
                <a:gd name="T29" fmla="*/ 21 h 37"/>
                <a:gd name="T30" fmla="*/ 5 w 32"/>
                <a:gd name="T31" fmla="*/ 21 h 37"/>
                <a:gd name="T32" fmla="*/ 6 w 32"/>
                <a:gd name="T33" fmla="*/ 22 h 37"/>
                <a:gd name="T34" fmla="*/ 6 w 32"/>
                <a:gd name="T35" fmla="*/ 23 h 37"/>
                <a:gd name="T36" fmla="*/ 5 w 32"/>
                <a:gd name="T37" fmla="*/ 26 h 37"/>
                <a:gd name="T38" fmla="*/ 4 w 32"/>
                <a:gd name="T39" fmla="*/ 27 h 37"/>
                <a:gd name="T40" fmla="*/ 4 w 32"/>
                <a:gd name="T41" fmla="*/ 29 h 37"/>
                <a:gd name="T42" fmla="*/ 3 w 32"/>
                <a:gd name="T43" fmla="*/ 31 h 37"/>
                <a:gd name="T44" fmla="*/ 6 w 32"/>
                <a:gd name="T45" fmla="*/ 33 h 37"/>
                <a:gd name="T46" fmla="*/ 9 w 32"/>
                <a:gd name="T47" fmla="*/ 35 h 37"/>
                <a:gd name="T48" fmla="*/ 11 w 32"/>
                <a:gd name="T49" fmla="*/ 34 h 37"/>
                <a:gd name="T50" fmla="*/ 15 w 32"/>
                <a:gd name="T51" fmla="*/ 27 h 37"/>
                <a:gd name="T52" fmla="*/ 23 w 32"/>
                <a:gd name="T53" fmla="*/ 23 h 37"/>
                <a:gd name="T54" fmla="*/ 28 w 32"/>
                <a:gd name="T55" fmla="*/ 19 h 37"/>
                <a:gd name="T56" fmla="*/ 30 w 32"/>
                <a:gd name="T57" fmla="*/ 15 h 37"/>
                <a:gd name="T58" fmla="*/ 31 w 32"/>
                <a:gd name="T59" fmla="*/ 12 h 37"/>
                <a:gd name="T60" fmla="*/ 28 w 32"/>
                <a:gd name="T61" fmla="*/ 7 h 37"/>
                <a:gd name="T62" fmla="*/ 26 w 32"/>
                <a:gd name="T63" fmla="*/ 6 h 37"/>
                <a:gd name="T64" fmla="*/ 23 w 32"/>
                <a:gd name="T65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37">
                  <a:moveTo>
                    <a:pt x="23" y="6"/>
                  </a:moveTo>
                  <a:cubicBezTo>
                    <a:pt x="21" y="6"/>
                    <a:pt x="19" y="6"/>
                    <a:pt x="19" y="4"/>
                  </a:cubicBezTo>
                  <a:cubicBezTo>
                    <a:pt x="18" y="3"/>
                    <a:pt x="15" y="2"/>
                    <a:pt x="14" y="1"/>
                  </a:cubicBezTo>
                  <a:cubicBezTo>
                    <a:pt x="13" y="1"/>
                    <a:pt x="12" y="1"/>
                    <a:pt x="11" y="0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0" y="2"/>
                    <a:pt x="8" y="2"/>
                    <a:pt x="7" y="3"/>
                  </a:cubicBezTo>
                  <a:cubicBezTo>
                    <a:pt x="7" y="3"/>
                    <a:pt x="5" y="3"/>
                    <a:pt x="5" y="4"/>
                  </a:cubicBezTo>
                  <a:cubicBezTo>
                    <a:pt x="5" y="5"/>
                    <a:pt x="5" y="7"/>
                    <a:pt x="5" y="7"/>
                  </a:cubicBezTo>
                  <a:cubicBezTo>
                    <a:pt x="4" y="8"/>
                    <a:pt x="2" y="9"/>
                    <a:pt x="2" y="10"/>
                  </a:cubicBezTo>
                  <a:cubicBezTo>
                    <a:pt x="2" y="11"/>
                    <a:pt x="3" y="12"/>
                    <a:pt x="2" y="12"/>
                  </a:cubicBezTo>
                  <a:cubicBezTo>
                    <a:pt x="2" y="12"/>
                    <a:pt x="1" y="14"/>
                    <a:pt x="1" y="15"/>
                  </a:cubicBezTo>
                  <a:cubicBezTo>
                    <a:pt x="0" y="15"/>
                    <a:pt x="1" y="17"/>
                    <a:pt x="1" y="18"/>
                  </a:cubicBezTo>
                  <a:cubicBezTo>
                    <a:pt x="0" y="19"/>
                    <a:pt x="0" y="20"/>
                    <a:pt x="0" y="21"/>
                  </a:cubicBezTo>
                  <a:cubicBezTo>
                    <a:pt x="1" y="22"/>
                    <a:pt x="2" y="23"/>
                    <a:pt x="3" y="23"/>
                  </a:cubicBezTo>
                  <a:cubicBezTo>
                    <a:pt x="3" y="23"/>
                    <a:pt x="5" y="21"/>
                    <a:pt x="5" y="21"/>
                  </a:cubicBezTo>
                  <a:cubicBezTo>
                    <a:pt x="6" y="20"/>
                    <a:pt x="6" y="20"/>
                    <a:pt x="5" y="21"/>
                  </a:cubicBezTo>
                  <a:cubicBezTo>
                    <a:pt x="5" y="21"/>
                    <a:pt x="5" y="22"/>
                    <a:pt x="6" y="22"/>
                  </a:cubicBezTo>
                  <a:cubicBezTo>
                    <a:pt x="6" y="22"/>
                    <a:pt x="7" y="22"/>
                    <a:pt x="6" y="23"/>
                  </a:cubicBezTo>
                  <a:cubicBezTo>
                    <a:pt x="6" y="24"/>
                    <a:pt x="6" y="25"/>
                    <a:pt x="5" y="26"/>
                  </a:cubicBezTo>
                  <a:cubicBezTo>
                    <a:pt x="5" y="27"/>
                    <a:pt x="5" y="27"/>
                    <a:pt x="4" y="27"/>
                  </a:cubicBezTo>
                  <a:cubicBezTo>
                    <a:pt x="4" y="28"/>
                    <a:pt x="4" y="29"/>
                    <a:pt x="4" y="29"/>
                  </a:cubicBezTo>
                  <a:cubicBezTo>
                    <a:pt x="4" y="30"/>
                    <a:pt x="3" y="31"/>
                    <a:pt x="3" y="31"/>
                  </a:cubicBezTo>
                  <a:cubicBezTo>
                    <a:pt x="2" y="31"/>
                    <a:pt x="5" y="33"/>
                    <a:pt x="6" y="33"/>
                  </a:cubicBezTo>
                  <a:cubicBezTo>
                    <a:pt x="7" y="33"/>
                    <a:pt x="8" y="34"/>
                    <a:pt x="9" y="35"/>
                  </a:cubicBezTo>
                  <a:cubicBezTo>
                    <a:pt x="10" y="37"/>
                    <a:pt x="10" y="35"/>
                    <a:pt x="11" y="34"/>
                  </a:cubicBezTo>
                  <a:cubicBezTo>
                    <a:pt x="12" y="33"/>
                    <a:pt x="13" y="29"/>
                    <a:pt x="15" y="27"/>
                  </a:cubicBezTo>
                  <a:cubicBezTo>
                    <a:pt x="17" y="24"/>
                    <a:pt x="21" y="23"/>
                    <a:pt x="23" y="23"/>
                  </a:cubicBezTo>
                  <a:cubicBezTo>
                    <a:pt x="25" y="22"/>
                    <a:pt x="26" y="20"/>
                    <a:pt x="28" y="19"/>
                  </a:cubicBezTo>
                  <a:cubicBezTo>
                    <a:pt x="30" y="17"/>
                    <a:pt x="30" y="15"/>
                    <a:pt x="30" y="15"/>
                  </a:cubicBezTo>
                  <a:cubicBezTo>
                    <a:pt x="31" y="14"/>
                    <a:pt x="31" y="13"/>
                    <a:pt x="31" y="12"/>
                  </a:cubicBezTo>
                  <a:cubicBezTo>
                    <a:pt x="32" y="11"/>
                    <a:pt x="30" y="9"/>
                    <a:pt x="28" y="7"/>
                  </a:cubicBezTo>
                  <a:cubicBezTo>
                    <a:pt x="28" y="7"/>
                    <a:pt x="27" y="6"/>
                    <a:pt x="26" y="6"/>
                  </a:cubicBezTo>
                  <a:cubicBezTo>
                    <a:pt x="25" y="5"/>
                    <a:pt x="25" y="6"/>
                    <a:pt x="23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90" name="Freeform 605">
              <a:extLst>
                <a:ext uri="{FF2B5EF4-FFF2-40B4-BE49-F238E27FC236}">
                  <a16:creationId xmlns:a16="http://schemas.microsoft.com/office/drawing/2014/main" id="{EF2043F1-0810-340B-9660-4ECC2454D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776" y="4407416"/>
              <a:ext cx="230063" cy="336615"/>
            </a:xfrm>
            <a:custGeom>
              <a:avLst/>
              <a:gdLst>
                <a:gd name="T0" fmla="*/ 61 w 71"/>
                <a:gd name="T1" fmla="*/ 21 h 104"/>
                <a:gd name="T2" fmla="*/ 60 w 71"/>
                <a:gd name="T3" fmla="*/ 14 h 104"/>
                <a:gd name="T4" fmla="*/ 56 w 71"/>
                <a:gd name="T5" fmla="*/ 14 h 104"/>
                <a:gd name="T6" fmla="*/ 48 w 71"/>
                <a:gd name="T7" fmla="*/ 15 h 104"/>
                <a:gd name="T8" fmla="*/ 42 w 71"/>
                <a:gd name="T9" fmla="*/ 7 h 104"/>
                <a:gd name="T10" fmla="*/ 34 w 71"/>
                <a:gd name="T11" fmla="*/ 1 h 104"/>
                <a:gd name="T12" fmla="*/ 34 w 71"/>
                <a:gd name="T13" fmla="*/ 5 h 104"/>
                <a:gd name="T14" fmla="*/ 31 w 71"/>
                <a:gd name="T15" fmla="*/ 12 h 104"/>
                <a:gd name="T16" fmla="*/ 18 w 71"/>
                <a:gd name="T17" fmla="*/ 20 h 104"/>
                <a:gd name="T18" fmla="*/ 12 w 71"/>
                <a:gd name="T19" fmla="*/ 28 h 104"/>
                <a:gd name="T20" fmla="*/ 6 w 71"/>
                <a:gd name="T21" fmla="*/ 24 h 104"/>
                <a:gd name="T22" fmla="*/ 7 w 71"/>
                <a:gd name="T23" fmla="*/ 20 h 104"/>
                <a:gd name="T24" fmla="*/ 4 w 71"/>
                <a:gd name="T25" fmla="*/ 23 h 104"/>
                <a:gd name="T26" fmla="*/ 3 w 71"/>
                <a:gd name="T27" fmla="*/ 33 h 104"/>
                <a:gd name="T28" fmla="*/ 9 w 71"/>
                <a:gd name="T29" fmla="*/ 40 h 104"/>
                <a:gd name="T30" fmla="*/ 18 w 71"/>
                <a:gd name="T31" fmla="*/ 57 h 104"/>
                <a:gd name="T32" fmla="*/ 29 w 71"/>
                <a:gd name="T33" fmla="*/ 78 h 104"/>
                <a:gd name="T34" fmla="*/ 33 w 71"/>
                <a:gd name="T35" fmla="*/ 85 h 104"/>
                <a:gd name="T36" fmla="*/ 47 w 71"/>
                <a:gd name="T37" fmla="*/ 93 h 104"/>
                <a:gd name="T38" fmla="*/ 58 w 71"/>
                <a:gd name="T39" fmla="*/ 101 h 104"/>
                <a:gd name="T40" fmla="*/ 62 w 71"/>
                <a:gd name="T41" fmla="*/ 104 h 104"/>
                <a:gd name="T42" fmla="*/ 66 w 71"/>
                <a:gd name="T43" fmla="*/ 99 h 104"/>
                <a:gd name="T44" fmla="*/ 70 w 71"/>
                <a:gd name="T45" fmla="*/ 92 h 104"/>
                <a:gd name="T46" fmla="*/ 68 w 71"/>
                <a:gd name="T47" fmla="*/ 86 h 104"/>
                <a:gd name="T48" fmla="*/ 70 w 71"/>
                <a:gd name="T49" fmla="*/ 80 h 104"/>
                <a:gd name="T50" fmla="*/ 71 w 71"/>
                <a:gd name="T51" fmla="*/ 71 h 104"/>
                <a:gd name="T52" fmla="*/ 66 w 71"/>
                <a:gd name="T53" fmla="*/ 62 h 104"/>
                <a:gd name="T54" fmla="*/ 61 w 71"/>
                <a:gd name="T55" fmla="*/ 62 h 104"/>
                <a:gd name="T56" fmla="*/ 56 w 71"/>
                <a:gd name="T57" fmla="*/ 57 h 104"/>
                <a:gd name="T58" fmla="*/ 49 w 71"/>
                <a:gd name="T59" fmla="*/ 54 h 104"/>
                <a:gd name="T60" fmla="*/ 45 w 71"/>
                <a:gd name="T61" fmla="*/ 48 h 104"/>
                <a:gd name="T62" fmla="*/ 43 w 71"/>
                <a:gd name="T63" fmla="*/ 39 h 104"/>
                <a:gd name="T64" fmla="*/ 47 w 71"/>
                <a:gd name="T65" fmla="*/ 34 h 104"/>
                <a:gd name="T66" fmla="*/ 54 w 71"/>
                <a:gd name="T67" fmla="*/ 27 h 104"/>
                <a:gd name="T68" fmla="*/ 61 w 71"/>
                <a:gd name="T69" fmla="*/ 25 h 104"/>
                <a:gd name="T70" fmla="*/ 63 w 71"/>
                <a:gd name="T71" fmla="*/ 25 h 104"/>
                <a:gd name="T72" fmla="*/ 63 w 71"/>
                <a:gd name="T73" fmla="*/ 2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1" h="104">
                  <a:moveTo>
                    <a:pt x="63" y="23"/>
                  </a:moveTo>
                  <a:cubicBezTo>
                    <a:pt x="63" y="23"/>
                    <a:pt x="60" y="22"/>
                    <a:pt x="61" y="21"/>
                  </a:cubicBezTo>
                  <a:cubicBezTo>
                    <a:pt x="62" y="20"/>
                    <a:pt x="63" y="17"/>
                    <a:pt x="63" y="16"/>
                  </a:cubicBezTo>
                  <a:cubicBezTo>
                    <a:pt x="63" y="15"/>
                    <a:pt x="61" y="15"/>
                    <a:pt x="60" y="14"/>
                  </a:cubicBezTo>
                  <a:cubicBezTo>
                    <a:pt x="59" y="14"/>
                    <a:pt x="59" y="14"/>
                    <a:pt x="58" y="14"/>
                  </a:cubicBezTo>
                  <a:cubicBezTo>
                    <a:pt x="57" y="15"/>
                    <a:pt x="57" y="14"/>
                    <a:pt x="56" y="14"/>
                  </a:cubicBezTo>
                  <a:cubicBezTo>
                    <a:pt x="54" y="14"/>
                    <a:pt x="54" y="14"/>
                    <a:pt x="53" y="15"/>
                  </a:cubicBezTo>
                  <a:cubicBezTo>
                    <a:pt x="52" y="16"/>
                    <a:pt x="49" y="15"/>
                    <a:pt x="48" y="15"/>
                  </a:cubicBezTo>
                  <a:cubicBezTo>
                    <a:pt x="47" y="15"/>
                    <a:pt x="46" y="13"/>
                    <a:pt x="45" y="12"/>
                  </a:cubicBezTo>
                  <a:cubicBezTo>
                    <a:pt x="44" y="11"/>
                    <a:pt x="43" y="8"/>
                    <a:pt x="42" y="7"/>
                  </a:cubicBezTo>
                  <a:cubicBezTo>
                    <a:pt x="41" y="7"/>
                    <a:pt x="39" y="4"/>
                    <a:pt x="38" y="2"/>
                  </a:cubicBezTo>
                  <a:cubicBezTo>
                    <a:pt x="36" y="1"/>
                    <a:pt x="36" y="1"/>
                    <a:pt x="34" y="1"/>
                  </a:cubicBezTo>
                  <a:cubicBezTo>
                    <a:pt x="33" y="1"/>
                    <a:pt x="32" y="1"/>
                    <a:pt x="31" y="0"/>
                  </a:cubicBezTo>
                  <a:cubicBezTo>
                    <a:pt x="33" y="2"/>
                    <a:pt x="35" y="4"/>
                    <a:pt x="34" y="5"/>
                  </a:cubicBezTo>
                  <a:cubicBezTo>
                    <a:pt x="34" y="6"/>
                    <a:pt x="34" y="7"/>
                    <a:pt x="33" y="8"/>
                  </a:cubicBezTo>
                  <a:cubicBezTo>
                    <a:pt x="33" y="8"/>
                    <a:pt x="33" y="10"/>
                    <a:pt x="31" y="12"/>
                  </a:cubicBezTo>
                  <a:cubicBezTo>
                    <a:pt x="29" y="13"/>
                    <a:pt x="28" y="15"/>
                    <a:pt x="26" y="16"/>
                  </a:cubicBezTo>
                  <a:cubicBezTo>
                    <a:pt x="24" y="16"/>
                    <a:pt x="20" y="17"/>
                    <a:pt x="18" y="20"/>
                  </a:cubicBezTo>
                  <a:cubicBezTo>
                    <a:pt x="16" y="22"/>
                    <a:pt x="15" y="26"/>
                    <a:pt x="14" y="27"/>
                  </a:cubicBezTo>
                  <a:cubicBezTo>
                    <a:pt x="13" y="28"/>
                    <a:pt x="13" y="30"/>
                    <a:pt x="12" y="28"/>
                  </a:cubicBezTo>
                  <a:cubicBezTo>
                    <a:pt x="11" y="27"/>
                    <a:pt x="10" y="26"/>
                    <a:pt x="9" y="26"/>
                  </a:cubicBezTo>
                  <a:cubicBezTo>
                    <a:pt x="8" y="26"/>
                    <a:pt x="5" y="24"/>
                    <a:pt x="6" y="24"/>
                  </a:cubicBezTo>
                  <a:cubicBezTo>
                    <a:pt x="6" y="24"/>
                    <a:pt x="7" y="23"/>
                    <a:pt x="7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20"/>
                    <a:pt x="7" y="20"/>
                    <a:pt x="6" y="20"/>
                  </a:cubicBezTo>
                  <a:cubicBezTo>
                    <a:pt x="5" y="21"/>
                    <a:pt x="4" y="22"/>
                    <a:pt x="4" y="23"/>
                  </a:cubicBezTo>
                  <a:cubicBezTo>
                    <a:pt x="3" y="23"/>
                    <a:pt x="0" y="25"/>
                    <a:pt x="1" y="27"/>
                  </a:cubicBezTo>
                  <a:cubicBezTo>
                    <a:pt x="2" y="29"/>
                    <a:pt x="4" y="32"/>
                    <a:pt x="3" y="33"/>
                  </a:cubicBezTo>
                  <a:cubicBezTo>
                    <a:pt x="2" y="33"/>
                    <a:pt x="1" y="33"/>
                    <a:pt x="2" y="34"/>
                  </a:cubicBezTo>
                  <a:cubicBezTo>
                    <a:pt x="2" y="35"/>
                    <a:pt x="7" y="36"/>
                    <a:pt x="9" y="40"/>
                  </a:cubicBezTo>
                  <a:cubicBezTo>
                    <a:pt x="11" y="44"/>
                    <a:pt x="13" y="46"/>
                    <a:pt x="13" y="47"/>
                  </a:cubicBezTo>
                  <a:cubicBezTo>
                    <a:pt x="14" y="48"/>
                    <a:pt x="17" y="55"/>
                    <a:pt x="18" y="57"/>
                  </a:cubicBezTo>
                  <a:cubicBezTo>
                    <a:pt x="19" y="60"/>
                    <a:pt x="27" y="73"/>
                    <a:pt x="28" y="74"/>
                  </a:cubicBezTo>
                  <a:cubicBezTo>
                    <a:pt x="29" y="76"/>
                    <a:pt x="29" y="77"/>
                    <a:pt x="29" y="78"/>
                  </a:cubicBezTo>
                  <a:cubicBezTo>
                    <a:pt x="28" y="78"/>
                    <a:pt x="28" y="77"/>
                    <a:pt x="28" y="78"/>
                  </a:cubicBezTo>
                  <a:cubicBezTo>
                    <a:pt x="28" y="79"/>
                    <a:pt x="33" y="84"/>
                    <a:pt x="33" y="85"/>
                  </a:cubicBezTo>
                  <a:cubicBezTo>
                    <a:pt x="33" y="85"/>
                    <a:pt x="34" y="86"/>
                    <a:pt x="35" y="87"/>
                  </a:cubicBezTo>
                  <a:cubicBezTo>
                    <a:pt x="35" y="88"/>
                    <a:pt x="45" y="92"/>
                    <a:pt x="47" y="93"/>
                  </a:cubicBezTo>
                  <a:cubicBezTo>
                    <a:pt x="48" y="95"/>
                    <a:pt x="56" y="98"/>
                    <a:pt x="56" y="99"/>
                  </a:cubicBezTo>
                  <a:cubicBezTo>
                    <a:pt x="56" y="100"/>
                    <a:pt x="57" y="101"/>
                    <a:pt x="58" y="101"/>
                  </a:cubicBezTo>
                  <a:cubicBezTo>
                    <a:pt x="59" y="102"/>
                    <a:pt x="61" y="103"/>
                    <a:pt x="62" y="10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64" y="104"/>
                    <a:pt x="65" y="102"/>
                    <a:pt x="65" y="101"/>
                  </a:cubicBezTo>
                  <a:cubicBezTo>
                    <a:pt x="65" y="100"/>
                    <a:pt x="66" y="100"/>
                    <a:pt x="66" y="99"/>
                  </a:cubicBezTo>
                  <a:cubicBezTo>
                    <a:pt x="66" y="99"/>
                    <a:pt x="66" y="98"/>
                    <a:pt x="66" y="96"/>
                  </a:cubicBezTo>
                  <a:cubicBezTo>
                    <a:pt x="67" y="95"/>
                    <a:pt x="70" y="93"/>
                    <a:pt x="70" y="92"/>
                  </a:cubicBezTo>
                  <a:cubicBezTo>
                    <a:pt x="70" y="91"/>
                    <a:pt x="69" y="91"/>
                    <a:pt x="68" y="90"/>
                  </a:cubicBezTo>
                  <a:cubicBezTo>
                    <a:pt x="67" y="89"/>
                    <a:pt x="68" y="87"/>
                    <a:pt x="68" y="86"/>
                  </a:cubicBezTo>
                  <a:cubicBezTo>
                    <a:pt x="68" y="85"/>
                    <a:pt x="68" y="84"/>
                    <a:pt x="69" y="83"/>
                  </a:cubicBezTo>
                  <a:cubicBezTo>
                    <a:pt x="70" y="82"/>
                    <a:pt x="70" y="81"/>
                    <a:pt x="70" y="80"/>
                  </a:cubicBezTo>
                  <a:cubicBezTo>
                    <a:pt x="70" y="78"/>
                    <a:pt x="70" y="77"/>
                    <a:pt x="70" y="74"/>
                  </a:cubicBezTo>
                  <a:cubicBezTo>
                    <a:pt x="70" y="71"/>
                    <a:pt x="71" y="71"/>
                    <a:pt x="71" y="71"/>
                  </a:cubicBezTo>
                  <a:cubicBezTo>
                    <a:pt x="71" y="71"/>
                    <a:pt x="69" y="67"/>
                    <a:pt x="69" y="66"/>
                  </a:cubicBezTo>
                  <a:cubicBezTo>
                    <a:pt x="68" y="65"/>
                    <a:pt x="67" y="63"/>
                    <a:pt x="66" y="62"/>
                  </a:cubicBezTo>
                  <a:cubicBezTo>
                    <a:pt x="66" y="62"/>
                    <a:pt x="64" y="63"/>
                    <a:pt x="63" y="63"/>
                  </a:cubicBezTo>
                  <a:cubicBezTo>
                    <a:pt x="62" y="63"/>
                    <a:pt x="61" y="62"/>
                    <a:pt x="61" y="62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58" y="56"/>
                    <a:pt x="56" y="57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50" y="56"/>
                    <a:pt x="50" y="54"/>
                    <a:pt x="49" y="54"/>
                  </a:cubicBezTo>
                  <a:cubicBezTo>
                    <a:pt x="48" y="53"/>
                    <a:pt x="47" y="54"/>
                    <a:pt x="46" y="52"/>
                  </a:cubicBezTo>
                  <a:cubicBezTo>
                    <a:pt x="46" y="51"/>
                    <a:pt x="46" y="49"/>
                    <a:pt x="45" y="48"/>
                  </a:cubicBezTo>
                  <a:cubicBezTo>
                    <a:pt x="45" y="47"/>
                    <a:pt x="43" y="45"/>
                    <a:pt x="42" y="44"/>
                  </a:cubicBezTo>
                  <a:cubicBezTo>
                    <a:pt x="42" y="43"/>
                    <a:pt x="43" y="40"/>
                    <a:pt x="43" y="39"/>
                  </a:cubicBezTo>
                  <a:cubicBezTo>
                    <a:pt x="43" y="38"/>
                    <a:pt x="45" y="38"/>
                    <a:pt x="46" y="37"/>
                  </a:cubicBezTo>
                  <a:cubicBezTo>
                    <a:pt x="47" y="37"/>
                    <a:pt x="47" y="35"/>
                    <a:pt x="47" y="34"/>
                  </a:cubicBezTo>
                  <a:cubicBezTo>
                    <a:pt x="47" y="34"/>
                    <a:pt x="47" y="30"/>
                    <a:pt x="47" y="29"/>
                  </a:cubicBezTo>
                  <a:cubicBezTo>
                    <a:pt x="48" y="29"/>
                    <a:pt x="52" y="27"/>
                    <a:pt x="54" y="27"/>
                  </a:cubicBezTo>
                  <a:cubicBezTo>
                    <a:pt x="56" y="26"/>
                    <a:pt x="57" y="26"/>
                    <a:pt x="58" y="25"/>
                  </a:cubicBezTo>
                  <a:cubicBezTo>
                    <a:pt x="59" y="25"/>
                    <a:pt x="60" y="25"/>
                    <a:pt x="61" y="25"/>
                  </a:cubicBezTo>
                  <a:cubicBezTo>
                    <a:pt x="62" y="25"/>
                    <a:pt x="62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4" y="25"/>
                    <a:pt x="63" y="23"/>
                    <a:pt x="63" y="2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91" name="Freeform 606">
              <a:extLst>
                <a:ext uri="{FF2B5EF4-FFF2-40B4-BE49-F238E27FC236}">
                  <a16:creationId xmlns:a16="http://schemas.microsoft.com/office/drawing/2014/main" id="{715E19AC-3528-23C1-0ECD-DE47E6D14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8909" y="4728290"/>
              <a:ext cx="154990" cy="757990"/>
            </a:xfrm>
            <a:custGeom>
              <a:avLst/>
              <a:gdLst>
                <a:gd name="T0" fmla="*/ 42 w 48"/>
                <a:gd name="T1" fmla="*/ 23 h 234"/>
                <a:gd name="T2" fmla="*/ 39 w 48"/>
                <a:gd name="T3" fmla="*/ 13 h 234"/>
                <a:gd name="T4" fmla="*/ 36 w 48"/>
                <a:gd name="T5" fmla="*/ 3 h 234"/>
                <a:gd name="T6" fmla="*/ 30 w 48"/>
                <a:gd name="T7" fmla="*/ 5 h 234"/>
                <a:gd name="T8" fmla="*/ 29 w 48"/>
                <a:gd name="T9" fmla="*/ 32 h 234"/>
                <a:gd name="T10" fmla="*/ 28 w 48"/>
                <a:gd name="T11" fmla="*/ 50 h 234"/>
                <a:gd name="T12" fmla="*/ 22 w 48"/>
                <a:gd name="T13" fmla="*/ 77 h 234"/>
                <a:gd name="T14" fmla="*/ 22 w 48"/>
                <a:gd name="T15" fmla="*/ 97 h 234"/>
                <a:gd name="T16" fmla="*/ 11 w 48"/>
                <a:gd name="T17" fmla="*/ 122 h 234"/>
                <a:gd name="T18" fmla="*/ 11 w 48"/>
                <a:gd name="T19" fmla="*/ 138 h 234"/>
                <a:gd name="T20" fmla="*/ 15 w 48"/>
                <a:gd name="T21" fmla="*/ 147 h 234"/>
                <a:gd name="T22" fmla="*/ 17 w 48"/>
                <a:gd name="T23" fmla="*/ 151 h 234"/>
                <a:gd name="T24" fmla="*/ 15 w 48"/>
                <a:gd name="T25" fmla="*/ 162 h 234"/>
                <a:gd name="T26" fmla="*/ 13 w 48"/>
                <a:gd name="T27" fmla="*/ 168 h 234"/>
                <a:gd name="T28" fmla="*/ 13 w 48"/>
                <a:gd name="T29" fmla="*/ 172 h 234"/>
                <a:gd name="T30" fmla="*/ 12 w 48"/>
                <a:gd name="T31" fmla="*/ 177 h 234"/>
                <a:gd name="T32" fmla="*/ 7 w 48"/>
                <a:gd name="T33" fmla="*/ 176 h 234"/>
                <a:gd name="T34" fmla="*/ 4 w 48"/>
                <a:gd name="T35" fmla="*/ 178 h 234"/>
                <a:gd name="T36" fmla="*/ 1 w 48"/>
                <a:gd name="T37" fmla="*/ 183 h 234"/>
                <a:gd name="T38" fmla="*/ 5 w 48"/>
                <a:gd name="T39" fmla="*/ 183 h 234"/>
                <a:gd name="T40" fmla="*/ 7 w 48"/>
                <a:gd name="T41" fmla="*/ 187 h 234"/>
                <a:gd name="T42" fmla="*/ 13 w 48"/>
                <a:gd name="T43" fmla="*/ 192 h 234"/>
                <a:gd name="T44" fmla="*/ 7 w 48"/>
                <a:gd name="T45" fmla="*/ 194 h 234"/>
                <a:gd name="T46" fmla="*/ 7 w 48"/>
                <a:gd name="T47" fmla="*/ 200 h 234"/>
                <a:gd name="T48" fmla="*/ 9 w 48"/>
                <a:gd name="T49" fmla="*/ 202 h 234"/>
                <a:gd name="T50" fmla="*/ 9 w 48"/>
                <a:gd name="T51" fmla="*/ 205 h 234"/>
                <a:gd name="T52" fmla="*/ 7 w 48"/>
                <a:gd name="T53" fmla="*/ 208 h 234"/>
                <a:gd name="T54" fmla="*/ 10 w 48"/>
                <a:gd name="T55" fmla="*/ 210 h 234"/>
                <a:gd name="T56" fmla="*/ 9 w 48"/>
                <a:gd name="T57" fmla="*/ 213 h 234"/>
                <a:gd name="T58" fmla="*/ 10 w 48"/>
                <a:gd name="T59" fmla="*/ 214 h 234"/>
                <a:gd name="T60" fmla="*/ 9 w 48"/>
                <a:gd name="T61" fmla="*/ 218 h 234"/>
                <a:gd name="T62" fmla="*/ 13 w 48"/>
                <a:gd name="T63" fmla="*/ 221 h 234"/>
                <a:gd name="T64" fmla="*/ 14 w 48"/>
                <a:gd name="T65" fmla="*/ 217 h 234"/>
                <a:gd name="T66" fmla="*/ 16 w 48"/>
                <a:gd name="T67" fmla="*/ 219 h 234"/>
                <a:gd name="T68" fmla="*/ 17 w 48"/>
                <a:gd name="T69" fmla="*/ 220 h 234"/>
                <a:gd name="T70" fmla="*/ 17 w 48"/>
                <a:gd name="T71" fmla="*/ 224 h 234"/>
                <a:gd name="T72" fmla="*/ 24 w 48"/>
                <a:gd name="T73" fmla="*/ 227 h 234"/>
                <a:gd name="T74" fmla="*/ 18 w 48"/>
                <a:gd name="T75" fmla="*/ 230 h 234"/>
                <a:gd name="T76" fmla="*/ 20 w 48"/>
                <a:gd name="T77" fmla="*/ 232 h 234"/>
                <a:gd name="T78" fmla="*/ 22 w 48"/>
                <a:gd name="T79" fmla="*/ 234 h 234"/>
                <a:gd name="T80" fmla="*/ 26 w 48"/>
                <a:gd name="T81" fmla="*/ 227 h 234"/>
                <a:gd name="T82" fmla="*/ 34 w 48"/>
                <a:gd name="T83" fmla="*/ 222 h 234"/>
                <a:gd name="T84" fmla="*/ 18 w 48"/>
                <a:gd name="T85" fmla="*/ 218 h 234"/>
                <a:gd name="T86" fmla="*/ 12 w 48"/>
                <a:gd name="T87" fmla="*/ 208 h 234"/>
                <a:gd name="T88" fmla="*/ 17 w 48"/>
                <a:gd name="T89" fmla="*/ 194 h 234"/>
                <a:gd name="T90" fmla="*/ 21 w 48"/>
                <a:gd name="T91" fmla="*/ 178 h 234"/>
                <a:gd name="T92" fmla="*/ 24 w 48"/>
                <a:gd name="T93" fmla="*/ 169 h 234"/>
                <a:gd name="T94" fmla="*/ 20 w 48"/>
                <a:gd name="T95" fmla="*/ 151 h 234"/>
                <a:gd name="T96" fmla="*/ 26 w 48"/>
                <a:gd name="T97" fmla="*/ 129 h 234"/>
                <a:gd name="T98" fmla="*/ 29 w 48"/>
                <a:gd name="T99" fmla="*/ 112 h 234"/>
                <a:gd name="T100" fmla="*/ 32 w 48"/>
                <a:gd name="T101" fmla="*/ 95 h 234"/>
                <a:gd name="T102" fmla="*/ 30 w 48"/>
                <a:gd name="T103" fmla="*/ 81 h 234"/>
                <a:gd name="T104" fmla="*/ 32 w 48"/>
                <a:gd name="T105" fmla="*/ 69 h 234"/>
                <a:gd name="T106" fmla="*/ 40 w 48"/>
                <a:gd name="T107" fmla="*/ 56 h 234"/>
                <a:gd name="T108" fmla="*/ 39 w 48"/>
                <a:gd name="T109" fmla="*/ 41 h 234"/>
                <a:gd name="T110" fmla="*/ 48 w 48"/>
                <a:gd name="T111" fmla="*/ 3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" h="234">
                  <a:moveTo>
                    <a:pt x="44" y="31"/>
                  </a:moveTo>
                  <a:cubicBezTo>
                    <a:pt x="43" y="31"/>
                    <a:pt x="43" y="29"/>
                    <a:pt x="43" y="27"/>
                  </a:cubicBezTo>
                  <a:cubicBezTo>
                    <a:pt x="43" y="26"/>
                    <a:pt x="43" y="24"/>
                    <a:pt x="42" y="23"/>
                  </a:cubicBezTo>
                  <a:cubicBezTo>
                    <a:pt x="41" y="22"/>
                    <a:pt x="38" y="18"/>
                    <a:pt x="39" y="17"/>
                  </a:cubicBezTo>
                  <a:cubicBezTo>
                    <a:pt x="39" y="15"/>
                    <a:pt x="40" y="15"/>
                    <a:pt x="40" y="15"/>
                  </a:cubicBezTo>
                  <a:cubicBezTo>
                    <a:pt x="39" y="14"/>
                    <a:pt x="38" y="14"/>
                    <a:pt x="39" y="13"/>
                  </a:cubicBezTo>
                  <a:cubicBezTo>
                    <a:pt x="40" y="12"/>
                    <a:pt x="40" y="12"/>
                    <a:pt x="39" y="11"/>
                  </a:cubicBezTo>
                  <a:cubicBezTo>
                    <a:pt x="38" y="11"/>
                    <a:pt x="37" y="9"/>
                    <a:pt x="37" y="8"/>
                  </a:cubicBezTo>
                  <a:cubicBezTo>
                    <a:pt x="37" y="7"/>
                    <a:pt x="37" y="4"/>
                    <a:pt x="36" y="3"/>
                  </a:cubicBezTo>
                  <a:cubicBezTo>
                    <a:pt x="36" y="3"/>
                    <a:pt x="35" y="2"/>
                    <a:pt x="34" y="0"/>
                  </a:cubicBezTo>
                  <a:cubicBezTo>
                    <a:pt x="34" y="1"/>
                    <a:pt x="33" y="1"/>
                    <a:pt x="33" y="2"/>
                  </a:cubicBezTo>
                  <a:cubicBezTo>
                    <a:pt x="33" y="3"/>
                    <a:pt x="32" y="5"/>
                    <a:pt x="30" y="5"/>
                  </a:cubicBezTo>
                  <a:cubicBezTo>
                    <a:pt x="30" y="6"/>
                    <a:pt x="30" y="9"/>
                    <a:pt x="30" y="11"/>
                  </a:cubicBezTo>
                  <a:cubicBezTo>
                    <a:pt x="30" y="12"/>
                    <a:pt x="31" y="14"/>
                    <a:pt x="31" y="20"/>
                  </a:cubicBezTo>
                  <a:cubicBezTo>
                    <a:pt x="31" y="26"/>
                    <a:pt x="30" y="31"/>
                    <a:pt x="29" y="32"/>
                  </a:cubicBezTo>
                  <a:cubicBezTo>
                    <a:pt x="28" y="33"/>
                    <a:pt x="28" y="34"/>
                    <a:pt x="28" y="34"/>
                  </a:cubicBezTo>
                  <a:cubicBezTo>
                    <a:pt x="28" y="35"/>
                    <a:pt x="29" y="40"/>
                    <a:pt x="29" y="43"/>
                  </a:cubicBezTo>
                  <a:cubicBezTo>
                    <a:pt x="28" y="46"/>
                    <a:pt x="28" y="49"/>
                    <a:pt x="28" y="50"/>
                  </a:cubicBezTo>
                  <a:cubicBezTo>
                    <a:pt x="27" y="52"/>
                    <a:pt x="24" y="65"/>
                    <a:pt x="23" y="67"/>
                  </a:cubicBezTo>
                  <a:cubicBezTo>
                    <a:pt x="23" y="69"/>
                    <a:pt x="25" y="73"/>
                    <a:pt x="24" y="74"/>
                  </a:cubicBezTo>
                  <a:cubicBezTo>
                    <a:pt x="24" y="75"/>
                    <a:pt x="22" y="76"/>
                    <a:pt x="22" y="77"/>
                  </a:cubicBezTo>
                  <a:cubicBezTo>
                    <a:pt x="22" y="78"/>
                    <a:pt x="23" y="87"/>
                    <a:pt x="23" y="89"/>
                  </a:cubicBezTo>
                  <a:cubicBezTo>
                    <a:pt x="23" y="90"/>
                    <a:pt x="22" y="93"/>
                    <a:pt x="22" y="94"/>
                  </a:cubicBezTo>
                  <a:cubicBezTo>
                    <a:pt x="22" y="95"/>
                    <a:pt x="22" y="96"/>
                    <a:pt x="22" y="97"/>
                  </a:cubicBezTo>
                  <a:cubicBezTo>
                    <a:pt x="21" y="99"/>
                    <a:pt x="15" y="114"/>
                    <a:pt x="14" y="116"/>
                  </a:cubicBezTo>
                  <a:cubicBezTo>
                    <a:pt x="13" y="118"/>
                    <a:pt x="12" y="118"/>
                    <a:pt x="12" y="119"/>
                  </a:cubicBezTo>
                  <a:cubicBezTo>
                    <a:pt x="11" y="119"/>
                    <a:pt x="10" y="121"/>
                    <a:pt x="11" y="122"/>
                  </a:cubicBezTo>
                  <a:cubicBezTo>
                    <a:pt x="11" y="123"/>
                    <a:pt x="12" y="127"/>
                    <a:pt x="13" y="128"/>
                  </a:cubicBezTo>
                  <a:cubicBezTo>
                    <a:pt x="13" y="130"/>
                    <a:pt x="14" y="133"/>
                    <a:pt x="13" y="134"/>
                  </a:cubicBezTo>
                  <a:cubicBezTo>
                    <a:pt x="12" y="135"/>
                    <a:pt x="11" y="136"/>
                    <a:pt x="11" y="138"/>
                  </a:cubicBezTo>
                  <a:cubicBezTo>
                    <a:pt x="10" y="139"/>
                    <a:pt x="9" y="143"/>
                    <a:pt x="9" y="145"/>
                  </a:cubicBezTo>
                  <a:cubicBezTo>
                    <a:pt x="9" y="146"/>
                    <a:pt x="11" y="148"/>
                    <a:pt x="12" y="148"/>
                  </a:cubicBezTo>
                  <a:cubicBezTo>
                    <a:pt x="13" y="149"/>
                    <a:pt x="13" y="147"/>
                    <a:pt x="15" y="147"/>
                  </a:cubicBezTo>
                  <a:cubicBezTo>
                    <a:pt x="16" y="147"/>
                    <a:pt x="19" y="147"/>
                    <a:pt x="18" y="147"/>
                  </a:cubicBezTo>
                  <a:cubicBezTo>
                    <a:pt x="18" y="148"/>
                    <a:pt x="15" y="149"/>
                    <a:pt x="16" y="150"/>
                  </a:cubicBezTo>
                  <a:cubicBezTo>
                    <a:pt x="17" y="150"/>
                    <a:pt x="17" y="151"/>
                    <a:pt x="17" y="151"/>
                  </a:cubicBezTo>
                  <a:cubicBezTo>
                    <a:pt x="16" y="152"/>
                    <a:pt x="16" y="152"/>
                    <a:pt x="16" y="153"/>
                  </a:cubicBezTo>
                  <a:cubicBezTo>
                    <a:pt x="15" y="155"/>
                    <a:pt x="14" y="158"/>
                    <a:pt x="14" y="159"/>
                  </a:cubicBezTo>
                  <a:cubicBezTo>
                    <a:pt x="14" y="160"/>
                    <a:pt x="15" y="162"/>
                    <a:pt x="15" y="162"/>
                  </a:cubicBezTo>
                  <a:cubicBezTo>
                    <a:pt x="15" y="163"/>
                    <a:pt x="13" y="164"/>
                    <a:pt x="13" y="165"/>
                  </a:cubicBezTo>
                  <a:cubicBezTo>
                    <a:pt x="13" y="165"/>
                    <a:pt x="16" y="167"/>
                    <a:pt x="16" y="167"/>
                  </a:cubicBezTo>
                  <a:cubicBezTo>
                    <a:pt x="15" y="167"/>
                    <a:pt x="13" y="168"/>
                    <a:pt x="13" y="168"/>
                  </a:cubicBezTo>
                  <a:cubicBezTo>
                    <a:pt x="13" y="169"/>
                    <a:pt x="13" y="169"/>
                    <a:pt x="13" y="169"/>
                  </a:cubicBezTo>
                  <a:cubicBezTo>
                    <a:pt x="13" y="170"/>
                    <a:pt x="13" y="170"/>
                    <a:pt x="13" y="170"/>
                  </a:cubicBezTo>
                  <a:cubicBezTo>
                    <a:pt x="12" y="171"/>
                    <a:pt x="12" y="172"/>
                    <a:pt x="13" y="172"/>
                  </a:cubicBezTo>
                  <a:cubicBezTo>
                    <a:pt x="14" y="173"/>
                    <a:pt x="15" y="173"/>
                    <a:pt x="13" y="173"/>
                  </a:cubicBezTo>
                  <a:cubicBezTo>
                    <a:pt x="12" y="173"/>
                    <a:pt x="11" y="174"/>
                    <a:pt x="11" y="175"/>
                  </a:cubicBezTo>
                  <a:cubicBezTo>
                    <a:pt x="11" y="175"/>
                    <a:pt x="12" y="176"/>
                    <a:pt x="12" y="177"/>
                  </a:cubicBezTo>
                  <a:cubicBezTo>
                    <a:pt x="12" y="178"/>
                    <a:pt x="12" y="179"/>
                    <a:pt x="11" y="180"/>
                  </a:cubicBezTo>
                  <a:cubicBezTo>
                    <a:pt x="10" y="181"/>
                    <a:pt x="10" y="179"/>
                    <a:pt x="9" y="179"/>
                  </a:cubicBezTo>
                  <a:cubicBezTo>
                    <a:pt x="9" y="178"/>
                    <a:pt x="7" y="177"/>
                    <a:pt x="7" y="176"/>
                  </a:cubicBezTo>
                  <a:cubicBezTo>
                    <a:pt x="7" y="175"/>
                    <a:pt x="7" y="175"/>
                    <a:pt x="6" y="175"/>
                  </a:cubicBezTo>
                  <a:cubicBezTo>
                    <a:pt x="6" y="175"/>
                    <a:pt x="4" y="176"/>
                    <a:pt x="4" y="177"/>
                  </a:cubicBezTo>
                  <a:cubicBezTo>
                    <a:pt x="3" y="177"/>
                    <a:pt x="4" y="178"/>
                    <a:pt x="4" y="178"/>
                  </a:cubicBezTo>
                  <a:cubicBezTo>
                    <a:pt x="4" y="179"/>
                    <a:pt x="4" y="179"/>
                    <a:pt x="3" y="179"/>
                  </a:cubicBezTo>
                  <a:cubicBezTo>
                    <a:pt x="1" y="180"/>
                    <a:pt x="0" y="181"/>
                    <a:pt x="0" y="182"/>
                  </a:cubicBezTo>
                  <a:cubicBezTo>
                    <a:pt x="0" y="183"/>
                    <a:pt x="0" y="183"/>
                    <a:pt x="1" y="183"/>
                  </a:cubicBezTo>
                  <a:cubicBezTo>
                    <a:pt x="1" y="183"/>
                    <a:pt x="0" y="182"/>
                    <a:pt x="1" y="182"/>
                  </a:cubicBezTo>
                  <a:cubicBezTo>
                    <a:pt x="1" y="181"/>
                    <a:pt x="2" y="181"/>
                    <a:pt x="3" y="182"/>
                  </a:cubicBezTo>
                  <a:cubicBezTo>
                    <a:pt x="4" y="183"/>
                    <a:pt x="5" y="183"/>
                    <a:pt x="5" y="183"/>
                  </a:cubicBezTo>
                  <a:cubicBezTo>
                    <a:pt x="6" y="183"/>
                    <a:pt x="7" y="182"/>
                    <a:pt x="7" y="182"/>
                  </a:cubicBezTo>
                  <a:cubicBezTo>
                    <a:pt x="8" y="182"/>
                    <a:pt x="9" y="184"/>
                    <a:pt x="8" y="185"/>
                  </a:cubicBezTo>
                  <a:cubicBezTo>
                    <a:pt x="8" y="186"/>
                    <a:pt x="7" y="186"/>
                    <a:pt x="7" y="187"/>
                  </a:cubicBezTo>
                  <a:cubicBezTo>
                    <a:pt x="7" y="188"/>
                    <a:pt x="6" y="189"/>
                    <a:pt x="6" y="189"/>
                  </a:cubicBezTo>
                  <a:cubicBezTo>
                    <a:pt x="6" y="190"/>
                    <a:pt x="9" y="190"/>
                    <a:pt x="9" y="189"/>
                  </a:cubicBezTo>
                  <a:cubicBezTo>
                    <a:pt x="10" y="189"/>
                    <a:pt x="13" y="190"/>
                    <a:pt x="13" y="192"/>
                  </a:cubicBezTo>
                  <a:cubicBezTo>
                    <a:pt x="12" y="194"/>
                    <a:pt x="12" y="193"/>
                    <a:pt x="11" y="192"/>
                  </a:cubicBezTo>
                  <a:cubicBezTo>
                    <a:pt x="10" y="192"/>
                    <a:pt x="8" y="191"/>
                    <a:pt x="7" y="192"/>
                  </a:cubicBezTo>
                  <a:cubicBezTo>
                    <a:pt x="7" y="192"/>
                    <a:pt x="6" y="193"/>
                    <a:pt x="7" y="194"/>
                  </a:cubicBezTo>
                  <a:cubicBezTo>
                    <a:pt x="8" y="194"/>
                    <a:pt x="8" y="195"/>
                    <a:pt x="8" y="196"/>
                  </a:cubicBezTo>
                  <a:cubicBezTo>
                    <a:pt x="7" y="196"/>
                    <a:pt x="7" y="197"/>
                    <a:pt x="7" y="198"/>
                  </a:cubicBezTo>
                  <a:cubicBezTo>
                    <a:pt x="7" y="198"/>
                    <a:pt x="6" y="200"/>
                    <a:pt x="7" y="200"/>
                  </a:cubicBezTo>
                  <a:cubicBezTo>
                    <a:pt x="7" y="201"/>
                    <a:pt x="8" y="200"/>
                    <a:pt x="8" y="199"/>
                  </a:cubicBezTo>
                  <a:cubicBezTo>
                    <a:pt x="8" y="198"/>
                    <a:pt x="9" y="198"/>
                    <a:pt x="9" y="199"/>
                  </a:cubicBezTo>
                  <a:cubicBezTo>
                    <a:pt x="9" y="200"/>
                    <a:pt x="8" y="202"/>
                    <a:pt x="9" y="202"/>
                  </a:cubicBezTo>
                  <a:cubicBezTo>
                    <a:pt x="10" y="202"/>
                    <a:pt x="10" y="202"/>
                    <a:pt x="9" y="203"/>
                  </a:cubicBezTo>
                  <a:cubicBezTo>
                    <a:pt x="8" y="203"/>
                    <a:pt x="7" y="203"/>
                    <a:pt x="8" y="204"/>
                  </a:cubicBezTo>
                  <a:cubicBezTo>
                    <a:pt x="8" y="205"/>
                    <a:pt x="9" y="205"/>
                    <a:pt x="9" y="205"/>
                  </a:cubicBezTo>
                  <a:cubicBezTo>
                    <a:pt x="9" y="206"/>
                    <a:pt x="9" y="206"/>
                    <a:pt x="8" y="206"/>
                  </a:cubicBezTo>
                  <a:cubicBezTo>
                    <a:pt x="7" y="206"/>
                    <a:pt x="6" y="207"/>
                    <a:pt x="7" y="207"/>
                  </a:cubicBezTo>
                  <a:cubicBezTo>
                    <a:pt x="7" y="208"/>
                    <a:pt x="7" y="208"/>
                    <a:pt x="7" y="208"/>
                  </a:cubicBezTo>
                  <a:cubicBezTo>
                    <a:pt x="6" y="209"/>
                    <a:pt x="8" y="209"/>
                    <a:pt x="8" y="210"/>
                  </a:cubicBezTo>
                  <a:cubicBezTo>
                    <a:pt x="9" y="210"/>
                    <a:pt x="9" y="210"/>
                    <a:pt x="10" y="210"/>
                  </a:cubicBezTo>
                  <a:cubicBezTo>
                    <a:pt x="10" y="209"/>
                    <a:pt x="11" y="209"/>
                    <a:pt x="10" y="210"/>
                  </a:cubicBezTo>
                  <a:cubicBezTo>
                    <a:pt x="10" y="210"/>
                    <a:pt x="10" y="211"/>
                    <a:pt x="10" y="211"/>
                  </a:cubicBezTo>
                  <a:cubicBezTo>
                    <a:pt x="11" y="210"/>
                    <a:pt x="11" y="211"/>
                    <a:pt x="10" y="211"/>
                  </a:cubicBezTo>
                  <a:cubicBezTo>
                    <a:pt x="9" y="212"/>
                    <a:pt x="10" y="212"/>
                    <a:pt x="9" y="213"/>
                  </a:cubicBezTo>
                  <a:cubicBezTo>
                    <a:pt x="8" y="213"/>
                    <a:pt x="8" y="214"/>
                    <a:pt x="8" y="214"/>
                  </a:cubicBezTo>
                  <a:cubicBezTo>
                    <a:pt x="8" y="215"/>
                    <a:pt x="7" y="216"/>
                    <a:pt x="8" y="216"/>
                  </a:cubicBezTo>
                  <a:cubicBezTo>
                    <a:pt x="8" y="215"/>
                    <a:pt x="9" y="215"/>
                    <a:pt x="10" y="214"/>
                  </a:cubicBezTo>
                  <a:cubicBezTo>
                    <a:pt x="11" y="214"/>
                    <a:pt x="11" y="213"/>
                    <a:pt x="11" y="214"/>
                  </a:cubicBezTo>
                  <a:cubicBezTo>
                    <a:pt x="10" y="215"/>
                    <a:pt x="12" y="216"/>
                    <a:pt x="11" y="217"/>
                  </a:cubicBezTo>
                  <a:cubicBezTo>
                    <a:pt x="10" y="217"/>
                    <a:pt x="9" y="217"/>
                    <a:pt x="9" y="218"/>
                  </a:cubicBezTo>
                  <a:cubicBezTo>
                    <a:pt x="8" y="218"/>
                    <a:pt x="7" y="218"/>
                    <a:pt x="8" y="218"/>
                  </a:cubicBezTo>
                  <a:cubicBezTo>
                    <a:pt x="10" y="218"/>
                    <a:pt x="10" y="218"/>
                    <a:pt x="11" y="219"/>
                  </a:cubicBezTo>
                  <a:cubicBezTo>
                    <a:pt x="12" y="221"/>
                    <a:pt x="12" y="221"/>
                    <a:pt x="13" y="221"/>
                  </a:cubicBezTo>
                  <a:cubicBezTo>
                    <a:pt x="13" y="220"/>
                    <a:pt x="14" y="219"/>
                    <a:pt x="14" y="218"/>
                  </a:cubicBezTo>
                  <a:cubicBezTo>
                    <a:pt x="14" y="218"/>
                    <a:pt x="14" y="216"/>
                    <a:pt x="14" y="216"/>
                  </a:cubicBezTo>
                  <a:cubicBezTo>
                    <a:pt x="14" y="217"/>
                    <a:pt x="14" y="217"/>
                    <a:pt x="14" y="217"/>
                  </a:cubicBezTo>
                  <a:cubicBezTo>
                    <a:pt x="15" y="218"/>
                    <a:pt x="15" y="219"/>
                    <a:pt x="15" y="219"/>
                  </a:cubicBezTo>
                  <a:cubicBezTo>
                    <a:pt x="15" y="218"/>
                    <a:pt x="16" y="217"/>
                    <a:pt x="16" y="217"/>
                  </a:cubicBezTo>
                  <a:cubicBezTo>
                    <a:pt x="16" y="218"/>
                    <a:pt x="15" y="219"/>
                    <a:pt x="16" y="219"/>
                  </a:cubicBezTo>
                  <a:cubicBezTo>
                    <a:pt x="16" y="218"/>
                    <a:pt x="17" y="217"/>
                    <a:pt x="17" y="217"/>
                  </a:cubicBezTo>
                  <a:cubicBezTo>
                    <a:pt x="17" y="218"/>
                    <a:pt x="18" y="217"/>
                    <a:pt x="17" y="218"/>
                  </a:cubicBezTo>
                  <a:cubicBezTo>
                    <a:pt x="17" y="219"/>
                    <a:pt x="16" y="220"/>
                    <a:pt x="17" y="220"/>
                  </a:cubicBezTo>
                  <a:cubicBezTo>
                    <a:pt x="17" y="220"/>
                    <a:pt x="16" y="220"/>
                    <a:pt x="17" y="221"/>
                  </a:cubicBezTo>
                  <a:cubicBezTo>
                    <a:pt x="17" y="221"/>
                    <a:pt x="18" y="222"/>
                    <a:pt x="17" y="222"/>
                  </a:cubicBezTo>
                  <a:cubicBezTo>
                    <a:pt x="17" y="223"/>
                    <a:pt x="16" y="224"/>
                    <a:pt x="17" y="224"/>
                  </a:cubicBezTo>
                  <a:cubicBezTo>
                    <a:pt x="17" y="224"/>
                    <a:pt x="21" y="224"/>
                    <a:pt x="22" y="224"/>
                  </a:cubicBezTo>
                  <a:cubicBezTo>
                    <a:pt x="22" y="225"/>
                    <a:pt x="23" y="226"/>
                    <a:pt x="23" y="226"/>
                  </a:cubicBezTo>
                  <a:cubicBezTo>
                    <a:pt x="24" y="226"/>
                    <a:pt x="25" y="227"/>
                    <a:pt x="24" y="227"/>
                  </a:cubicBezTo>
                  <a:cubicBezTo>
                    <a:pt x="24" y="228"/>
                    <a:pt x="22" y="229"/>
                    <a:pt x="22" y="230"/>
                  </a:cubicBezTo>
                  <a:cubicBezTo>
                    <a:pt x="21" y="230"/>
                    <a:pt x="20" y="230"/>
                    <a:pt x="20" y="230"/>
                  </a:cubicBezTo>
                  <a:cubicBezTo>
                    <a:pt x="19" y="230"/>
                    <a:pt x="18" y="230"/>
                    <a:pt x="18" y="230"/>
                  </a:cubicBezTo>
                  <a:cubicBezTo>
                    <a:pt x="17" y="230"/>
                    <a:pt x="16" y="231"/>
                    <a:pt x="17" y="231"/>
                  </a:cubicBezTo>
                  <a:cubicBezTo>
                    <a:pt x="17" y="231"/>
                    <a:pt x="17" y="232"/>
                    <a:pt x="18" y="232"/>
                  </a:cubicBezTo>
                  <a:cubicBezTo>
                    <a:pt x="19" y="232"/>
                    <a:pt x="20" y="232"/>
                    <a:pt x="20" y="232"/>
                  </a:cubicBezTo>
                  <a:cubicBezTo>
                    <a:pt x="19" y="232"/>
                    <a:pt x="18" y="233"/>
                    <a:pt x="19" y="233"/>
                  </a:cubicBezTo>
                  <a:cubicBezTo>
                    <a:pt x="20" y="233"/>
                    <a:pt x="20" y="234"/>
                    <a:pt x="21" y="234"/>
                  </a:cubicBezTo>
                  <a:cubicBezTo>
                    <a:pt x="22" y="233"/>
                    <a:pt x="22" y="234"/>
                    <a:pt x="22" y="234"/>
                  </a:cubicBezTo>
                  <a:cubicBezTo>
                    <a:pt x="22" y="234"/>
                    <a:pt x="22" y="234"/>
                    <a:pt x="23" y="234"/>
                  </a:cubicBezTo>
                  <a:cubicBezTo>
                    <a:pt x="24" y="234"/>
                    <a:pt x="25" y="234"/>
                    <a:pt x="26" y="233"/>
                  </a:cubicBezTo>
                  <a:cubicBezTo>
                    <a:pt x="26" y="232"/>
                    <a:pt x="25" y="229"/>
                    <a:pt x="26" y="227"/>
                  </a:cubicBezTo>
                  <a:cubicBezTo>
                    <a:pt x="28" y="225"/>
                    <a:pt x="28" y="226"/>
                    <a:pt x="30" y="225"/>
                  </a:cubicBezTo>
                  <a:cubicBezTo>
                    <a:pt x="31" y="225"/>
                    <a:pt x="34" y="224"/>
                    <a:pt x="34" y="223"/>
                  </a:cubicBezTo>
                  <a:cubicBezTo>
                    <a:pt x="34" y="223"/>
                    <a:pt x="34" y="222"/>
                    <a:pt x="34" y="222"/>
                  </a:cubicBezTo>
                  <a:cubicBezTo>
                    <a:pt x="34" y="221"/>
                    <a:pt x="33" y="221"/>
                    <a:pt x="33" y="221"/>
                  </a:cubicBezTo>
                  <a:cubicBezTo>
                    <a:pt x="32" y="221"/>
                    <a:pt x="21" y="221"/>
                    <a:pt x="21" y="221"/>
                  </a:cubicBezTo>
                  <a:cubicBezTo>
                    <a:pt x="18" y="218"/>
                    <a:pt x="18" y="218"/>
                    <a:pt x="18" y="218"/>
                  </a:cubicBezTo>
                  <a:cubicBezTo>
                    <a:pt x="18" y="211"/>
                    <a:pt x="18" y="211"/>
                    <a:pt x="18" y="211"/>
                  </a:cubicBezTo>
                  <a:cubicBezTo>
                    <a:pt x="13" y="211"/>
                    <a:pt x="13" y="211"/>
                    <a:pt x="13" y="211"/>
                  </a:cubicBezTo>
                  <a:cubicBezTo>
                    <a:pt x="13" y="211"/>
                    <a:pt x="13" y="209"/>
                    <a:pt x="12" y="208"/>
                  </a:cubicBezTo>
                  <a:cubicBezTo>
                    <a:pt x="12" y="206"/>
                    <a:pt x="11" y="204"/>
                    <a:pt x="11" y="202"/>
                  </a:cubicBezTo>
                  <a:cubicBezTo>
                    <a:pt x="11" y="200"/>
                    <a:pt x="13" y="199"/>
                    <a:pt x="14" y="198"/>
                  </a:cubicBezTo>
                  <a:cubicBezTo>
                    <a:pt x="16" y="198"/>
                    <a:pt x="16" y="195"/>
                    <a:pt x="17" y="194"/>
                  </a:cubicBezTo>
                  <a:cubicBezTo>
                    <a:pt x="19" y="194"/>
                    <a:pt x="17" y="190"/>
                    <a:pt x="17" y="188"/>
                  </a:cubicBezTo>
                  <a:cubicBezTo>
                    <a:pt x="18" y="187"/>
                    <a:pt x="19" y="186"/>
                    <a:pt x="20" y="184"/>
                  </a:cubicBezTo>
                  <a:cubicBezTo>
                    <a:pt x="21" y="183"/>
                    <a:pt x="21" y="180"/>
                    <a:pt x="21" y="178"/>
                  </a:cubicBezTo>
                  <a:cubicBezTo>
                    <a:pt x="21" y="175"/>
                    <a:pt x="23" y="174"/>
                    <a:pt x="24" y="173"/>
                  </a:cubicBezTo>
                  <a:cubicBezTo>
                    <a:pt x="24" y="173"/>
                    <a:pt x="23" y="171"/>
                    <a:pt x="21" y="171"/>
                  </a:cubicBezTo>
                  <a:cubicBezTo>
                    <a:pt x="19" y="170"/>
                    <a:pt x="21" y="169"/>
                    <a:pt x="24" y="169"/>
                  </a:cubicBezTo>
                  <a:cubicBezTo>
                    <a:pt x="26" y="169"/>
                    <a:pt x="23" y="166"/>
                    <a:pt x="21" y="166"/>
                  </a:cubicBezTo>
                  <a:cubicBezTo>
                    <a:pt x="20" y="166"/>
                    <a:pt x="20" y="158"/>
                    <a:pt x="20" y="156"/>
                  </a:cubicBezTo>
                  <a:cubicBezTo>
                    <a:pt x="20" y="155"/>
                    <a:pt x="20" y="154"/>
                    <a:pt x="20" y="151"/>
                  </a:cubicBezTo>
                  <a:cubicBezTo>
                    <a:pt x="20" y="147"/>
                    <a:pt x="20" y="143"/>
                    <a:pt x="21" y="141"/>
                  </a:cubicBezTo>
                  <a:cubicBezTo>
                    <a:pt x="22" y="139"/>
                    <a:pt x="23" y="135"/>
                    <a:pt x="23" y="133"/>
                  </a:cubicBezTo>
                  <a:cubicBezTo>
                    <a:pt x="23" y="132"/>
                    <a:pt x="24" y="130"/>
                    <a:pt x="26" y="129"/>
                  </a:cubicBezTo>
                  <a:cubicBezTo>
                    <a:pt x="27" y="129"/>
                    <a:pt x="26" y="127"/>
                    <a:pt x="26" y="125"/>
                  </a:cubicBezTo>
                  <a:cubicBezTo>
                    <a:pt x="26" y="122"/>
                    <a:pt x="24" y="120"/>
                    <a:pt x="24" y="118"/>
                  </a:cubicBezTo>
                  <a:cubicBezTo>
                    <a:pt x="24" y="115"/>
                    <a:pt x="28" y="114"/>
                    <a:pt x="29" y="112"/>
                  </a:cubicBezTo>
                  <a:cubicBezTo>
                    <a:pt x="30" y="111"/>
                    <a:pt x="29" y="109"/>
                    <a:pt x="29" y="108"/>
                  </a:cubicBezTo>
                  <a:cubicBezTo>
                    <a:pt x="28" y="106"/>
                    <a:pt x="29" y="103"/>
                    <a:pt x="30" y="101"/>
                  </a:cubicBezTo>
                  <a:cubicBezTo>
                    <a:pt x="31" y="99"/>
                    <a:pt x="32" y="98"/>
                    <a:pt x="32" y="95"/>
                  </a:cubicBezTo>
                  <a:cubicBezTo>
                    <a:pt x="32" y="93"/>
                    <a:pt x="31" y="93"/>
                    <a:pt x="31" y="92"/>
                  </a:cubicBezTo>
                  <a:cubicBezTo>
                    <a:pt x="31" y="90"/>
                    <a:pt x="30" y="85"/>
                    <a:pt x="29" y="83"/>
                  </a:cubicBezTo>
                  <a:cubicBezTo>
                    <a:pt x="28" y="82"/>
                    <a:pt x="29" y="82"/>
                    <a:pt x="30" y="81"/>
                  </a:cubicBezTo>
                  <a:cubicBezTo>
                    <a:pt x="30" y="80"/>
                    <a:pt x="30" y="78"/>
                    <a:pt x="31" y="77"/>
                  </a:cubicBezTo>
                  <a:cubicBezTo>
                    <a:pt x="32" y="76"/>
                    <a:pt x="31" y="74"/>
                    <a:pt x="31" y="72"/>
                  </a:cubicBezTo>
                  <a:cubicBezTo>
                    <a:pt x="31" y="71"/>
                    <a:pt x="31" y="70"/>
                    <a:pt x="32" y="69"/>
                  </a:cubicBezTo>
                  <a:cubicBezTo>
                    <a:pt x="33" y="68"/>
                    <a:pt x="33" y="66"/>
                    <a:pt x="33" y="65"/>
                  </a:cubicBezTo>
                  <a:cubicBezTo>
                    <a:pt x="33" y="64"/>
                    <a:pt x="35" y="61"/>
                    <a:pt x="36" y="60"/>
                  </a:cubicBezTo>
                  <a:cubicBezTo>
                    <a:pt x="37" y="59"/>
                    <a:pt x="39" y="56"/>
                    <a:pt x="40" y="56"/>
                  </a:cubicBezTo>
                  <a:cubicBezTo>
                    <a:pt x="41" y="55"/>
                    <a:pt x="40" y="54"/>
                    <a:pt x="40" y="53"/>
                  </a:cubicBezTo>
                  <a:cubicBezTo>
                    <a:pt x="39" y="52"/>
                    <a:pt x="39" y="51"/>
                    <a:pt x="39" y="49"/>
                  </a:cubicBezTo>
                  <a:cubicBezTo>
                    <a:pt x="39" y="48"/>
                    <a:pt x="39" y="42"/>
                    <a:pt x="39" y="41"/>
                  </a:cubicBezTo>
                  <a:cubicBezTo>
                    <a:pt x="39" y="40"/>
                    <a:pt x="45" y="38"/>
                    <a:pt x="46" y="38"/>
                  </a:cubicBezTo>
                  <a:cubicBezTo>
                    <a:pt x="48" y="37"/>
                    <a:pt x="48" y="33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6" y="32"/>
                    <a:pt x="44" y="32"/>
                    <a:pt x="44" y="31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92" name="Freeform 607">
              <a:extLst>
                <a:ext uri="{FF2B5EF4-FFF2-40B4-BE49-F238E27FC236}">
                  <a16:creationId xmlns:a16="http://schemas.microsoft.com/office/drawing/2014/main" id="{491A5E56-C486-4896-C28C-1D0EEF525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097" y="4585410"/>
              <a:ext cx="216743" cy="247013"/>
            </a:xfrm>
            <a:custGeom>
              <a:avLst/>
              <a:gdLst>
                <a:gd name="T0" fmla="*/ 63 w 67"/>
                <a:gd name="T1" fmla="*/ 42 h 76"/>
                <a:gd name="T2" fmla="*/ 53 w 67"/>
                <a:gd name="T3" fmla="*/ 38 h 76"/>
                <a:gd name="T4" fmla="*/ 52 w 67"/>
                <a:gd name="T5" fmla="*/ 32 h 76"/>
                <a:gd name="T6" fmla="*/ 52 w 67"/>
                <a:gd name="T7" fmla="*/ 29 h 76"/>
                <a:gd name="T8" fmla="*/ 51 w 67"/>
                <a:gd name="T9" fmla="*/ 24 h 76"/>
                <a:gd name="T10" fmla="*/ 43 w 67"/>
                <a:gd name="T11" fmla="*/ 21 h 76"/>
                <a:gd name="T12" fmla="*/ 38 w 67"/>
                <a:gd name="T13" fmla="*/ 18 h 76"/>
                <a:gd name="T14" fmla="*/ 30 w 67"/>
                <a:gd name="T15" fmla="*/ 16 h 76"/>
                <a:gd name="T16" fmla="*/ 24 w 67"/>
                <a:gd name="T17" fmla="*/ 4 h 76"/>
                <a:gd name="T18" fmla="*/ 23 w 67"/>
                <a:gd name="T19" fmla="*/ 0 h 76"/>
                <a:gd name="T20" fmla="*/ 15 w 67"/>
                <a:gd name="T21" fmla="*/ 2 h 76"/>
                <a:gd name="T22" fmla="*/ 8 w 67"/>
                <a:gd name="T23" fmla="*/ 5 h 76"/>
                <a:gd name="T24" fmla="*/ 0 w 67"/>
                <a:gd name="T25" fmla="*/ 7 h 76"/>
                <a:gd name="T26" fmla="*/ 3 w 67"/>
                <a:gd name="T27" fmla="*/ 11 h 76"/>
                <a:gd name="T28" fmla="*/ 4 w 67"/>
                <a:gd name="T29" fmla="*/ 19 h 76"/>
                <a:gd name="T30" fmla="*/ 3 w 67"/>
                <a:gd name="T31" fmla="*/ 28 h 76"/>
                <a:gd name="T32" fmla="*/ 2 w 67"/>
                <a:gd name="T33" fmla="*/ 35 h 76"/>
                <a:gd name="T34" fmla="*/ 0 w 67"/>
                <a:gd name="T35" fmla="*/ 41 h 76"/>
                <a:gd name="T36" fmla="*/ 0 w 67"/>
                <a:gd name="T37" fmla="*/ 44 h 76"/>
                <a:gd name="T38" fmla="*/ 3 w 67"/>
                <a:gd name="T39" fmla="*/ 52 h 76"/>
                <a:gd name="T40" fmla="*/ 5 w 67"/>
                <a:gd name="T41" fmla="*/ 57 h 76"/>
                <a:gd name="T42" fmla="*/ 5 w 67"/>
                <a:gd name="T43" fmla="*/ 61 h 76"/>
                <a:gd name="T44" fmla="*/ 9 w 67"/>
                <a:gd name="T45" fmla="*/ 71 h 76"/>
                <a:gd name="T46" fmla="*/ 14 w 67"/>
                <a:gd name="T47" fmla="*/ 76 h 76"/>
                <a:gd name="T48" fmla="*/ 20 w 67"/>
                <a:gd name="T49" fmla="*/ 69 h 76"/>
                <a:gd name="T50" fmla="*/ 26 w 67"/>
                <a:gd name="T51" fmla="*/ 71 h 76"/>
                <a:gd name="T52" fmla="*/ 33 w 67"/>
                <a:gd name="T53" fmla="*/ 70 h 76"/>
                <a:gd name="T54" fmla="*/ 41 w 67"/>
                <a:gd name="T55" fmla="*/ 66 h 76"/>
                <a:gd name="T56" fmla="*/ 45 w 67"/>
                <a:gd name="T57" fmla="*/ 57 h 76"/>
                <a:gd name="T58" fmla="*/ 60 w 67"/>
                <a:gd name="T59" fmla="*/ 55 h 76"/>
                <a:gd name="T60" fmla="*/ 65 w 67"/>
                <a:gd name="T61" fmla="*/ 54 h 76"/>
                <a:gd name="T62" fmla="*/ 66 w 67"/>
                <a:gd name="T63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7" h="76">
                  <a:moveTo>
                    <a:pt x="66" y="45"/>
                  </a:moveTo>
                  <a:cubicBezTo>
                    <a:pt x="65" y="44"/>
                    <a:pt x="63" y="43"/>
                    <a:pt x="63" y="42"/>
                  </a:cubicBezTo>
                  <a:cubicBezTo>
                    <a:pt x="63" y="42"/>
                    <a:pt x="63" y="38"/>
                    <a:pt x="6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2" y="36"/>
                    <a:pt x="52" y="35"/>
                  </a:cubicBezTo>
                  <a:cubicBezTo>
                    <a:pt x="52" y="33"/>
                    <a:pt x="52" y="33"/>
                    <a:pt x="52" y="32"/>
                  </a:cubicBezTo>
                  <a:cubicBezTo>
                    <a:pt x="51" y="31"/>
                    <a:pt x="50" y="31"/>
                    <a:pt x="51" y="31"/>
                  </a:cubicBezTo>
                  <a:cubicBezTo>
                    <a:pt x="52" y="30"/>
                    <a:pt x="53" y="30"/>
                    <a:pt x="52" y="29"/>
                  </a:cubicBezTo>
                  <a:cubicBezTo>
                    <a:pt x="52" y="28"/>
                    <a:pt x="51" y="27"/>
                    <a:pt x="51" y="26"/>
                  </a:cubicBezTo>
                  <a:cubicBezTo>
                    <a:pt x="51" y="25"/>
                    <a:pt x="51" y="24"/>
                    <a:pt x="51" y="24"/>
                  </a:cubicBezTo>
                  <a:cubicBezTo>
                    <a:pt x="50" y="23"/>
                    <a:pt x="49" y="22"/>
                    <a:pt x="48" y="22"/>
                  </a:cubicBezTo>
                  <a:cubicBezTo>
                    <a:pt x="47" y="22"/>
                    <a:pt x="44" y="22"/>
                    <a:pt x="43" y="21"/>
                  </a:cubicBezTo>
                  <a:cubicBezTo>
                    <a:pt x="42" y="20"/>
                    <a:pt x="42" y="20"/>
                    <a:pt x="41" y="20"/>
                  </a:cubicBezTo>
                  <a:cubicBezTo>
                    <a:pt x="40" y="19"/>
                    <a:pt x="39" y="19"/>
                    <a:pt x="38" y="18"/>
                  </a:cubicBezTo>
                  <a:cubicBezTo>
                    <a:pt x="37" y="17"/>
                    <a:pt x="36" y="17"/>
                    <a:pt x="35" y="16"/>
                  </a:cubicBezTo>
                  <a:cubicBezTo>
                    <a:pt x="33" y="16"/>
                    <a:pt x="31" y="17"/>
                    <a:pt x="30" y="16"/>
                  </a:cubicBezTo>
                  <a:cubicBezTo>
                    <a:pt x="29" y="15"/>
                    <a:pt x="24" y="10"/>
                    <a:pt x="24" y="8"/>
                  </a:cubicBezTo>
                  <a:cubicBezTo>
                    <a:pt x="24" y="5"/>
                    <a:pt x="23" y="5"/>
                    <a:pt x="24" y="4"/>
                  </a:cubicBezTo>
                  <a:cubicBezTo>
                    <a:pt x="24" y="3"/>
                    <a:pt x="24" y="3"/>
                    <a:pt x="24" y="2"/>
                  </a:cubicBezTo>
                  <a:cubicBezTo>
                    <a:pt x="24" y="2"/>
                    <a:pt x="25" y="0"/>
                    <a:pt x="23" y="0"/>
                  </a:cubicBezTo>
                  <a:cubicBezTo>
                    <a:pt x="22" y="1"/>
                    <a:pt x="19" y="2"/>
                    <a:pt x="18" y="1"/>
                  </a:cubicBezTo>
                  <a:cubicBezTo>
                    <a:pt x="17" y="1"/>
                    <a:pt x="16" y="2"/>
                    <a:pt x="15" y="2"/>
                  </a:cubicBezTo>
                  <a:cubicBezTo>
                    <a:pt x="14" y="3"/>
                    <a:pt x="10" y="5"/>
                    <a:pt x="10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7" y="8"/>
                    <a:pt x="6" y="8"/>
                  </a:cubicBezTo>
                  <a:cubicBezTo>
                    <a:pt x="5" y="8"/>
                    <a:pt x="2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8"/>
                    <a:pt x="2" y="10"/>
                    <a:pt x="3" y="11"/>
                  </a:cubicBezTo>
                  <a:cubicBezTo>
                    <a:pt x="3" y="12"/>
                    <a:pt x="5" y="16"/>
                    <a:pt x="5" y="16"/>
                  </a:cubicBezTo>
                  <a:cubicBezTo>
                    <a:pt x="5" y="16"/>
                    <a:pt x="4" y="16"/>
                    <a:pt x="4" y="19"/>
                  </a:cubicBezTo>
                  <a:cubicBezTo>
                    <a:pt x="4" y="22"/>
                    <a:pt x="4" y="23"/>
                    <a:pt x="4" y="25"/>
                  </a:cubicBezTo>
                  <a:cubicBezTo>
                    <a:pt x="4" y="26"/>
                    <a:pt x="4" y="27"/>
                    <a:pt x="3" y="28"/>
                  </a:cubicBezTo>
                  <a:cubicBezTo>
                    <a:pt x="2" y="29"/>
                    <a:pt x="2" y="30"/>
                    <a:pt x="2" y="31"/>
                  </a:cubicBezTo>
                  <a:cubicBezTo>
                    <a:pt x="2" y="32"/>
                    <a:pt x="1" y="34"/>
                    <a:pt x="2" y="35"/>
                  </a:cubicBezTo>
                  <a:cubicBezTo>
                    <a:pt x="3" y="36"/>
                    <a:pt x="4" y="36"/>
                    <a:pt x="4" y="37"/>
                  </a:cubicBezTo>
                  <a:cubicBezTo>
                    <a:pt x="4" y="38"/>
                    <a:pt x="1" y="40"/>
                    <a:pt x="0" y="41"/>
                  </a:cubicBezTo>
                  <a:cubicBezTo>
                    <a:pt x="0" y="43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6"/>
                    <a:pt x="2" y="47"/>
                    <a:pt x="2" y="47"/>
                  </a:cubicBezTo>
                  <a:cubicBezTo>
                    <a:pt x="3" y="48"/>
                    <a:pt x="3" y="51"/>
                    <a:pt x="3" y="52"/>
                  </a:cubicBezTo>
                  <a:cubicBezTo>
                    <a:pt x="3" y="53"/>
                    <a:pt x="4" y="55"/>
                    <a:pt x="5" y="55"/>
                  </a:cubicBezTo>
                  <a:cubicBezTo>
                    <a:pt x="6" y="56"/>
                    <a:pt x="6" y="56"/>
                    <a:pt x="5" y="57"/>
                  </a:cubicBezTo>
                  <a:cubicBezTo>
                    <a:pt x="4" y="58"/>
                    <a:pt x="5" y="58"/>
                    <a:pt x="6" y="59"/>
                  </a:cubicBezTo>
                  <a:cubicBezTo>
                    <a:pt x="6" y="59"/>
                    <a:pt x="5" y="59"/>
                    <a:pt x="5" y="61"/>
                  </a:cubicBezTo>
                  <a:cubicBezTo>
                    <a:pt x="4" y="62"/>
                    <a:pt x="7" y="66"/>
                    <a:pt x="8" y="67"/>
                  </a:cubicBezTo>
                  <a:cubicBezTo>
                    <a:pt x="9" y="68"/>
                    <a:pt x="9" y="70"/>
                    <a:pt x="9" y="71"/>
                  </a:cubicBezTo>
                  <a:cubicBezTo>
                    <a:pt x="9" y="73"/>
                    <a:pt x="9" y="75"/>
                    <a:pt x="10" y="75"/>
                  </a:cubicBezTo>
                  <a:cubicBezTo>
                    <a:pt x="10" y="76"/>
                    <a:pt x="12" y="76"/>
                    <a:pt x="14" y="76"/>
                  </a:cubicBezTo>
                  <a:cubicBezTo>
                    <a:pt x="14" y="74"/>
                    <a:pt x="14" y="72"/>
                    <a:pt x="15" y="72"/>
                  </a:cubicBezTo>
                  <a:cubicBezTo>
                    <a:pt x="16" y="71"/>
                    <a:pt x="19" y="69"/>
                    <a:pt x="20" y="69"/>
                  </a:cubicBezTo>
                  <a:cubicBezTo>
                    <a:pt x="21" y="69"/>
                    <a:pt x="21" y="71"/>
                    <a:pt x="22" y="71"/>
                  </a:cubicBezTo>
                  <a:cubicBezTo>
                    <a:pt x="23" y="71"/>
                    <a:pt x="25" y="71"/>
                    <a:pt x="26" y="71"/>
                  </a:cubicBezTo>
                  <a:cubicBezTo>
                    <a:pt x="28" y="71"/>
                    <a:pt x="29" y="73"/>
                    <a:pt x="30" y="73"/>
                  </a:cubicBezTo>
                  <a:cubicBezTo>
                    <a:pt x="31" y="73"/>
                    <a:pt x="32" y="71"/>
                    <a:pt x="33" y="70"/>
                  </a:cubicBezTo>
                  <a:cubicBezTo>
                    <a:pt x="33" y="70"/>
                    <a:pt x="37" y="70"/>
                    <a:pt x="39" y="70"/>
                  </a:cubicBezTo>
                  <a:cubicBezTo>
                    <a:pt x="39" y="70"/>
                    <a:pt x="41" y="66"/>
                    <a:pt x="41" y="66"/>
                  </a:cubicBezTo>
                  <a:cubicBezTo>
                    <a:pt x="41" y="65"/>
                    <a:pt x="41" y="62"/>
                    <a:pt x="41" y="62"/>
                  </a:cubicBezTo>
                  <a:cubicBezTo>
                    <a:pt x="41" y="61"/>
                    <a:pt x="43" y="58"/>
                    <a:pt x="45" y="57"/>
                  </a:cubicBezTo>
                  <a:cubicBezTo>
                    <a:pt x="46" y="56"/>
                    <a:pt x="49" y="56"/>
                    <a:pt x="51" y="56"/>
                  </a:cubicBezTo>
                  <a:cubicBezTo>
                    <a:pt x="52" y="55"/>
                    <a:pt x="58" y="54"/>
                    <a:pt x="60" y="55"/>
                  </a:cubicBezTo>
                  <a:cubicBezTo>
                    <a:pt x="61" y="56"/>
                    <a:pt x="63" y="57"/>
                    <a:pt x="64" y="58"/>
                  </a:cubicBezTo>
                  <a:cubicBezTo>
                    <a:pt x="64" y="57"/>
                    <a:pt x="65" y="55"/>
                    <a:pt x="65" y="54"/>
                  </a:cubicBezTo>
                  <a:cubicBezTo>
                    <a:pt x="66" y="52"/>
                    <a:pt x="67" y="49"/>
                    <a:pt x="67" y="48"/>
                  </a:cubicBezTo>
                  <a:cubicBezTo>
                    <a:pt x="67" y="47"/>
                    <a:pt x="67" y="45"/>
                    <a:pt x="66" y="4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93" name="Freeform 608">
              <a:extLst>
                <a:ext uri="{FF2B5EF4-FFF2-40B4-BE49-F238E27FC236}">
                  <a16:creationId xmlns:a16="http://schemas.microsoft.com/office/drawing/2014/main" id="{8B17A1C5-89A6-EF41-BBF3-FBD036771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5026" y="4760983"/>
              <a:ext cx="151357" cy="158621"/>
            </a:xfrm>
            <a:custGeom>
              <a:avLst/>
              <a:gdLst>
                <a:gd name="T0" fmla="*/ 44 w 47"/>
                <a:gd name="T1" fmla="*/ 27 h 49"/>
                <a:gd name="T2" fmla="*/ 41 w 47"/>
                <a:gd name="T3" fmla="*/ 28 h 49"/>
                <a:gd name="T4" fmla="*/ 40 w 47"/>
                <a:gd name="T5" fmla="*/ 26 h 49"/>
                <a:gd name="T6" fmla="*/ 40 w 47"/>
                <a:gd name="T7" fmla="*/ 23 h 49"/>
                <a:gd name="T8" fmla="*/ 37 w 47"/>
                <a:gd name="T9" fmla="*/ 18 h 49"/>
                <a:gd name="T10" fmla="*/ 34 w 47"/>
                <a:gd name="T11" fmla="*/ 17 h 49"/>
                <a:gd name="T12" fmla="*/ 32 w 47"/>
                <a:gd name="T13" fmla="*/ 18 h 49"/>
                <a:gd name="T14" fmla="*/ 26 w 47"/>
                <a:gd name="T15" fmla="*/ 16 h 49"/>
                <a:gd name="T16" fmla="*/ 27 w 47"/>
                <a:gd name="T17" fmla="*/ 11 h 49"/>
                <a:gd name="T18" fmla="*/ 25 w 47"/>
                <a:gd name="T19" fmla="*/ 5 h 49"/>
                <a:gd name="T20" fmla="*/ 25 w 47"/>
                <a:gd name="T21" fmla="*/ 4 h 49"/>
                <a:gd name="T22" fmla="*/ 21 w 47"/>
                <a:gd name="T23" fmla="*/ 1 h 49"/>
                <a:gd name="T24" fmla="*/ 12 w 47"/>
                <a:gd name="T25" fmla="*/ 2 h 49"/>
                <a:gd name="T26" fmla="*/ 6 w 47"/>
                <a:gd name="T27" fmla="*/ 3 h 49"/>
                <a:gd name="T28" fmla="*/ 2 w 47"/>
                <a:gd name="T29" fmla="*/ 8 h 49"/>
                <a:gd name="T30" fmla="*/ 2 w 47"/>
                <a:gd name="T31" fmla="*/ 12 h 49"/>
                <a:gd name="T32" fmla="*/ 0 w 47"/>
                <a:gd name="T33" fmla="*/ 16 h 49"/>
                <a:gd name="T34" fmla="*/ 3 w 47"/>
                <a:gd name="T35" fmla="*/ 21 h 49"/>
                <a:gd name="T36" fmla="*/ 9 w 47"/>
                <a:gd name="T37" fmla="*/ 26 h 49"/>
                <a:gd name="T38" fmla="*/ 15 w 47"/>
                <a:gd name="T39" fmla="*/ 28 h 49"/>
                <a:gd name="T40" fmla="*/ 21 w 47"/>
                <a:gd name="T41" fmla="*/ 32 h 49"/>
                <a:gd name="T42" fmla="*/ 27 w 47"/>
                <a:gd name="T43" fmla="*/ 35 h 49"/>
                <a:gd name="T44" fmla="*/ 25 w 47"/>
                <a:gd name="T45" fmla="*/ 40 h 49"/>
                <a:gd name="T46" fmla="*/ 24 w 47"/>
                <a:gd name="T47" fmla="*/ 44 h 49"/>
                <a:gd name="T48" fmla="*/ 22 w 47"/>
                <a:gd name="T49" fmla="*/ 48 h 49"/>
                <a:gd name="T50" fmla="*/ 28 w 47"/>
                <a:gd name="T51" fmla="*/ 48 h 49"/>
                <a:gd name="T52" fmla="*/ 33 w 47"/>
                <a:gd name="T53" fmla="*/ 49 h 49"/>
                <a:gd name="T54" fmla="*/ 36 w 47"/>
                <a:gd name="T55" fmla="*/ 47 h 49"/>
                <a:gd name="T56" fmla="*/ 39 w 47"/>
                <a:gd name="T57" fmla="*/ 47 h 49"/>
                <a:gd name="T58" fmla="*/ 42 w 47"/>
                <a:gd name="T59" fmla="*/ 45 h 49"/>
                <a:gd name="T60" fmla="*/ 44 w 47"/>
                <a:gd name="T61" fmla="*/ 42 h 49"/>
                <a:gd name="T62" fmla="*/ 45 w 47"/>
                <a:gd name="T63" fmla="*/ 38 h 49"/>
                <a:gd name="T64" fmla="*/ 45 w 47"/>
                <a:gd name="T65" fmla="*/ 38 h 49"/>
                <a:gd name="T66" fmla="*/ 46 w 47"/>
                <a:gd name="T67" fmla="*/ 34 h 49"/>
                <a:gd name="T68" fmla="*/ 46 w 47"/>
                <a:gd name="T69" fmla="*/ 28 h 49"/>
                <a:gd name="T70" fmla="*/ 44 w 47"/>
                <a:gd name="T71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" h="49">
                  <a:moveTo>
                    <a:pt x="44" y="27"/>
                  </a:moveTo>
                  <a:cubicBezTo>
                    <a:pt x="44" y="27"/>
                    <a:pt x="43" y="28"/>
                    <a:pt x="41" y="28"/>
                  </a:cubicBezTo>
                  <a:cubicBezTo>
                    <a:pt x="40" y="28"/>
                    <a:pt x="40" y="27"/>
                    <a:pt x="40" y="26"/>
                  </a:cubicBezTo>
                  <a:cubicBezTo>
                    <a:pt x="40" y="25"/>
                    <a:pt x="41" y="24"/>
                    <a:pt x="40" y="23"/>
                  </a:cubicBezTo>
                  <a:cubicBezTo>
                    <a:pt x="39" y="21"/>
                    <a:pt x="38" y="19"/>
                    <a:pt x="37" y="18"/>
                  </a:cubicBezTo>
                  <a:cubicBezTo>
                    <a:pt x="36" y="18"/>
                    <a:pt x="35" y="17"/>
                    <a:pt x="34" y="17"/>
                  </a:cubicBezTo>
                  <a:cubicBezTo>
                    <a:pt x="33" y="18"/>
                    <a:pt x="33" y="18"/>
                    <a:pt x="32" y="18"/>
                  </a:cubicBezTo>
                  <a:cubicBezTo>
                    <a:pt x="31" y="18"/>
                    <a:pt x="26" y="17"/>
                    <a:pt x="26" y="16"/>
                  </a:cubicBezTo>
                  <a:cubicBezTo>
                    <a:pt x="26" y="15"/>
                    <a:pt x="27" y="13"/>
                    <a:pt x="27" y="11"/>
                  </a:cubicBezTo>
                  <a:cubicBezTo>
                    <a:pt x="27" y="10"/>
                    <a:pt x="25" y="6"/>
                    <a:pt x="25" y="5"/>
                  </a:cubicBezTo>
                  <a:cubicBezTo>
                    <a:pt x="25" y="5"/>
                    <a:pt x="25" y="5"/>
                    <a:pt x="25" y="4"/>
                  </a:cubicBezTo>
                  <a:cubicBezTo>
                    <a:pt x="24" y="3"/>
                    <a:pt x="22" y="2"/>
                    <a:pt x="21" y="1"/>
                  </a:cubicBezTo>
                  <a:cubicBezTo>
                    <a:pt x="19" y="0"/>
                    <a:pt x="13" y="1"/>
                    <a:pt x="12" y="2"/>
                  </a:cubicBezTo>
                  <a:cubicBezTo>
                    <a:pt x="10" y="2"/>
                    <a:pt x="7" y="2"/>
                    <a:pt x="6" y="3"/>
                  </a:cubicBezTo>
                  <a:cubicBezTo>
                    <a:pt x="4" y="4"/>
                    <a:pt x="2" y="7"/>
                    <a:pt x="2" y="8"/>
                  </a:cubicBezTo>
                  <a:cubicBezTo>
                    <a:pt x="2" y="8"/>
                    <a:pt x="2" y="11"/>
                    <a:pt x="2" y="12"/>
                  </a:cubicBezTo>
                  <a:cubicBezTo>
                    <a:pt x="2" y="12"/>
                    <a:pt x="0" y="16"/>
                    <a:pt x="0" y="16"/>
                  </a:cubicBezTo>
                  <a:cubicBezTo>
                    <a:pt x="1" y="17"/>
                    <a:pt x="2" y="20"/>
                    <a:pt x="3" y="21"/>
                  </a:cubicBezTo>
                  <a:cubicBezTo>
                    <a:pt x="5" y="23"/>
                    <a:pt x="8" y="25"/>
                    <a:pt x="9" y="26"/>
                  </a:cubicBezTo>
                  <a:cubicBezTo>
                    <a:pt x="11" y="28"/>
                    <a:pt x="14" y="27"/>
                    <a:pt x="15" y="28"/>
                  </a:cubicBezTo>
                  <a:cubicBezTo>
                    <a:pt x="16" y="28"/>
                    <a:pt x="19" y="30"/>
                    <a:pt x="21" y="32"/>
                  </a:cubicBezTo>
                  <a:cubicBezTo>
                    <a:pt x="24" y="33"/>
                    <a:pt x="26" y="34"/>
                    <a:pt x="27" y="35"/>
                  </a:cubicBezTo>
                  <a:cubicBezTo>
                    <a:pt x="29" y="37"/>
                    <a:pt x="27" y="39"/>
                    <a:pt x="25" y="40"/>
                  </a:cubicBezTo>
                  <a:cubicBezTo>
                    <a:pt x="24" y="42"/>
                    <a:pt x="24" y="43"/>
                    <a:pt x="24" y="44"/>
                  </a:cubicBezTo>
                  <a:cubicBezTo>
                    <a:pt x="24" y="46"/>
                    <a:pt x="22" y="47"/>
                    <a:pt x="22" y="48"/>
                  </a:cubicBezTo>
                  <a:cubicBezTo>
                    <a:pt x="22" y="49"/>
                    <a:pt x="26" y="48"/>
                    <a:pt x="28" y="48"/>
                  </a:cubicBezTo>
                  <a:cubicBezTo>
                    <a:pt x="30" y="48"/>
                    <a:pt x="31" y="49"/>
                    <a:pt x="33" y="49"/>
                  </a:cubicBezTo>
                  <a:cubicBezTo>
                    <a:pt x="34" y="49"/>
                    <a:pt x="35" y="48"/>
                    <a:pt x="36" y="47"/>
                  </a:cubicBezTo>
                  <a:cubicBezTo>
                    <a:pt x="37" y="47"/>
                    <a:pt x="38" y="47"/>
                    <a:pt x="39" y="47"/>
                  </a:cubicBezTo>
                  <a:cubicBezTo>
                    <a:pt x="41" y="47"/>
                    <a:pt x="41" y="46"/>
                    <a:pt x="42" y="45"/>
                  </a:cubicBezTo>
                  <a:cubicBezTo>
                    <a:pt x="43" y="45"/>
                    <a:pt x="44" y="43"/>
                    <a:pt x="44" y="42"/>
                  </a:cubicBezTo>
                  <a:cubicBezTo>
                    <a:pt x="45" y="41"/>
                    <a:pt x="45" y="39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5" y="36"/>
                    <a:pt x="46" y="34"/>
                  </a:cubicBezTo>
                  <a:cubicBezTo>
                    <a:pt x="47" y="32"/>
                    <a:pt x="47" y="29"/>
                    <a:pt x="46" y="28"/>
                  </a:cubicBezTo>
                  <a:cubicBezTo>
                    <a:pt x="45" y="28"/>
                    <a:pt x="45" y="27"/>
                    <a:pt x="44" y="2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94" name="Freeform 609">
              <a:extLst>
                <a:ext uri="{FF2B5EF4-FFF2-40B4-BE49-F238E27FC236}">
                  <a16:creationId xmlns:a16="http://schemas.microsoft.com/office/drawing/2014/main" id="{B38EDEAB-B3C4-768C-5CD8-DD93162D67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1603" y="4320235"/>
              <a:ext cx="707140" cy="721664"/>
            </a:xfrm>
            <a:custGeom>
              <a:avLst/>
              <a:gdLst>
                <a:gd name="T0" fmla="*/ 197 w 219"/>
                <a:gd name="T1" fmla="*/ 49 h 223"/>
                <a:gd name="T2" fmla="*/ 168 w 219"/>
                <a:gd name="T3" fmla="*/ 42 h 223"/>
                <a:gd name="T4" fmla="*/ 144 w 219"/>
                <a:gd name="T5" fmla="*/ 33 h 223"/>
                <a:gd name="T6" fmla="*/ 135 w 219"/>
                <a:gd name="T7" fmla="*/ 40 h 223"/>
                <a:gd name="T8" fmla="*/ 130 w 219"/>
                <a:gd name="T9" fmla="*/ 38 h 223"/>
                <a:gd name="T10" fmla="*/ 124 w 219"/>
                <a:gd name="T11" fmla="*/ 36 h 223"/>
                <a:gd name="T12" fmla="*/ 123 w 219"/>
                <a:gd name="T13" fmla="*/ 35 h 223"/>
                <a:gd name="T14" fmla="*/ 127 w 219"/>
                <a:gd name="T15" fmla="*/ 28 h 223"/>
                <a:gd name="T16" fmla="*/ 133 w 219"/>
                <a:gd name="T17" fmla="*/ 23 h 223"/>
                <a:gd name="T18" fmla="*/ 127 w 219"/>
                <a:gd name="T19" fmla="*/ 5 h 223"/>
                <a:gd name="T20" fmla="*/ 117 w 219"/>
                <a:gd name="T21" fmla="*/ 16 h 223"/>
                <a:gd name="T22" fmla="*/ 102 w 219"/>
                <a:gd name="T23" fmla="*/ 14 h 223"/>
                <a:gd name="T24" fmla="*/ 84 w 219"/>
                <a:gd name="T25" fmla="*/ 21 h 223"/>
                <a:gd name="T26" fmla="*/ 78 w 219"/>
                <a:gd name="T27" fmla="*/ 1 h 223"/>
                <a:gd name="T28" fmla="*/ 62 w 219"/>
                <a:gd name="T29" fmla="*/ 7 h 223"/>
                <a:gd name="T30" fmla="*/ 54 w 219"/>
                <a:gd name="T31" fmla="*/ 8 h 223"/>
                <a:gd name="T32" fmla="*/ 54 w 219"/>
                <a:gd name="T33" fmla="*/ 20 h 223"/>
                <a:gd name="T34" fmla="*/ 41 w 219"/>
                <a:gd name="T35" fmla="*/ 22 h 223"/>
                <a:gd name="T36" fmla="*/ 23 w 219"/>
                <a:gd name="T37" fmla="*/ 21 h 223"/>
                <a:gd name="T38" fmla="*/ 23 w 219"/>
                <a:gd name="T39" fmla="*/ 31 h 223"/>
                <a:gd name="T40" fmla="*/ 21 w 219"/>
                <a:gd name="T41" fmla="*/ 52 h 223"/>
                <a:gd name="T42" fmla="*/ 5 w 219"/>
                <a:gd name="T43" fmla="*/ 56 h 223"/>
                <a:gd name="T44" fmla="*/ 0 w 219"/>
                <a:gd name="T45" fmla="*/ 71 h 223"/>
                <a:gd name="T46" fmla="*/ 10 w 219"/>
                <a:gd name="T47" fmla="*/ 84 h 223"/>
                <a:gd name="T48" fmla="*/ 21 w 219"/>
                <a:gd name="T49" fmla="*/ 90 h 223"/>
                <a:gd name="T50" fmla="*/ 32 w 219"/>
                <a:gd name="T51" fmla="*/ 87 h 223"/>
                <a:gd name="T52" fmla="*/ 47 w 219"/>
                <a:gd name="T53" fmla="*/ 82 h 223"/>
                <a:gd name="T54" fmla="*/ 54 w 219"/>
                <a:gd name="T55" fmla="*/ 98 h 223"/>
                <a:gd name="T56" fmla="*/ 67 w 219"/>
                <a:gd name="T57" fmla="*/ 103 h 223"/>
                <a:gd name="T58" fmla="*/ 76 w 219"/>
                <a:gd name="T59" fmla="*/ 111 h 223"/>
                <a:gd name="T60" fmla="*/ 77 w 219"/>
                <a:gd name="T61" fmla="*/ 120 h 223"/>
                <a:gd name="T62" fmla="*/ 91 w 219"/>
                <a:gd name="T63" fmla="*/ 130 h 223"/>
                <a:gd name="T64" fmla="*/ 89 w 219"/>
                <a:gd name="T65" fmla="*/ 152 h 223"/>
                <a:gd name="T66" fmla="*/ 103 w 219"/>
                <a:gd name="T67" fmla="*/ 159 h 223"/>
                <a:gd name="T68" fmla="*/ 109 w 219"/>
                <a:gd name="T69" fmla="*/ 164 h 223"/>
                <a:gd name="T70" fmla="*/ 112 w 219"/>
                <a:gd name="T71" fmla="*/ 175 h 223"/>
                <a:gd name="T72" fmla="*/ 91 w 219"/>
                <a:gd name="T73" fmla="*/ 200 h 223"/>
                <a:gd name="T74" fmla="*/ 102 w 219"/>
                <a:gd name="T75" fmla="*/ 207 h 223"/>
                <a:gd name="T76" fmla="*/ 114 w 219"/>
                <a:gd name="T77" fmla="*/ 223 h 223"/>
                <a:gd name="T78" fmla="*/ 130 w 219"/>
                <a:gd name="T79" fmla="*/ 204 h 223"/>
                <a:gd name="T80" fmla="*/ 141 w 219"/>
                <a:gd name="T81" fmla="*/ 179 h 223"/>
                <a:gd name="T82" fmla="*/ 148 w 219"/>
                <a:gd name="T83" fmla="*/ 167 h 223"/>
                <a:gd name="T84" fmla="*/ 159 w 219"/>
                <a:gd name="T85" fmla="*/ 162 h 223"/>
                <a:gd name="T86" fmla="*/ 165 w 219"/>
                <a:gd name="T87" fmla="*/ 158 h 223"/>
                <a:gd name="T88" fmla="*/ 175 w 219"/>
                <a:gd name="T89" fmla="*/ 158 h 223"/>
                <a:gd name="T90" fmla="*/ 186 w 219"/>
                <a:gd name="T91" fmla="*/ 145 h 223"/>
                <a:gd name="T92" fmla="*/ 192 w 219"/>
                <a:gd name="T93" fmla="*/ 129 h 223"/>
                <a:gd name="T94" fmla="*/ 195 w 219"/>
                <a:gd name="T95" fmla="*/ 102 h 223"/>
                <a:gd name="T96" fmla="*/ 197 w 219"/>
                <a:gd name="T97" fmla="*/ 99 h 223"/>
                <a:gd name="T98" fmla="*/ 208 w 219"/>
                <a:gd name="T99" fmla="*/ 87 h 223"/>
                <a:gd name="T100" fmla="*/ 127 w 219"/>
                <a:gd name="T101" fmla="*/ 206 h 223"/>
                <a:gd name="T102" fmla="*/ 127 w 219"/>
                <a:gd name="T103" fmla="*/ 20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9" h="223">
                  <a:moveTo>
                    <a:pt x="217" y="62"/>
                  </a:moveTo>
                  <a:cubicBezTo>
                    <a:pt x="214" y="58"/>
                    <a:pt x="215" y="56"/>
                    <a:pt x="212" y="56"/>
                  </a:cubicBezTo>
                  <a:cubicBezTo>
                    <a:pt x="208" y="56"/>
                    <a:pt x="205" y="56"/>
                    <a:pt x="203" y="54"/>
                  </a:cubicBezTo>
                  <a:cubicBezTo>
                    <a:pt x="202" y="52"/>
                    <a:pt x="199" y="50"/>
                    <a:pt x="197" y="49"/>
                  </a:cubicBezTo>
                  <a:cubicBezTo>
                    <a:pt x="195" y="47"/>
                    <a:pt x="190" y="44"/>
                    <a:pt x="187" y="44"/>
                  </a:cubicBezTo>
                  <a:cubicBezTo>
                    <a:pt x="185" y="44"/>
                    <a:pt x="184" y="45"/>
                    <a:pt x="182" y="45"/>
                  </a:cubicBezTo>
                  <a:cubicBezTo>
                    <a:pt x="179" y="45"/>
                    <a:pt x="174" y="42"/>
                    <a:pt x="172" y="42"/>
                  </a:cubicBezTo>
                  <a:cubicBezTo>
                    <a:pt x="170" y="41"/>
                    <a:pt x="169" y="42"/>
                    <a:pt x="168" y="42"/>
                  </a:cubicBezTo>
                  <a:cubicBezTo>
                    <a:pt x="167" y="43"/>
                    <a:pt x="164" y="40"/>
                    <a:pt x="164" y="40"/>
                  </a:cubicBezTo>
                  <a:cubicBezTo>
                    <a:pt x="164" y="39"/>
                    <a:pt x="163" y="38"/>
                    <a:pt x="160" y="37"/>
                  </a:cubicBezTo>
                  <a:cubicBezTo>
                    <a:pt x="158" y="36"/>
                    <a:pt x="151" y="33"/>
                    <a:pt x="150" y="32"/>
                  </a:cubicBezTo>
                  <a:cubicBezTo>
                    <a:pt x="148" y="32"/>
                    <a:pt x="145" y="31"/>
                    <a:pt x="144" y="33"/>
                  </a:cubicBezTo>
                  <a:cubicBezTo>
                    <a:pt x="143" y="35"/>
                    <a:pt x="141" y="37"/>
                    <a:pt x="140" y="38"/>
                  </a:cubicBezTo>
                  <a:cubicBezTo>
                    <a:pt x="138" y="39"/>
                    <a:pt x="138" y="40"/>
                    <a:pt x="137" y="41"/>
                  </a:cubicBezTo>
                  <a:cubicBezTo>
                    <a:pt x="137" y="42"/>
                    <a:pt x="136" y="42"/>
                    <a:pt x="136" y="41"/>
                  </a:cubicBezTo>
                  <a:cubicBezTo>
                    <a:pt x="136" y="40"/>
                    <a:pt x="135" y="40"/>
                    <a:pt x="135" y="40"/>
                  </a:cubicBezTo>
                  <a:cubicBezTo>
                    <a:pt x="134" y="39"/>
                    <a:pt x="134" y="39"/>
                    <a:pt x="134" y="38"/>
                  </a:cubicBezTo>
                  <a:cubicBezTo>
                    <a:pt x="133" y="38"/>
                    <a:pt x="132" y="37"/>
                    <a:pt x="132" y="38"/>
                  </a:cubicBezTo>
                  <a:cubicBezTo>
                    <a:pt x="132" y="40"/>
                    <a:pt x="132" y="41"/>
                    <a:pt x="131" y="40"/>
                  </a:cubicBezTo>
                  <a:cubicBezTo>
                    <a:pt x="131" y="39"/>
                    <a:pt x="131" y="39"/>
                    <a:pt x="130" y="38"/>
                  </a:cubicBezTo>
                  <a:cubicBezTo>
                    <a:pt x="129" y="38"/>
                    <a:pt x="130" y="37"/>
                    <a:pt x="129" y="37"/>
                  </a:cubicBezTo>
                  <a:cubicBezTo>
                    <a:pt x="128" y="36"/>
                    <a:pt x="128" y="35"/>
                    <a:pt x="128" y="34"/>
                  </a:cubicBezTo>
                  <a:cubicBezTo>
                    <a:pt x="128" y="33"/>
                    <a:pt x="128" y="31"/>
                    <a:pt x="128" y="32"/>
                  </a:cubicBezTo>
                  <a:cubicBezTo>
                    <a:pt x="127" y="33"/>
                    <a:pt x="126" y="36"/>
                    <a:pt x="124" y="36"/>
                  </a:cubicBezTo>
                  <a:cubicBezTo>
                    <a:pt x="123" y="37"/>
                    <a:pt x="123" y="37"/>
                    <a:pt x="124" y="36"/>
                  </a:cubicBezTo>
                  <a:cubicBezTo>
                    <a:pt x="125" y="35"/>
                    <a:pt x="127" y="33"/>
                    <a:pt x="127" y="32"/>
                  </a:cubicBezTo>
                  <a:cubicBezTo>
                    <a:pt x="127" y="31"/>
                    <a:pt x="125" y="31"/>
                    <a:pt x="125" y="32"/>
                  </a:cubicBezTo>
                  <a:cubicBezTo>
                    <a:pt x="125" y="32"/>
                    <a:pt x="124" y="35"/>
                    <a:pt x="123" y="35"/>
                  </a:cubicBezTo>
                  <a:cubicBezTo>
                    <a:pt x="121" y="36"/>
                    <a:pt x="122" y="36"/>
                    <a:pt x="123" y="34"/>
                  </a:cubicBezTo>
                  <a:cubicBezTo>
                    <a:pt x="124" y="33"/>
                    <a:pt x="124" y="33"/>
                    <a:pt x="124" y="31"/>
                  </a:cubicBezTo>
                  <a:cubicBezTo>
                    <a:pt x="125" y="30"/>
                    <a:pt x="126" y="30"/>
                    <a:pt x="126" y="29"/>
                  </a:cubicBezTo>
                  <a:cubicBezTo>
                    <a:pt x="127" y="28"/>
                    <a:pt x="126" y="28"/>
                    <a:pt x="127" y="28"/>
                  </a:cubicBezTo>
                  <a:cubicBezTo>
                    <a:pt x="128" y="27"/>
                    <a:pt x="129" y="27"/>
                    <a:pt x="130" y="26"/>
                  </a:cubicBezTo>
                  <a:cubicBezTo>
                    <a:pt x="130" y="26"/>
                    <a:pt x="131" y="25"/>
                    <a:pt x="131" y="26"/>
                  </a:cubicBezTo>
                  <a:cubicBezTo>
                    <a:pt x="132" y="26"/>
                    <a:pt x="132" y="26"/>
                    <a:pt x="133" y="25"/>
                  </a:cubicBezTo>
                  <a:cubicBezTo>
                    <a:pt x="133" y="24"/>
                    <a:pt x="133" y="24"/>
                    <a:pt x="133" y="23"/>
                  </a:cubicBezTo>
                  <a:cubicBezTo>
                    <a:pt x="132" y="23"/>
                    <a:pt x="134" y="21"/>
                    <a:pt x="134" y="20"/>
                  </a:cubicBezTo>
                  <a:cubicBezTo>
                    <a:pt x="134" y="19"/>
                    <a:pt x="132" y="18"/>
                    <a:pt x="130" y="17"/>
                  </a:cubicBezTo>
                  <a:cubicBezTo>
                    <a:pt x="129" y="17"/>
                    <a:pt x="128" y="13"/>
                    <a:pt x="128" y="11"/>
                  </a:cubicBezTo>
                  <a:cubicBezTo>
                    <a:pt x="128" y="9"/>
                    <a:pt x="128" y="6"/>
                    <a:pt x="127" y="5"/>
                  </a:cubicBezTo>
                  <a:cubicBezTo>
                    <a:pt x="126" y="5"/>
                    <a:pt x="126" y="5"/>
                    <a:pt x="125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4" y="6"/>
                    <a:pt x="122" y="10"/>
                    <a:pt x="121" y="11"/>
                  </a:cubicBezTo>
                  <a:cubicBezTo>
                    <a:pt x="120" y="14"/>
                    <a:pt x="118" y="15"/>
                    <a:pt x="117" y="16"/>
                  </a:cubicBezTo>
                  <a:cubicBezTo>
                    <a:pt x="115" y="16"/>
                    <a:pt x="115" y="15"/>
                    <a:pt x="113" y="15"/>
                  </a:cubicBezTo>
                  <a:cubicBezTo>
                    <a:pt x="110" y="15"/>
                    <a:pt x="110" y="16"/>
                    <a:pt x="109" y="15"/>
                  </a:cubicBezTo>
                  <a:cubicBezTo>
                    <a:pt x="108" y="15"/>
                    <a:pt x="107" y="14"/>
                    <a:pt x="106" y="14"/>
                  </a:cubicBezTo>
                  <a:cubicBezTo>
                    <a:pt x="105" y="14"/>
                    <a:pt x="103" y="14"/>
                    <a:pt x="102" y="14"/>
                  </a:cubicBezTo>
                  <a:cubicBezTo>
                    <a:pt x="100" y="14"/>
                    <a:pt x="101" y="16"/>
                    <a:pt x="100" y="17"/>
                  </a:cubicBezTo>
                  <a:cubicBezTo>
                    <a:pt x="100" y="19"/>
                    <a:pt x="96" y="17"/>
                    <a:pt x="94" y="17"/>
                  </a:cubicBezTo>
                  <a:cubicBezTo>
                    <a:pt x="93" y="17"/>
                    <a:pt x="89" y="19"/>
                    <a:pt x="88" y="19"/>
                  </a:cubicBezTo>
                  <a:cubicBezTo>
                    <a:pt x="87" y="19"/>
                    <a:pt x="87" y="21"/>
                    <a:pt x="84" y="21"/>
                  </a:cubicBezTo>
                  <a:cubicBezTo>
                    <a:pt x="82" y="21"/>
                    <a:pt x="78" y="14"/>
                    <a:pt x="78" y="12"/>
                  </a:cubicBezTo>
                  <a:cubicBezTo>
                    <a:pt x="78" y="10"/>
                    <a:pt x="80" y="8"/>
                    <a:pt x="80" y="7"/>
                  </a:cubicBezTo>
                  <a:cubicBezTo>
                    <a:pt x="80" y="6"/>
                    <a:pt x="80" y="5"/>
                    <a:pt x="79" y="3"/>
                  </a:cubicBezTo>
                  <a:cubicBezTo>
                    <a:pt x="77" y="2"/>
                    <a:pt x="78" y="2"/>
                    <a:pt x="78" y="1"/>
                  </a:cubicBezTo>
                  <a:cubicBezTo>
                    <a:pt x="78" y="0"/>
                    <a:pt x="76" y="0"/>
                    <a:pt x="75" y="0"/>
                  </a:cubicBezTo>
                  <a:cubicBezTo>
                    <a:pt x="75" y="0"/>
                    <a:pt x="74" y="1"/>
                    <a:pt x="73" y="2"/>
                  </a:cubicBezTo>
                  <a:cubicBezTo>
                    <a:pt x="71" y="3"/>
                    <a:pt x="65" y="6"/>
                    <a:pt x="64" y="6"/>
                  </a:cubicBezTo>
                  <a:cubicBezTo>
                    <a:pt x="62" y="6"/>
                    <a:pt x="63" y="7"/>
                    <a:pt x="62" y="7"/>
                  </a:cubicBezTo>
                  <a:cubicBezTo>
                    <a:pt x="61" y="8"/>
                    <a:pt x="61" y="7"/>
                    <a:pt x="61" y="6"/>
                  </a:cubicBezTo>
                  <a:cubicBezTo>
                    <a:pt x="60" y="6"/>
                    <a:pt x="58" y="6"/>
                    <a:pt x="56" y="6"/>
                  </a:cubicBezTo>
                  <a:cubicBezTo>
                    <a:pt x="54" y="6"/>
                    <a:pt x="53" y="5"/>
                    <a:pt x="52" y="5"/>
                  </a:cubicBezTo>
                  <a:cubicBezTo>
                    <a:pt x="51" y="6"/>
                    <a:pt x="53" y="7"/>
                    <a:pt x="54" y="8"/>
                  </a:cubicBezTo>
                  <a:cubicBezTo>
                    <a:pt x="55" y="10"/>
                    <a:pt x="55" y="12"/>
                    <a:pt x="56" y="14"/>
                  </a:cubicBezTo>
                  <a:cubicBezTo>
                    <a:pt x="56" y="15"/>
                    <a:pt x="58" y="14"/>
                    <a:pt x="59" y="15"/>
                  </a:cubicBezTo>
                  <a:cubicBezTo>
                    <a:pt x="60" y="15"/>
                    <a:pt x="57" y="16"/>
                    <a:pt x="56" y="17"/>
                  </a:cubicBezTo>
                  <a:cubicBezTo>
                    <a:pt x="54" y="18"/>
                    <a:pt x="55" y="19"/>
                    <a:pt x="54" y="20"/>
                  </a:cubicBezTo>
                  <a:cubicBezTo>
                    <a:pt x="52" y="21"/>
                    <a:pt x="50" y="23"/>
                    <a:pt x="48" y="24"/>
                  </a:cubicBezTo>
                  <a:cubicBezTo>
                    <a:pt x="47" y="24"/>
                    <a:pt x="47" y="23"/>
                    <a:pt x="47" y="23"/>
                  </a:cubicBezTo>
                  <a:cubicBezTo>
                    <a:pt x="46" y="23"/>
                    <a:pt x="46" y="23"/>
                    <a:pt x="45" y="23"/>
                  </a:cubicBezTo>
                  <a:cubicBezTo>
                    <a:pt x="44" y="24"/>
                    <a:pt x="42" y="23"/>
                    <a:pt x="41" y="22"/>
                  </a:cubicBezTo>
                  <a:cubicBezTo>
                    <a:pt x="40" y="21"/>
                    <a:pt x="38" y="18"/>
                    <a:pt x="37" y="17"/>
                  </a:cubicBezTo>
                  <a:cubicBezTo>
                    <a:pt x="37" y="16"/>
                    <a:pt x="34" y="18"/>
                    <a:pt x="31" y="19"/>
                  </a:cubicBezTo>
                  <a:cubicBezTo>
                    <a:pt x="29" y="20"/>
                    <a:pt x="23" y="19"/>
                    <a:pt x="23" y="19"/>
                  </a:cubicBezTo>
                  <a:cubicBezTo>
                    <a:pt x="23" y="19"/>
                    <a:pt x="23" y="20"/>
                    <a:pt x="23" y="21"/>
                  </a:cubicBezTo>
                  <a:cubicBezTo>
                    <a:pt x="23" y="22"/>
                    <a:pt x="24" y="22"/>
                    <a:pt x="26" y="23"/>
                  </a:cubicBezTo>
                  <a:cubicBezTo>
                    <a:pt x="28" y="23"/>
                    <a:pt x="25" y="24"/>
                    <a:pt x="23" y="24"/>
                  </a:cubicBezTo>
                  <a:cubicBezTo>
                    <a:pt x="21" y="25"/>
                    <a:pt x="22" y="26"/>
                    <a:pt x="22" y="27"/>
                  </a:cubicBezTo>
                  <a:cubicBezTo>
                    <a:pt x="22" y="28"/>
                    <a:pt x="22" y="29"/>
                    <a:pt x="23" y="31"/>
                  </a:cubicBezTo>
                  <a:cubicBezTo>
                    <a:pt x="24" y="32"/>
                    <a:pt x="26" y="34"/>
                    <a:pt x="26" y="36"/>
                  </a:cubicBezTo>
                  <a:cubicBezTo>
                    <a:pt x="25" y="38"/>
                    <a:pt x="23" y="45"/>
                    <a:pt x="23" y="46"/>
                  </a:cubicBezTo>
                  <a:cubicBezTo>
                    <a:pt x="23" y="48"/>
                    <a:pt x="23" y="52"/>
                    <a:pt x="21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0" y="52"/>
                    <a:pt x="20" y="52"/>
                    <a:pt x="19" y="52"/>
                  </a:cubicBezTo>
                  <a:cubicBezTo>
                    <a:pt x="18" y="52"/>
                    <a:pt x="17" y="52"/>
                    <a:pt x="16" y="52"/>
                  </a:cubicBezTo>
                  <a:cubicBezTo>
                    <a:pt x="15" y="53"/>
                    <a:pt x="14" y="53"/>
                    <a:pt x="12" y="54"/>
                  </a:cubicBezTo>
                  <a:cubicBezTo>
                    <a:pt x="10" y="54"/>
                    <a:pt x="6" y="56"/>
                    <a:pt x="5" y="56"/>
                  </a:cubicBezTo>
                  <a:cubicBezTo>
                    <a:pt x="5" y="57"/>
                    <a:pt x="5" y="61"/>
                    <a:pt x="5" y="61"/>
                  </a:cubicBezTo>
                  <a:cubicBezTo>
                    <a:pt x="5" y="62"/>
                    <a:pt x="5" y="64"/>
                    <a:pt x="4" y="64"/>
                  </a:cubicBezTo>
                  <a:cubicBezTo>
                    <a:pt x="3" y="65"/>
                    <a:pt x="1" y="65"/>
                    <a:pt x="1" y="66"/>
                  </a:cubicBezTo>
                  <a:cubicBezTo>
                    <a:pt x="1" y="67"/>
                    <a:pt x="0" y="70"/>
                    <a:pt x="0" y="71"/>
                  </a:cubicBezTo>
                  <a:cubicBezTo>
                    <a:pt x="1" y="72"/>
                    <a:pt x="3" y="74"/>
                    <a:pt x="3" y="75"/>
                  </a:cubicBezTo>
                  <a:cubicBezTo>
                    <a:pt x="4" y="76"/>
                    <a:pt x="4" y="78"/>
                    <a:pt x="4" y="79"/>
                  </a:cubicBezTo>
                  <a:cubicBezTo>
                    <a:pt x="5" y="81"/>
                    <a:pt x="6" y="80"/>
                    <a:pt x="7" y="81"/>
                  </a:cubicBezTo>
                  <a:cubicBezTo>
                    <a:pt x="8" y="81"/>
                    <a:pt x="8" y="83"/>
                    <a:pt x="10" y="84"/>
                  </a:cubicBezTo>
                  <a:cubicBezTo>
                    <a:pt x="12" y="84"/>
                    <a:pt x="13" y="84"/>
                    <a:pt x="14" y="84"/>
                  </a:cubicBezTo>
                  <a:cubicBezTo>
                    <a:pt x="16" y="83"/>
                    <a:pt x="19" y="81"/>
                    <a:pt x="19" y="81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9" y="89"/>
                    <a:pt x="20" y="90"/>
                    <a:pt x="21" y="90"/>
                  </a:cubicBezTo>
                  <a:cubicBezTo>
                    <a:pt x="22" y="90"/>
                    <a:pt x="24" y="89"/>
                    <a:pt x="24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6" y="89"/>
                    <a:pt x="29" y="90"/>
                    <a:pt x="30" y="90"/>
                  </a:cubicBezTo>
                  <a:cubicBezTo>
                    <a:pt x="31" y="90"/>
                    <a:pt x="32" y="87"/>
                    <a:pt x="32" y="87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34" y="87"/>
                    <a:pt x="38" y="85"/>
                    <a:pt x="39" y="84"/>
                  </a:cubicBezTo>
                  <a:cubicBezTo>
                    <a:pt x="40" y="84"/>
                    <a:pt x="41" y="83"/>
                    <a:pt x="42" y="83"/>
                  </a:cubicBezTo>
                  <a:cubicBezTo>
                    <a:pt x="43" y="84"/>
                    <a:pt x="46" y="83"/>
                    <a:pt x="47" y="82"/>
                  </a:cubicBezTo>
                  <a:cubicBezTo>
                    <a:pt x="49" y="82"/>
                    <a:pt x="48" y="84"/>
                    <a:pt x="48" y="84"/>
                  </a:cubicBezTo>
                  <a:cubicBezTo>
                    <a:pt x="48" y="85"/>
                    <a:pt x="48" y="85"/>
                    <a:pt x="48" y="86"/>
                  </a:cubicBezTo>
                  <a:cubicBezTo>
                    <a:pt x="47" y="87"/>
                    <a:pt x="48" y="87"/>
                    <a:pt x="48" y="90"/>
                  </a:cubicBezTo>
                  <a:cubicBezTo>
                    <a:pt x="48" y="92"/>
                    <a:pt x="53" y="97"/>
                    <a:pt x="54" y="98"/>
                  </a:cubicBezTo>
                  <a:cubicBezTo>
                    <a:pt x="55" y="99"/>
                    <a:pt x="57" y="98"/>
                    <a:pt x="59" y="98"/>
                  </a:cubicBezTo>
                  <a:cubicBezTo>
                    <a:pt x="60" y="99"/>
                    <a:pt x="61" y="99"/>
                    <a:pt x="62" y="100"/>
                  </a:cubicBezTo>
                  <a:cubicBezTo>
                    <a:pt x="63" y="101"/>
                    <a:pt x="64" y="101"/>
                    <a:pt x="65" y="102"/>
                  </a:cubicBezTo>
                  <a:cubicBezTo>
                    <a:pt x="66" y="102"/>
                    <a:pt x="66" y="102"/>
                    <a:pt x="67" y="103"/>
                  </a:cubicBezTo>
                  <a:cubicBezTo>
                    <a:pt x="68" y="104"/>
                    <a:pt x="71" y="104"/>
                    <a:pt x="72" y="104"/>
                  </a:cubicBezTo>
                  <a:cubicBezTo>
                    <a:pt x="73" y="104"/>
                    <a:pt x="74" y="105"/>
                    <a:pt x="75" y="106"/>
                  </a:cubicBezTo>
                  <a:cubicBezTo>
                    <a:pt x="75" y="106"/>
                    <a:pt x="75" y="107"/>
                    <a:pt x="75" y="108"/>
                  </a:cubicBezTo>
                  <a:cubicBezTo>
                    <a:pt x="75" y="109"/>
                    <a:pt x="76" y="110"/>
                    <a:pt x="76" y="111"/>
                  </a:cubicBezTo>
                  <a:cubicBezTo>
                    <a:pt x="77" y="112"/>
                    <a:pt x="76" y="112"/>
                    <a:pt x="75" y="113"/>
                  </a:cubicBezTo>
                  <a:cubicBezTo>
                    <a:pt x="74" y="113"/>
                    <a:pt x="75" y="113"/>
                    <a:pt x="76" y="114"/>
                  </a:cubicBezTo>
                  <a:cubicBezTo>
                    <a:pt x="76" y="115"/>
                    <a:pt x="76" y="115"/>
                    <a:pt x="76" y="117"/>
                  </a:cubicBezTo>
                  <a:cubicBezTo>
                    <a:pt x="76" y="118"/>
                    <a:pt x="77" y="120"/>
                    <a:pt x="77" y="120"/>
                  </a:cubicBezTo>
                  <a:cubicBezTo>
                    <a:pt x="87" y="120"/>
                    <a:pt x="87" y="120"/>
                    <a:pt x="87" y="120"/>
                  </a:cubicBezTo>
                  <a:cubicBezTo>
                    <a:pt x="87" y="120"/>
                    <a:pt x="87" y="124"/>
                    <a:pt x="87" y="124"/>
                  </a:cubicBezTo>
                  <a:cubicBezTo>
                    <a:pt x="87" y="125"/>
                    <a:pt x="89" y="126"/>
                    <a:pt x="90" y="127"/>
                  </a:cubicBezTo>
                  <a:cubicBezTo>
                    <a:pt x="91" y="127"/>
                    <a:pt x="91" y="129"/>
                    <a:pt x="91" y="130"/>
                  </a:cubicBezTo>
                  <a:cubicBezTo>
                    <a:pt x="91" y="131"/>
                    <a:pt x="90" y="134"/>
                    <a:pt x="89" y="136"/>
                  </a:cubicBezTo>
                  <a:cubicBezTo>
                    <a:pt x="88" y="137"/>
                    <a:pt x="88" y="140"/>
                    <a:pt x="88" y="141"/>
                  </a:cubicBezTo>
                  <a:cubicBezTo>
                    <a:pt x="88" y="142"/>
                    <a:pt x="90" y="146"/>
                    <a:pt x="90" y="147"/>
                  </a:cubicBezTo>
                  <a:cubicBezTo>
                    <a:pt x="90" y="149"/>
                    <a:pt x="89" y="151"/>
                    <a:pt x="89" y="152"/>
                  </a:cubicBezTo>
                  <a:cubicBezTo>
                    <a:pt x="89" y="153"/>
                    <a:pt x="94" y="154"/>
                    <a:pt x="95" y="154"/>
                  </a:cubicBezTo>
                  <a:cubicBezTo>
                    <a:pt x="96" y="154"/>
                    <a:pt x="96" y="154"/>
                    <a:pt x="97" y="153"/>
                  </a:cubicBezTo>
                  <a:cubicBezTo>
                    <a:pt x="98" y="153"/>
                    <a:pt x="99" y="154"/>
                    <a:pt x="100" y="154"/>
                  </a:cubicBezTo>
                  <a:cubicBezTo>
                    <a:pt x="101" y="155"/>
                    <a:pt x="102" y="157"/>
                    <a:pt x="103" y="159"/>
                  </a:cubicBezTo>
                  <a:cubicBezTo>
                    <a:pt x="104" y="160"/>
                    <a:pt x="103" y="161"/>
                    <a:pt x="103" y="162"/>
                  </a:cubicBezTo>
                  <a:cubicBezTo>
                    <a:pt x="103" y="163"/>
                    <a:pt x="103" y="164"/>
                    <a:pt x="104" y="164"/>
                  </a:cubicBezTo>
                  <a:cubicBezTo>
                    <a:pt x="106" y="164"/>
                    <a:pt x="107" y="163"/>
                    <a:pt x="107" y="163"/>
                  </a:cubicBezTo>
                  <a:cubicBezTo>
                    <a:pt x="108" y="163"/>
                    <a:pt x="108" y="164"/>
                    <a:pt x="109" y="164"/>
                  </a:cubicBezTo>
                  <a:cubicBezTo>
                    <a:pt x="110" y="165"/>
                    <a:pt x="110" y="168"/>
                    <a:pt x="109" y="170"/>
                  </a:cubicBezTo>
                  <a:cubicBezTo>
                    <a:pt x="108" y="172"/>
                    <a:pt x="108" y="173"/>
                    <a:pt x="108" y="174"/>
                  </a:cubicBezTo>
                  <a:cubicBezTo>
                    <a:pt x="109" y="173"/>
                    <a:pt x="110" y="173"/>
                    <a:pt x="111" y="173"/>
                  </a:cubicBezTo>
                  <a:cubicBezTo>
                    <a:pt x="112" y="173"/>
                    <a:pt x="110" y="173"/>
                    <a:pt x="112" y="175"/>
                  </a:cubicBezTo>
                  <a:cubicBezTo>
                    <a:pt x="113" y="177"/>
                    <a:pt x="113" y="179"/>
                    <a:pt x="113" y="181"/>
                  </a:cubicBezTo>
                  <a:cubicBezTo>
                    <a:pt x="113" y="183"/>
                    <a:pt x="110" y="183"/>
                    <a:pt x="106" y="185"/>
                  </a:cubicBezTo>
                  <a:cubicBezTo>
                    <a:pt x="103" y="186"/>
                    <a:pt x="100" y="190"/>
                    <a:pt x="98" y="193"/>
                  </a:cubicBezTo>
                  <a:cubicBezTo>
                    <a:pt x="96" y="196"/>
                    <a:pt x="93" y="198"/>
                    <a:pt x="91" y="200"/>
                  </a:cubicBezTo>
                  <a:cubicBezTo>
                    <a:pt x="90" y="200"/>
                    <a:pt x="90" y="201"/>
                    <a:pt x="90" y="201"/>
                  </a:cubicBezTo>
                  <a:cubicBezTo>
                    <a:pt x="91" y="202"/>
                    <a:pt x="94" y="200"/>
                    <a:pt x="95" y="200"/>
                  </a:cubicBezTo>
                  <a:cubicBezTo>
                    <a:pt x="97" y="200"/>
                    <a:pt x="99" y="206"/>
                    <a:pt x="100" y="206"/>
                  </a:cubicBezTo>
                  <a:cubicBezTo>
                    <a:pt x="101" y="207"/>
                    <a:pt x="101" y="207"/>
                    <a:pt x="102" y="207"/>
                  </a:cubicBezTo>
                  <a:cubicBezTo>
                    <a:pt x="102" y="207"/>
                    <a:pt x="102" y="206"/>
                    <a:pt x="103" y="207"/>
                  </a:cubicBezTo>
                  <a:cubicBezTo>
                    <a:pt x="104" y="207"/>
                    <a:pt x="107" y="209"/>
                    <a:pt x="108" y="210"/>
                  </a:cubicBezTo>
                  <a:cubicBezTo>
                    <a:pt x="109" y="211"/>
                    <a:pt x="112" y="213"/>
                    <a:pt x="112" y="214"/>
                  </a:cubicBezTo>
                  <a:cubicBezTo>
                    <a:pt x="112" y="216"/>
                    <a:pt x="114" y="221"/>
                    <a:pt x="114" y="223"/>
                  </a:cubicBezTo>
                  <a:cubicBezTo>
                    <a:pt x="115" y="222"/>
                    <a:pt x="116" y="221"/>
                    <a:pt x="116" y="221"/>
                  </a:cubicBezTo>
                  <a:cubicBezTo>
                    <a:pt x="118" y="219"/>
                    <a:pt x="119" y="215"/>
                    <a:pt x="120" y="214"/>
                  </a:cubicBezTo>
                  <a:cubicBezTo>
                    <a:pt x="121" y="212"/>
                    <a:pt x="123" y="211"/>
                    <a:pt x="124" y="210"/>
                  </a:cubicBezTo>
                  <a:cubicBezTo>
                    <a:pt x="125" y="210"/>
                    <a:pt x="129" y="205"/>
                    <a:pt x="130" y="204"/>
                  </a:cubicBezTo>
                  <a:cubicBezTo>
                    <a:pt x="131" y="202"/>
                    <a:pt x="132" y="197"/>
                    <a:pt x="135" y="195"/>
                  </a:cubicBezTo>
                  <a:cubicBezTo>
                    <a:pt x="137" y="193"/>
                    <a:pt x="140" y="192"/>
                    <a:pt x="140" y="190"/>
                  </a:cubicBezTo>
                  <a:cubicBezTo>
                    <a:pt x="141" y="188"/>
                    <a:pt x="141" y="186"/>
                    <a:pt x="141" y="185"/>
                  </a:cubicBezTo>
                  <a:cubicBezTo>
                    <a:pt x="141" y="183"/>
                    <a:pt x="140" y="181"/>
                    <a:pt x="141" y="179"/>
                  </a:cubicBezTo>
                  <a:cubicBezTo>
                    <a:pt x="141" y="176"/>
                    <a:pt x="141" y="175"/>
                    <a:pt x="141" y="174"/>
                  </a:cubicBezTo>
                  <a:cubicBezTo>
                    <a:pt x="141" y="173"/>
                    <a:pt x="141" y="174"/>
                    <a:pt x="141" y="173"/>
                  </a:cubicBezTo>
                  <a:cubicBezTo>
                    <a:pt x="142" y="172"/>
                    <a:pt x="143" y="173"/>
                    <a:pt x="144" y="172"/>
                  </a:cubicBezTo>
                  <a:cubicBezTo>
                    <a:pt x="145" y="170"/>
                    <a:pt x="147" y="168"/>
                    <a:pt x="148" y="167"/>
                  </a:cubicBezTo>
                  <a:cubicBezTo>
                    <a:pt x="150" y="166"/>
                    <a:pt x="150" y="165"/>
                    <a:pt x="151" y="165"/>
                  </a:cubicBezTo>
                  <a:cubicBezTo>
                    <a:pt x="152" y="165"/>
                    <a:pt x="155" y="163"/>
                    <a:pt x="156" y="163"/>
                  </a:cubicBezTo>
                  <a:cubicBezTo>
                    <a:pt x="158" y="163"/>
                    <a:pt x="160" y="164"/>
                    <a:pt x="160" y="163"/>
                  </a:cubicBezTo>
                  <a:cubicBezTo>
                    <a:pt x="159" y="162"/>
                    <a:pt x="158" y="162"/>
                    <a:pt x="159" y="162"/>
                  </a:cubicBezTo>
                  <a:cubicBezTo>
                    <a:pt x="159" y="161"/>
                    <a:pt x="161" y="161"/>
                    <a:pt x="162" y="161"/>
                  </a:cubicBezTo>
                  <a:cubicBezTo>
                    <a:pt x="164" y="160"/>
                    <a:pt x="164" y="159"/>
                    <a:pt x="163" y="159"/>
                  </a:cubicBezTo>
                  <a:cubicBezTo>
                    <a:pt x="163" y="158"/>
                    <a:pt x="164" y="158"/>
                    <a:pt x="165" y="158"/>
                  </a:cubicBezTo>
                  <a:cubicBezTo>
                    <a:pt x="165" y="158"/>
                    <a:pt x="165" y="158"/>
                    <a:pt x="165" y="158"/>
                  </a:cubicBezTo>
                  <a:cubicBezTo>
                    <a:pt x="165" y="159"/>
                    <a:pt x="166" y="159"/>
                    <a:pt x="168" y="159"/>
                  </a:cubicBezTo>
                  <a:cubicBezTo>
                    <a:pt x="170" y="158"/>
                    <a:pt x="171" y="157"/>
                    <a:pt x="171" y="157"/>
                  </a:cubicBezTo>
                  <a:cubicBezTo>
                    <a:pt x="172" y="157"/>
                    <a:pt x="171" y="157"/>
                    <a:pt x="172" y="158"/>
                  </a:cubicBezTo>
                  <a:cubicBezTo>
                    <a:pt x="172" y="158"/>
                    <a:pt x="173" y="158"/>
                    <a:pt x="175" y="158"/>
                  </a:cubicBezTo>
                  <a:cubicBezTo>
                    <a:pt x="177" y="157"/>
                    <a:pt x="178" y="158"/>
                    <a:pt x="178" y="156"/>
                  </a:cubicBezTo>
                  <a:cubicBezTo>
                    <a:pt x="178" y="155"/>
                    <a:pt x="181" y="154"/>
                    <a:pt x="181" y="153"/>
                  </a:cubicBezTo>
                  <a:cubicBezTo>
                    <a:pt x="182" y="152"/>
                    <a:pt x="183" y="152"/>
                    <a:pt x="183" y="149"/>
                  </a:cubicBezTo>
                  <a:cubicBezTo>
                    <a:pt x="183" y="147"/>
                    <a:pt x="185" y="146"/>
                    <a:pt x="186" y="145"/>
                  </a:cubicBezTo>
                  <a:cubicBezTo>
                    <a:pt x="187" y="144"/>
                    <a:pt x="188" y="142"/>
                    <a:pt x="189" y="141"/>
                  </a:cubicBezTo>
                  <a:cubicBezTo>
                    <a:pt x="189" y="140"/>
                    <a:pt x="190" y="140"/>
                    <a:pt x="190" y="139"/>
                  </a:cubicBezTo>
                  <a:cubicBezTo>
                    <a:pt x="191" y="138"/>
                    <a:pt x="190" y="135"/>
                    <a:pt x="190" y="133"/>
                  </a:cubicBezTo>
                  <a:cubicBezTo>
                    <a:pt x="190" y="131"/>
                    <a:pt x="191" y="130"/>
                    <a:pt x="192" y="129"/>
                  </a:cubicBezTo>
                  <a:cubicBezTo>
                    <a:pt x="193" y="129"/>
                    <a:pt x="194" y="129"/>
                    <a:pt x="194" y="126"/>
                  </a:cubicBezTo>
                  <a:cubicBezTo>
                    <a:pt x="194" y="124"/>
                    <a:pt x="194" y="121"/>
                    <a:pt x="195" y="119"/>
                  </a:cubicBezTo>
                  <a:cubicBezTo>
                    <a:pt x="196" y="117"/>
                    <a:pt x="194" y="112"/>
                    <a:pt x="195" y="109"/>
                  </a:cubicBezTo>
                  <a:cubicBezTo>
                    <a:pt x="195" y="107"/>
                    <a:pt x="194" y="103"/>
                    <a:pt x="195" y="102"/>
                  </a:cubicBezTo>
                  <a:cubicBezTo>
                    <a:pt x="195" y="101"/>
                    <a:pt x="196" y="101"/>
                    <a:pt x="196" y="101"/>
                  </a:cubicBezTo>
                  <a:cubicBezTo>
                    <a:pt x="195" y="100"/>
                    <a:pt x="194" y="99"/>
                    <a:pt x="195" y="99"/>
                  </a:cubicBezTo>
                  <a:cubicBezTo>
                    <a:pt x="196" y="100"/>
                    <a:pt x="197" y="101"/>
                    <a:pt x="197" y="100"/>
                  </a:cubicBezTo>
                  <a:cubicBezTo>
                    <a:pt x="196" y="100"/>
                    <a:pt x="197" y="99"/>
                    <a:pt x="197" y="99"/>
                  </a:cubicBezTo>
                  <a:cubicBezTo>
                    <a:pt x="197" y="99"/>
                    <a:pt x="197" y="99"/>
                    <a:pt x="198" y="99"/>
                  </a:cubicBezTo>
                  <a:cubicBezTo>
                    <a:pt x="198" y="100"/>
                    <a:pt x="199" y="100"/>
                    <a:pt x="200" y="99"/>
                  </a:cubicBezTo>
                  <a:cubicBezTo>
                    <a:pt x="201" y="97"/>
                    <a:pt x="202" y="95"/>
                    <a:pt x="203" y="93"/>
                  </a:cubicBezTo>
                  <a:cubicBezTo>
                    <a:pt x="204" y="90"/>
                    <a:pt x="206" y="88"/>
                    <a:pt x="208" y="87"/>
                  </a:cubicBezTo>
                  <a:cubicBezTo>
                    <a:pt x="210" y="86"/>
                    <a:pt x="211" y="85"/>
                    <a:pt x="212" y="83"/>
                  </a:cubicBezTo>
                  <a:cubicBezTo>
                    <a:pt x="213" y="82"/>
                    <a:pt x="217" y="77"/>
                    <a:pt x="218" y="74"/>
                  </a:cubicBezTo>
                  <a:cubicBezTo>
                    <a:pt x="218" y="71"/>
                    <a:pt x="219" y="66"/>
                    <a:pt x="217" y="62"/>
                  </a:cubicBezTo>
                  <a:close/>
                  <a:moveTo>
                    <a:pt x="127" y="206"/>
                  </a:moveTo>
                  <a:cubicBezTo>
                    <a:pt x="126" y="206"/>
                    <a:pt x="123" y="211"/>
                    <a:pt x="121" y="211"/>
                  </a:cubicBezTo>
                  <a:cubicBezTo>
                    <a:pt x="119" y="211"/>
                    <a:pt x="125" y="207"/>
                    <a:pt x="124" y="206"/>
                  </a:cubicBezTo>
                  <a:cubicBezTo>
                    <a:pt x="124" y="205"/>
                    <a:pt x="129" y="200"/>
                    <a:pt x="129" y="201"/>
                  </a:cubicBezTo>
                  <a:cubicBezTo>
                    <a:pt x="131" y="202"/>
                    <a:pt x="128" y="205"/>
                    <a:pt x="127" y="206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95" name="Freeform 610">
              <a:extLst>
                <a:ext uri="{FF2B5EF4-FFF2-40B4-BE49-F238E27FC236}">
                  <a16:creationId xmlns:a16="http://schemas.microsoft.com/office/drawing/2014/main" id="{D444FD53-A12E-5B7B-71B5-876AD1DDF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467" y="4940878"/>
              <a:ext cx="93236" cy="100500"/>
            </a:xfrm>
            <a:custGeom>
              <a:avLst/>
              <a:gdLst>
                <a:gd name="T0" fmla="*/ 23 w 29"/>
                <a:gd name="T1" fmla="*/ 10 h 31"/>
                <a:gd name="T2" fmla="*/ 18 w 29"/>
                <a:gd name="T3" fmla="*/ 7 h 31"/>
                <a:gd name="T4" fmla="*/ 17 w 29"/>
                <a:gd name="T5" fmla="*/ 7 h 31"/>
                <a:gd name="T6" fmla="*/ 15 w 29"/>
                <a:gd name="T7" fmla="*/ 6 h 31"/>
                <a:gd name="T8" fmla="*/ 10 w 29"/>
                <a:gd name="T9" fmla="*/ 0 h 31"/>
                <a:gd name="T10" fmla="*/ 5 w 29"/>
                <a:gd name="T11" fmla="*/ 1 h 31"/>
                <a:gd name="T12" fmla="*/ 3 w 29"/>
                <a:gd name="T13" fmla="*/ 9 h 31"/>
                <a:gd name="T14" fmla="*/ 3 w 29"/>
                <a:gd name="T15" fmla="*/ 16 h 31"/>
                <a:gd name="T16" fmla="*/ 1 w 29"/>
                <a:gd name="T17" fmla="*/ 19 h 31"/>
                <a:gd name="T18" fmla="*/ 2 w 29"/>
                <a:gd name="T19" fmla="*/ 26 h 31"/>
                <a:gd name="T20" fmla="*/ 3 w 29"/>
                <a:gd name="T21" fmla="*/ 26 h 31"/>
                <a:gd name="T22" fmla="*/ 8 w 29"/>
                <a:gd name="T23" fmla="*/ 27 h 31"/>
                <a:gd name="T24" fmla="*/ 12 w 29"/>
                <a:gd name="T25" fmla="*/ 29 h 31"/>
                <a:gd name="T26" fmla="*/ 14 w 29"/>
                <a:gd name="T27" fmla="*/ 30 h 31"/>
                <a:gd name="T28" fmla="*/ 17 w 29"/>
                <a:gd name="T29" fmla="*/ 30 h 31"/>
                <a:gd name="T30" fmla="*/ 22 w 29"/>
                <a:gd name="T31" fmla="*/ 30 h 31"/>
                <a:gd name="T32" fmla="*/ 27 w 29"/>
                <a:gd name="T33" fmla="*/ 26 h 31"/>
                <a:gd name="T34" fmla="*/ 29 w 29"/>
                <a:gd name="T35" fmla="*/ 23 h 31"/>
                <a:gd name="T36" fmla="*/ 27 w 29"/>
                <a:gd name="T37" fmla="*/ 14 h 31"/>
                <a:gd name="T38" fmla="*/ 23 w 29"/>
                <a:gd name="T39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31">
                  <a:moveTo>
                    <a:pt x="23" y="10"/>
                  </a:moveTo>
                  <a:cubicBezTo>
                    <a:pt x="22" y="9"/>
                    <a:pt x="19" y="7"/>
                    <a:pt x="18" y="7"/>
                  </a:cubicBezTo>
                  <a:cubicBezTo>
                    <a:pt x="17" y="6"/>
                    <a:pt x="17" y="7"/>
                    <a:pt x="17" y="7"/>
                  </a:cubicBezTo>
                  <a:cubicBezTo>
                    <a:pt x="16" y="7"/>
                    <a:pt x="16" y="7"/>
                    <a:pt x="15" y="6"/>
                  </a:cubicBezTo>
                  <a:cubicBezTo>
                    <a:pt x="14" y="6"/>
                    <a:pt x="12" y="0"/>
                    <a:pt x="10" y="0"/>
                  </a:cubicBezTo>
                  <a:cubicBezTo>
                    <a:pt x="9" y="0"/>
                    <a:pt x="6" y="2"/>
                    <a:pt x="5" y="1"/>
                  </a:cubicBezTo>
                  <a:cubicBezTo>
                    <a:pt x="3" y="3"/>
                    <a:pt x="3" y="7"/>
                    <a:pt x="3" y="9"/>
                  </a:cubicBezTo>
                  <a:cubicBezTo>
                    <a:pt x="2" y="10"/>
                    <a:pt x="3" y="15"/>
                    <a:pt x="3" y="16"/>
                  </a:cubicBezTo>
                  <a:cubicBezTo>
                    <a:pt x="3" y="18"/>
                    <a:pt x="2" y="18"/>
                    <a:pt x="1" y="19"/>
                  </a:cubicBezTo>
                  <a:cubicBezTo>
                    <a:pt x="0" y="20"/>
                    <a:pt x="1" y="24"/>
                    <a:pt x="2" y="26"/>
                  </a:cubicBezTo>
                  <a:cubicBezTo>
                    <a:pt x="2" y="26"/>
                    <a:pt x="3" y="26"/>
                    <a:pt x="3" y="26"/>
                  </a:cubicBezTo>
                  <a:cubicBezTo>
                    <a:pt x="4" y="27"/>
                    <a:pt x="8" y="27"/>
                    <a:pt x="8" y="27"/>
                  </a:cubicBezTo>
                  <a:cubicBezTo>
                    <a:pt x="9" y="27"/>
                    <a:pt x="10" y="29"/>
                    <a:pt x="12" y="29"/>
                  </a:cubicBezTo>
                  <a:cubicBezTo>
                    <a:pt x="13" y="29"/>
                    <a:pt x="13" y="31"/>
                    <a:pt x="14" y="30"/>
                  </a:cubicBezTo>
                  <a:cubicBezTo>
                    <a:pt x="16" y="30"/>
                    <a:pt x="16" y="29"/>
                    <a:pt x="17" y="30"/>
                  </a:cubicBezTo>
                  <a:cubicBezTo>
                    <a:pt x="19" y="30"/>
                    <a:pt x="20" y="31"/>
                    <a:pt x="22" y="30"/>
                  </a:cubicBezTo>
                  <a:cubicBezTo>
                    <a:pt x="24" y="29"/>
                    <a:pt x="26" y="28"/>
                    <a:pt x="27" y="26"/>
                  </a:cubicBezTo>
                  <a:cubicBezTo>
                    <a:pt x="28" y="25"/>
                    <a:pt x="28" y="24"/>
                    <a:pt x="29" y="23"/>
                  </a:cubicBezTo>
                  <a:cubicBezTo>
                    <a:pt x="29" y="21"/>
                    <a:pt x="27" y="16"/>
                    <a:pt x="27" y="14"/>
                  </a:cubicBezTo>
                  <a:cubicBezTo>
                    <a:pt x="27" y="13"/>
                    <a:pt x="24" y="11"/>
                    <a:pt x="23" y="1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96" name="Freeform 611">
              <a:extLst>
                <a:ext uri="{FF2B5EF4-FFF2-40B4-BE49-F238E27FC236}">
                  <a16:creationId xmlns:a16="http://schemas.microsoft.com/office/drawing/2014/main" id="{76E7C295-3FF7-4928-CE30-054F08043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024" y="4809417"/>
              <a:ext cx="362046" cy="644170"/>
            </a:xfrm>
            <a:custGeom>
              <a:avLst/>
              <a:gdLst>
                <a:gd name="T0" fmla="*/ 87 w 112"/>
                <a:gd name="T1" fmla="*/ 58 h 199"/>
                <a:gd name="T2" fmla="*/ 105 w 112"/>
                <a:gd name="T3" fmla="*/ 34 h 199"/>
                <a:gd name="T4" fmla="*/ 110 w 112"/>
                <a:gd name="T5" fmla="*/ 22 h 199"/>
                <a:gd name="T6" fmla="*/ 104 w 112"/>
                <a:gd name="T7" fmla="*/ 30 h 199"/>
                <a:gd name="T8" fmla="*/ 95 w 112"/>
                <a:gd name="T9" fmla="*/ 34 h 199"/>
                <a:gd name="T10" fmla="*/ 86 w 112"/>
                <a:gd name="T11" fmla="*/ 29 h 199"/>
                <a:gd name="T12" fmla="*/ 83 w 112"/>
                <a:gd name="T13" fmla="*/ 17 h 199"/>
                <a:gd name="T14" fmla="*/ 65 w 112"/>
                <a:gd name="T15" fmla="*/ 6 h 199"/>
                <a:gd name="T16" fmla="*/ 53 w 112"/>
                <a:gd name="T17" fmla="*/ 4 h 199"/>
                <a:gd name="T18" fmla="*/ 43 w 112"/>
                <a:gd name="T19" fmla="*/ 0 h 199"/>
                <a:gd name="T20" fmla="*/ 35 w 112"/>
                <a:gd name="T21" fmla="*/ 13 h 199"/>
                <a:gd name="T22" fmla="*/ 29 w 112"/>
                <a:gd name="T23" fmla="*/ 28 h 199"/>
                <a:gd name="T24" fmla="*/ 22 w 112"/>
                <a:gd name="T25" fmla="*/ 40 h 199"/>
                <a:gd name="T26" fmla="*/ 20 w 112"/>
                <a:gd name="T27" fmla="*/ 52 h 199"/>
                <a:gd name="T28" fmla="*/ 20 w 112"/>
                <a:gd name="T29" fmla="*/ 67 h 199"/>
                <a:gd name="T30" fmla="*/ 18 w 112"/>
                <a:gd name="T31" fmla="*/ 83 h 199"/>
                <a:gd name="T32" fmla="*/ 15 w 112"/>
                <a:gd name="T33" fmla="*/ 100 h 199"/>
                <a:gd name="T34" fmla="*/ 10 w 112"/>
                <a:gd name="T35" fmla="*/ 116 h 199"/>
                <a:gd name="T36" fmla="*/ 10 w 112"/>
                <a:gd name="T37" fmla="*/ 141 h 199"/>
                <a:gd name="T38" fmla="*/ 13 w 112"/>
                <a:gd name="T39" fmla="*/ 148 h 199"/>
                <a:gd name="T40" fmla="*/ 6 w 112"/>
                <a:gd name="T41" fmla="*/ 163 h 199"/>
                <a:gd name="T42" fmla="*/ 0 w 112"/>
                <a:gd name="T43" fmla="*/ 177 h 199"/>
                <a:gd name="T44" fmla="*/ 7 w 112"/>
                <a:gd name="T45" fmla="*/ 186 h 199"/>
                <a:gd name="T46" fmla="*/ 22 w 112"/>
                <a:gd name="T47" fmla="*/ 196 h 199"/>
                <a:gd name="T48" fmla="*/ 26 w 112"/>
                <a:gd name="T49" fmla="*/ 197 h 199"/>
                <a:gd name="T50" fmla="*/ 26 w 112"/>
                <a:gd name="T51" fmla="*/ 184 h 199"/>
                <a:gd name="T52" fmla="*/ 26 w 112"/>
                <a:gd name="T53" fmla="*/ 180 h 199"/>
                <a:gd name="T54" fmla="*/ 29 w 112"/>
                <a:gd name="T55" fmla="*/ 181 h 199"/>
                <a:gd name="T56" fmla="*/ 37 w 112"/>
                <a:gd name="T57" fmla="*/ 170 h 199"/>
                <a:gd name="T58" fmla="*/ 42 w 112"/>
                <a:gd name="T59" fmla="*/ 165 h 199"/>
                <a:gd name="T60" fmla="*/ 38 w 112"/>
                <a:gd name="T61" fmla="*/ 159 h 199"/>
                <a:gd name="T62" fmla="*/ 36 w 112"/>
                <a:gd name="T63" fmla="*/ 148 h 199"/>
                <a:gd name="T64" fmla="*/ 45 w 112"/>
                <a:gd name="T65" fmla="*/ 142 h 199"/>
                <a:gd name="T66" fmla="*/ 49 w 112"/>
                <a:gd name="T67" fmla="*/ 133 h 199"/>
                <a:gd name="T68" fmla="*/ 51 w 112"/>
                <a:gd name="T69" fmla="*/ 129 h 199"/>
                <a:gd name="T70" fmla="*/ 54 w 112"/>
                <a:gd name="T71" fmla="*/ 126 h 199"/>
                <a:gd name="T72" fmla="*/ 48 w 112"/>
                <a:gd name="T73" fmla="*/ 124 h 199"/>
                <a:gd name="T74" fmla="*/ 56 w 112"/>
                <a:gd name="T75" fmla="*/ 119 h 199"/>
                <a:gd name="T76" fmla="*/ 62 w 112"/>
                <a:gd name="T77" fmla="*/ 113 h 199"/>
                <a:gd name="T78" fmla="*/ 65 w 112"/>
                <a:gd name="T79" fmla="*/ 105 h 199"/>
                <a:gd name="T80" fmla="*/ 77 w 112"/>
                <a:gd name="T81" fmla="*/ 104 h 199"/>
                <a:gd name="T82" fmla="*/ 93 w 112"/>
                <a:gd name="T83" fmla="*/ 94 h 199"/>
                <a:gd name="T84" fmla="*/ 90 w 112"/>
                <a:gd name="T85" fmla="*/ 86 h 199"/>
                <a:gd name="T86" fmla="*/ 84 w 112"/>
                <a:gd name="T87" fmla="*/ 76 h 199"/>
                <a:gd name="T88" fmla="*/ 85 w 112"/>
                <a:gd name="T89" fmla="*/ 68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2" h="199">
                  <a:moveTo>
                    <a:pt x="85" y="68"/>
                  </a:moveTo>
                  <a:cubicBezTo>
                    <a:pt x="86" y="67"/>
                    <a:pt x="87" y="67"/>
                    <a:pt x="87" y="65"/>
                  </a:cubicBezTo>
                  <a:cubicBezTo>
                    <a:pt x="87" y="64"/>
                    <a:pt x="86" y="59"/>
                    <a:pt x="87" y="58"/>
                  </a:cubicBezTo>
                  <a:cubicBezTo>
                    <a:pt x="87" y="56"/>
                    <a:pt x="87" y="51"/>
                    <a:pt x="90" y="49"/>
                  </a:cubicBezTo>
                  <a:cubicBezTo>
                    <a:pt x="92" y="47"/>
                    <a:pt x="95" y="45"/>
                    <a:pt x="97" y="42"/>
                  </a:cubicBezTo>
                  <a:cubicBezTo>
                    <a:pt x="99" y="39"/>
                    <a:pt x="102" y="35"/>
                    <a:pt x="105" y="34"/>
                  </a:cubicBezTo>
                  <a:cubicBezTo>
                    <a:pt x="109" y="32"/>
                    <a:pt x="112" y="32"/>
                    <a:pt x="112" y="30"/>
                  </a:cubicBezTo>
                  <a:cubicBezTo>
                    <a:pt x="112" y="28"/>
                    <a:pt x="112" y="26"/>
                    <a:pt x="111" y="24"/>
                  </a:cubicBezTo>
                  <a:cubicBezTo>
                    <a:pt x="109" y="22"/>
                    <a:pt x="111" y="22"/>
                    <a:pt x="110" y="22"/>
                  </a:cubicBezTo>
                  <a:cubicBezTo>
                    <a:pt x="108" y="22"/>
                    <a:pt x="107" y="22"/>
                    <a:pt x="107" y="23"/>
                  </a:cubicBezTo>
                  <a:cubicBezTo>
                    <a:pt x="107" y="24"/>
                    <a:pt x="107" y="26"/>
                    <a:pt x="106" y="27"/>
                  </a:cubicBezTo>
                  <a:cubicBezTo>
                    <a:pt x="106" y="28"/>
                    <a:pt x="105" y="30"/>
                    <a:pt x="104" y="30"/>
                  </a:cubicBezTo>
                  <a:cubicBezTo>
                    <a:pt x="103" y="31"/>
                    <a:pt x="103" y="32"/>
                    <a:pt x="101" y="32"/>
                  </a:cubicBezTo>
                  <a:cubicBezTo>
                    <a:pt x="100" y="32"/>
                    <a:pt x="99" y="32"/>
                    <a:pt x="98" y="32"/>
                  </a:cubicBezTo>
                  <a:cubicBezTo>
                    <a:pt x="97" y="33"/>
                    <a:pt x="96" y="34"/>
                    <a:pt x="95" y="34"/>
                  </a:cubicBezTo>
                  <a:cubicBezTo>
                    <a:pt x="93" y="34"/>
                    <a:pt x="92" y="33"/>
                    <a:pt x="90" y="33"/>
                  </a:cubicBezTo>
                  <a:cubicBezTo>
                    <a:pt x="88" y="33"/>
                    <a:pt x="84" y="34"/>
                    <a:pt x="84" y="33"/>
                  </a:cubicBezTo>
                  <a:cubicBezTo>
                    <a:pt x="84" y="32"/>
                    <a:pt x="86" y="31"/>
                    <a:pt x="86" y="29"/>
                  </a:cubicBezTo>
                  <a:cubicBezTo>
                    <a:pt x="86" y="28"/>
                    <a:pt x="86" y="27"/>
                    <a:pt x="87" y="25"/>
                  </a:cubicBezTo>
                  <a:cubicBezTo>
                    <a:pt x="89" y="24"/>
                    <a:pt x="91" y="22"/>
                    <a:pt x="89" y="20"/>
                  </a:cubicBezTo>
                  <a:cubicBezTo>
                    <a:pt x="88" y="19"/>
                    <a:pt x="86" y="18"/>
                    <a:pt x="83" y="17"/>
                  </a:cubicBezTo>
                  <a:cubicBezTo>
                    <a:pt x="81" y="15"/>
                    <a:pt x="78" y="13"/>
                    <a:pt x="77" y="13"/>
                  </a:cubicBezTo>
                  <a:cubicBezTo>
                    <a:pt x="76" y="12"/>
                    <a:pt x="73" y="13"/>
                    <a:pt x="71" y="11"/>
                  </a:cubicBezTo>
                  <a:cubicBezTo>
                    <a:pt x="70" y="10"/>
                    <a:pt x="67" y="8"/>
                    <a:pt x="65" y="6"/>
                  </a:cubicBezTo>
                  <a:cubicBezTo>
                    <a:pt x="64" y="5"/>
                    <a:pt x="63" y="2"/>
                    <a:pt x="62" y="1"/>
                  </a:cubicBezTo>
                  <a:cubicBezTo>
                    <a:pt x="60" y="1"/>
                    <a:pt x="56" y="1"/>
                    <a:pt x="56" y="1"/>
                  </a:cubicBezTo>
                  <a:cubicBezTo>
                    <a:pt x="55" y="2"/>
                    <a:pt x="54" y="4"/>
                    <a:pt x="53" y="4"/>
                  </a:cubicBezTo>
                  <a:cubicBezTo>
                    <a:pt x="52" y="4"/>
                    <a:pt x="51" y="2"/>
                    <a:pt x="49" y="2"/>
                  </a:cubicBezTo>
                  <a:cubicBezTo>
                    <a:pt x="48" y="2"/>
                    <a:pt x="46" y="2"/>
                    <a:pt x="45" y="2"/>
                  </a:cubicBezTo>
                  <a:cubicBezTo>
                    <a:pt x="44" y="2"/>
                    <a:pt x="44" y="0"/>
                    <a:pt x="43" y="0"/>
                  </a:cubicBezTo>
                  <a:cubicBezTo>
                    <a:pt x="42" y="0"/>
                    <a:pt x="39" y="2"/>
                    <a:pt x="38" y="3"/>
                  </a:cubicBezTo>
                  <a:cubicBezTo>
                    <a:pt x="37" y="3"/>
                    <a:pt x="37" y="6"/>
                    <a:pt x="37" y="7"/>
                  </a:cubicBezTo>
                  <a:cubicBezTo>
                    <a:pt x="37" y="8"/>
                    <a:pt x="37" y="12"/>
                    <a:pt x="35" y="13"/>
                  </a:cubicBezTo>
                  <a:cubicBezTo>
                    <a:pt x="34" y="13"/>
                    <a:pt x="28" y="15"/>
                    <a:pt x="28" y="16"/>
                  </a:cubicBezTo>
                  <a:cubicBezTo>
                    <a:pt x="28" y="17"/>
                    <a:pt x="28" y="23"/>
                    <a:pt x="28" y="24"/>
                  </a:cubicBezTo>
                  <a:cubicBezTo>
                    <a:pt x="28" y="26"/>
                    <a:pt x="28" y="27"/>
                    <a:pt x="29" y="28"/>
                  </a:cubicBezTo>
                  <a:cubicBezTo>
                    <a:pt x="29" y="29"/>
                    <a:pt x="30" y="30"/>
                    <a:pt x="29" y="31"/>
                  </a:cubicBezTo>
                  <a:cubicBezTo>
                    <a:pt x="28" y="31"/>
                    <a:pt x="26" y="34"/>
                    <a:pt x="25" y="35"/>
                  </a:cubicBezTo>
                  <a:cubicBezTo>
                    <a:pt x="24" y="36"/>
                    <a:pt x="22" y="39"/>
                    <a:pt x="22" y="40"/>
                  </a:cubicBezTo>
                  <a:cubicBezTo>
                    <a:pt x="22" y="41"/>
                    <a:pt x="22" y="43"/>
                    <a:pt x="21" y="44"/>
                  </a:cubicBezTo>
                  <a:cubicBezTo>
                    <a:pt x="20" y="45"/>
                    <a:pt x="20" y="46"/>
                    <a:pt x="20" y="47"/>
                  </a:cubicBezTo>
                  <a:cubicBezTo>
                    <a:pt x="20" y="49"/>
                    <a:pt x="21" y="51"/>
                    <a:pt x="20" y="52"/>
                  </a:cubicBezTo>
                  <a:cubicBezTo>
                    <a:pt x="19" y="53"/>
                    <a:pt x="19" y="55"/>
                    <a:pt x="19" y="56"/>
                  </a:cubicBezTo>
                  <a:cubicBezTo>
                    <a:pt x="18" y="57"/>
                    <a:pt x="17" y="57"/>
                    <a:pt x="18" y="58"/>
                  </a:cubicBezTo>
                  <a:cubicBezTo>
                    <a:pt x="19" y="60"/>
                    <a:pt x="20" y="65"/>
                    <a:pt x="20" y="67"/>
                  </a:cubicBezTo>
                  <a:cubicBezTo>
                    <a:pt x="20" y="68"/>
                    <a:pt x="21" y="68"/>
                    <a:pt x="21" y="70"/>
                  </a:cubicBezTo>
                  <a:cubicBezTo>
                    <a:pt x="21" y="73"/>
                    <a:pt x="20" y="74"/>
                    <a:pt x="19" y="76"/>
                  </a:cubicBezTo>
                  <a:cubicBezTo>
                    <a:pt x="18" y="78"/>
                    <a:pt x="17" y="81"/>
                    <a:pt x="18" y="83"/>
                  </a:cubicBezTo>
                  <a:cubicBezTo>
                    <a:pt x="18" y="84"/>
                    <a:pt x="19" y="86"/>
                    <a:pt x="18" y="87"/>
                  </a:cubicBezTo>
                  <a:cubicBezTo>
                    <a:pt x="17" y="89"/>
                    <a:pt x="13" y="90"/>
                    <a:pt x="13" y="93"/>
                  </a:cubicBezTo>
                  <a:cubicBezTo>
                    <a:pt x="13" y="95"/>
                    <a:pt x="15" y="97"/>
                    <a:pt x="15" y="100"/>
                  </a:cubicBezTo>
                  <a:cubicBezTo>
                    <a:pt x="15" y="102"/>
                    <a:pt x="16" y="104"/>
                    <a:pt x="15" y="104"/>
                  </a:cubicBezTo>
                  <a:cubicBezTo>
                    <a:pt x="13" y="105"/>
                    <a:pt x="12" y="107"/>
                    <a:pt x="12" y="108"/>
                  </a:cubicBezTo>
                  <a:cubicBezTo>
                    <a:pt x="12" y="110"/>
                    <a:pt x="11" y="114"/>
                    <a:pt x="10" y="116"/>
                  </a:cubicBezTo>
                  <a:cubicBezTo>
                    <a:pt x="9" y="118"/>
                    <a:pt x="9" y="122"/>
                    <a:pt x="9" y="126"/>
                  </a:cubicBezTo>
                  <a:cubicBezTo>
                    <a:pt x="9" y="129"/>
                    <a:pt x="9" y="130"/>
                    <a:pt x="9" y="131"/>
                  </a:cubicBezTo>
                  <a:cubicBezTo>
                    <a:pt x="9" y="133"/>
                    <a:pt x="9" y="141"/>
                    <a:pt x="10" y="141"/>
                  </a:cubicBezTo>
                  <a:cubicBezTo>
                    <a:pt x="12" y="141"/>
                    <a:pt x="15" y="144"/>
                    <a:pt x="13" y="144"/>
                  </a:cubicBezTo>
                  <a:cubicBezTo>
                    <a:pt x="10" y="144"/>
                    <a:pt x="8" y="145"/>
                    <a:pt x="10" y="146"/>
                  </a:cubicBezTo>
                  <a:cubicBezTo>
                    <a:pt x="12" y="146"/>
                    <a:pt x="13" y="148"/>
                    <a:pt x="13" y="148"/>
                  </a:cubicBezTo>
                  <a:cubicBezTo>
                    <a:pt x="12" y="149"/>
                    <a:pt x="10" y="150"/>
                    <a:pt x="10" y="153"/>
                  </a:cubicBezTo>
                  <a:cubicBezTo>
                    <a:pt x="10" y="155"/>
                    <a:pt x="10" y="158"/>
                    <a:pt x="9" y="159"/>
                  </a:cubicBezTo>
                  <a:cubicBezTo>
                    <a:pt x="8" y="161"/>
                    <a:pt x="7" y="162"/>
                    <a:pt x="6" y="163"/>
                  </a:cubicBezTo>
                  <a:cubicBezTo>
                    <a:pt x="6" y="165"/>
                    <a:pt x="8" y="169"/>
                    <a:pt x="6" y="169"/>
                  </a:cubicBezTo>
                  <a:cubicBezTo>
                    <a:pt x="5" y="170"/>
                    <a:pt x="5" y="173"/>
                    <a:pt x="3" y="173"/>
                  </a:cubicBezTo>
                  <a:cubicBezTo>
                    <a:pt x="2" y="174"/>
                    <a:pt x="0" y="175"/>
                    <a:pt x="0" y="177"/>
                  </a:cubicBezTo>
                  <a:cubicBezTo>
                    <a:pt x="0" y="179"/>
                    <a:pt x="1" y="181"/>
                    <a:pt x="1" y="183"/>
                  </a:cubicBezTo>
                  <a:cubicBezTo>
                    <a:pt x="2" y="184"/>
                    <a:pt x="2" y="186"/>
                    <a:pt x="2" y="186"/>
                  </a:cubicBezTo>
                  <a:cubicBezTo>
                    <a:pt x="7" y="186"/>
                    <a:pt x="7" y="186"/>
                    <a:pt x="7" y="186"/>
                  </a:cubicBezTo>
                  <a:cubicBezTo>
                    <a:pt x="7" y="193"/>
                    <a:pt x="7" y="193"/>
                    <a:pt x="7" y="193"/>
                  </a:cubicBezTo>
                  <a:cubicBezTo>
                    <a:pt x="10" y="196"/>
                    <a:pt x="10" y="196"/>
                    <a:pt x="10" y="196"/>
                  </a:cubicBezTo>
                  <a:cubicBezTo>
                    <a:pt x="10" y="196"/>
                    <a:pt x="21" y="196"/>
                    <a:pt x="22" y="196"/>
                  </a:cubicBezTo>
                  <a:cubicBezTo>
                    <a:pt x="22" y="196"/>
                    <a:pt x="23" y="196"/>
                    <a:pt x="23" y="197"/>
                  </a:cubicBezTo>
                  <a:cubicBezTo>
                    <a:pt x="23" y="197"/>
                    <a:pt x="23" y="197"/>
                    <a:pt x="23" y="197"/>
                  </a:cubicBezTo>
                  <a:cubicBezTo>
                    <a:pt x="24" y="196"/>
                    <a:pt x="25" y="196"/>
                    <a:pt x="26" y="197"/>
                  </a:cubicBezTo>
                  <a:cubicBezTo>
                    <a:pt x="27" y="198"/>
                    <a:pt x="29" y="199"/>
                    <a:pt x="29" y="198"/>
                  </a:cubicBezTo>
                  <a:cubicBezTo>
                    <a:pt x="28" y="197"/>
                    <a:pt x="25" y="193"/>
                    <a:pt x="25" y="191"/>
                  </a:cubicBezTo>
                  <a:cubicBezTo>
                    <a:pt x="25" y="189"/>
                    <a:pt x="24" y="185"/>
                    <a:pt x="26" y="184"/>
                  </a:cubicBezTo>
                  <a:cubicBezTo>
                    <a:pt x="28" y="182"/>
                    <a:pt x="29" y="182"/>
                    <a:pt x="28" y="181"/>
                  </a:cubicBezTo>
                  <a:cubicBezTo>
                    <a:pt x="28" y="180"/>
                    <a:pt x="27" y="181"/>
                    <a:pt x="26" y="181"/>
                  </a:cubicBezTo>
                  <a:cubicBezTo>
                    <a:pt x="25" y="181"/>
                    <a:pt x="25" y="180"/>
                    <a:pt x="26" y="180"/>
                  </a:cubicBezTo>
                  <a:cubicBezTo>
                    <a:pt x="27" y="180"/>
                    <a:pt x="27" y="180"/>
                    <a:pt x="27" y="180"/>
                  </a:cubicBezTo>
                  <a:cubicBezTo>
                    <a:pt x="27" y="179"/>
                    <a:pt x="28" y="179"/>
                    <a:pt x="28" y="179"/>
                  </a:cubicBezTo>
                  <a:cubicBezTo>
                    <a:pt x="28" y="180"/>
                    <a:pt x="28" y="181"/>
                    <a:pt x="29" y="181"/>
                  </a:cubicBezTo>
                  <a:cubicBezTo>
                    <a:pt x="30" y="181"/>
                    <a:pt x="31" y="181"/>
                    <a:pt x="32" y="180"/>
                  </a:cubicBezTo>
                  <a:cubicBezTo>
                    <a:pt x="33" y="179"/>
                    <a:pt x="32" y="176"/>
                    <a:pt x="33" y="174"/>
                  </a:cubicBezTo>
                  <a:cubicBezTo>
                    <a:pt x="33" y="173"/>
                    <a:pt x="34" y="171"/>
                    <a:pt x="37" y="170"/>
                  </a:cubicBezTo>
                  <a:cubicBezTo>
                    <a:pt x="39" y="169"/>
                    <a:pt x="42" y="167"/>
                    <a:pt x="43" y="167"/>
                  </a:cubicBezTo>
                  <a:cubicBezTo>
                    <a:pt x="43" y="166"/>
                    <a:pt x="42" y="165"/>
                    <a:pt x="42" y="165"/>
                  </a:cubicBezTo>
                  <a:cubicBezTo>
                    <a:pt x="41" y="165"/>
                    <a:pt x="41" y="165"/>
                    <a:pt x="42" y="165"/>
                  </a:cubicBezTo>
                  <a:cubicBezTo>
                    <a:pt x="43" y="164"/>
                    <a:pt x="43" y="163"/>
                    <a:pt x="44" y="162"/>
                  </a:cubicBezTo>
                  <a:cubicBezTo>
                    <a:pt x="44" y="161"/>
                    <a:pt x="44" y="160"/>
                    <a:pt x="42" y="160"/>
                  </a:cubicBezTo>
                  <a:cubicBezTo>
                    <a:pt x="41" y="160"/>
                    <a:pt x="38" y="160"/>
                    <a:pt x="38" y="159"/>
                  </a:cubicBezTo>
                  <a:cubicBezTo>
                    <a:pt x="37" y="159"/>
                    <a:pt x="37" y="158"/>
                    <a:pt x="36" y="158"/>
                  </a:cubicBezTo>
                  <a:cubicBezTo>
                    <a:pt x="36" y="158"/>
                    <a:pt x="33" y="156"/>
                    <a:pt x="33" y="154"/>
                  </a:cubicBezTo>
                  <a:cubicBezTo>
                    <a:pt x="33" y="152"/>
                    <a:pt x="35" y="149"/>
                    <a:pt x="36" y="148"/>
                  </a:cubicBezTo>
                  <a:cubicBezTo>
                    <a:pt x="38" y="147"/>
                    <a:pt x="41" y="145"/>
                    <a:pt x="42" y="145"/>
                  </a:cubicBezTo>
                  <a:cubicBezTo>
                    <a:pt x="43" y="145"/>
                    <a:pt x="44" y="146"/>
                    <a:pt x="44" y="145"/>
                  </a:cubicBezTo>
                  <a:cubicBezTo>
                    <a:pt x="45" y="145"/>
                    <a:pt x="44" y="143"/>
                    <a:pt x="45" y="142"/>
                  </a:cubicBezTo>
                  <a:cubicBezTo>
                    <a:pt x="46" y="140"/>
                    <a:pt x="47" y="139"/>
                    <a:pt x="47" y="138"/>
                  </a:cubicBezTo>
                  <a:cubicBezTo>
                    <a:pt x="46" y="137"/>
                    <a:pt x="46" y="136"/>
                    <a:pt x="46" y="136"/>
                  </a:cubicBezTo>
                  <a:cubicBezTo>
                    <a:pt x="47" y="135"/>
                    <a:pt x="48" y="134"/>
                    <a:pt x="49" y="133"/>
                  </a:cubicBezTo>
                  <a:cubicBezTo>
                    <a:pt x="50" y="132"/>
                    <a:pt x="51" y="132"/>
                    <a:pt x="51" y="131"/>
                  </a:cubicBezTo>
                  <a:cubicBezTo>
                    <a:pt x="50" y="131"/>
                    <a:pt x="49" y="131"/>
                    <a:pt x="49" y="130"/>
                  </a:cubicBezTo>
                  <a:cubicBezTo>
                    <a:pt x="49" y="129"/>
                    <a:pt x="51" y="129"/>
                    <a:pt x="51" y="129"/>
                  </a:cubicBezTo>
                  <a:cubicBezTo>
                    <a:pt x="52" y="129"/>
                    <a:pt x="53" y="131"/>
                    <a:pt x="54" y="131"/>
                  </a:cubicBezTo>
                  <a:cubicBezTo>
                    <a:pt x="55" y="131"/>
                    <a:pt x="56" y="130"/>
                    <a:pt x="56" y="128"/>
                  </a:cubicBezTo>
                  <a:cubicBezTo>
                    <a:pt x="55" y="127"/>
                    <a:pt x="55" y="126"/>
                    <a:pt x="54" y="126"/>
                  </a:cubicBezTo>
                  <a:cubicBezTo>
                    <a:pt x="54" y="126"/>
                    <a:pt x="53" y="128"/>
                    <a:pt x="52" y="128"/>
                  </a:cubicBezTo>
                  <a:cubicBezTo>
                    <a:pt x="51" y="128"/>
                    <a:pt x="51" y="127"/>
                    <a:pt x="50" y="127"/>
                  </a:cubicBezTo>
                  <a:cubicBezTo>
                    <a:pt x="49" y="126"/>
                    <a:pt x="48" y="126"/>
                    <a:pt x="48" y="124"/>
                  </a:cubicBezTo>
                  <a:cubicBezTo>
                    <a:pt x="48" y="122"/>
                    <a:pt x="47" y="119"/>
                    <a:pt x="47" y="117"/>
                  </a:cubicBezTo>
                  <a:cubicBezTo>
                    <a:pt x="47" y="116"/>
                    <a:pt x="48" y="117"/>
                    <a:pt x="49" y="117"/>
                  </a:cubicBezTo>
                  <a:cubicBezTo>
                    <a:pt x="50" y="117"/>
                    <a:pt x="54" y="119"/>
                    <a:pt x="56" y="119"/>
                  </a:cubicBezTo>
                  <a:cubicBezTo>
                    <a:pt x="59" y="119"/>
                    <a:pt x="61" y="118"/>
                    <a:pt x="62" y="118"/>
                  </a:cubicBezTo>
                  <a:cubicBezTo>
                    <a:pt x="62" y="118"/>
                    <a:pt x="63" y="117"/>
                    <a:pt x="63" y="116"/>
                  </a:cubicBezTo>
                  <a:cubicBezTo>
                    <a:pt x="62" y="115"/>
                    <a:pt x="62" y="114"/>
                    <a:pt x="62" y="113"/>
                  </a:cubicBezTo>
                  <a:cubicBezTo>
                    <a:pt x="62" y="112"/>
                    <a:pt x="64" y="110"/>
                    <a:pt x="64" y="109"/>
                  </a:cubicBezTo>
                  <a:cubicBezTo>
                    <a:pt x="64" y="109"/>
                    <a:pt x="62" y="107"/>
                    <a:pt x="63" y="105"/>
                  </a:cubicBezTo>
                  <a:cubicBezTo>
                    <a:pt x="63" y="104"/>
                    <a:pt x="65" y="104"/>
                    <a:pt x="65" y="105"/>
                  </a:cubicBezTo>
                  <a:cubicBezTo>
                    <a:pt x="65" y="105"/>
                    <a:pt x="65" y="107"/>
                    <a:pt x="65" y="106"/>
                  </a:cubicBezTo>
                  <a:cubicBezTo>
                    <a:pt x="65" y="105"/>
                    <a:pt x="65" y="105"/>
                    <a:pt x="68" y="105"/>
                  </a:cubicBezTo>
                  <a:cubicBezTo>
                    <a:pt x="70" y="105"/>
                    <a:pt x="73" y="105"/>
                    <a:pt x="77" y="104"/>
                  </a:cubicBezTo>
                  <a:cubicBezTo>
                    <a:pt x="81" y="103"/>
                    <a:pt x="84" y="102"/>
                    <a:pt x="86" y="101"/>
                  </a:cubicBezTo>
                  <a:cubicBezTo>
                    <a:pt x="87" y="100"/>
                    <a:pt x="89" y="100"/>
                    <a:pt x="89" y="99"/>
                  </a:cubicBezTo>
                  <a:cubicBezTo>
                    <a:pt x="90" y="97"/>
                    <a:pt x="92" y="95"/>
                    <a:pt x="93" y="94"/>
                  </a:cubicBezTo>
                  <a:cubicBezTo>
                    <a:pt x="94" y="93"/>
                    <a:pt x="94" y="92"/>
                    <a:pt x="94" y="91"/>
                  </a:cubicBezTo>
                  <a:cubicBezTo>
                    <a:pt x="94" y="89"/>
                    <a:pt x="94" y="89"/>
                    <a:pt x="93" y="88"/>
                  </a:cubicBezTo>
                  <a:cubicBezTo>
                    <a:pt x="92" y="88"/>
                    <a:pt x="90" y="87"/>
                    <a:pt x="90" y="86"/>
                  </a:cubicBezTo>
                  <a:cubicBezTo>
                    <a:pt x="90" y="85"/>
                    <a:pt x="92" y="82"/>
                    <a:pt x="92" y="82"/>
                  </a:cubicBezTo>
                  <a:cubicBezTo>
                    <a:pt x="92" y="82"/>
                    <a:pt x="89" y="79"/>
                    <a:pt x="87" y="78"/>
                  </a:cubicBezTo>
                  <a:cubicBezTo>
                    <a:pt x="85" y="78"/>
                    <a:pt x="84" y="78"/>
                    <a:pt x="84" y="76"/>
                  </a:cubicBezTo>
                  <a:cubicBezTo>
                    <a:pt x="85" y="76"/>
                    <a:pt x="85" y="75"/>
                    <a:pt x="86" y="75"/>
                  </a:cubicBezTo>
                  <a:cubicBezTo>
                    <a:pt x="86" y="75"/>
                    <a:pt x="86" y="75"/>
                    <a:pt x="86" y="75"/>
                  </a:cubicBezTo>
                  <a:cubicBezTo>
                    <a:pt x="85" y="73"/>
                    <a:pt x="84" y="69"/>
                    <a:pt x="85" y="68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99" name="Freeform 614">
              <a:extLst>
                <a:ext uri="{FF2B5EF4-FFF2-40B4-BE49-F238E27FC236}">
                  <a16:creationId xmlns:a16="http://schemas.microsoft.com/office/drawing/2014/main" id="{26EDB4B3-B9FE-F74B-1E18-FC71AC7F3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419" y="4148295"/>
              <a:ext cx="38747" cy="26639"/>
            </a:xfrm>
            <a:custGeom>
              <a:avLst/>
              <a:gdLst>
                <a:gd name="T0" fmla="*/ 5 w 12"/>
                <a:gd name="T1" fmla="*/ 1 h 8"/>
                <a:gd name="T2" fmla="*/ 5 w 12"/>
                <a:gd name="T3" fmla="*/ 0 h 8"/>
                <a:gd name="T4" fmla="*/ 0 w 12"/>
                <a:gd name="T5" fmla="*/ 4 h 8"/>
                <a:gd name="T6" fmla="*/ 7 w 12"/>
                <a:gd name="T7" fmla="*/ 7 h 8"/>
                <a:gd name="T8" fmla="*/ 12 w 12"/>
                <a:gd name="T9" fmla="*/ 7 h 8"/>
                <a:gd name="T10" fmla="*/ 12 w 12"/>
                <a:gd name="T11" fmla="*/ 7 h 8"/>
                <a:gd name="T12" fmla="*/ 12 w 12"/>
                <a:gd name="T13" fmla="*/ 4 h 8"/>
                <a:gd name="T14" fmla="*/ 5 w 12"/>
                <a:gd name="T1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8">
                  <a:moveTo>
                    <a:pt x="5" y="1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" y="5"/>
                    <a:pt x="5" y="6"/>
                    <a:pt x="7" y="7"/>
                  </a:cubicBezTo>
                  <a:cubicBezTo>
                    <a:pt x="9" y="7"/>
                    <a:pt x="11" y="8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6"/>
                    <a:pt x="12" y="4"/>
                    <a:pt x="12" y="4"/>
                  </a:cubicBezTo>
                  <a:cubicBezTo>
                    <a:pt x="11" y="3"/>
                    <a:pt x="6" y="1"/>
                    <a:pt x="5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</p:grpSp>
      <p:grpSp>
        <p:nvGrpSpPr>
          <p:cNvPr id="907" name="Agrupar 906">
            <a:extLst>
              <a:ext uri="{FF2B5EF4-FFF2-40B4-BE49-F238E27FC236}">
                <a16:creationId xmlns:a16="http://schemas.microsoft.com/office/drawing/2014/main" id="{767213DB-C9CC-BC92-222D-32237C1B583E}"/>
              </a:ext>
            </a:extLst>
          </p:cNvPr>
          <p:cNvGrpSpPr/>
          <p:nvPr/>
        </p:nvGrpSpPr>
        <p:grpSpPr>
          <a:xfrm>
            <a:off x="4077373" y="2089128"/>
            <a:ext cx="2120311" cy="1895855"/>
            <a:chOff x="4660417" y="3037003"/>
            <a:chExt cx="2379333" cy="2127457"/>
          </a:xfrm>
        </p:grpSpPr>
        <p:sp>
          <p:nvSpPr>
            <p:cNvPr id="441" name="Freeform 351">
              <a:extLst>
                <a:ext uri="{FF2B5EF4-FFF2-40B4-BE49-F238E27FC236}">
                  <a16:creationId xmlns:a16="http://schemas.microsoft.com/office/drawing/2014/main" id="{34671868-158F-DDB0-ADEC-09873DA32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7683" y="4439163"/>
              <a:ext cx="733779" cy="554568"/>
            </a:xfrm>
            <a:custGeom>
              <a:avLst/>
              <a:gdLst>
                <a:gd name="T0" fmla="*/ 106 w 227"/>
                <a:gd name="T1" fmla="*/ 3 h 171"/>
                <a:gd name="T2" fmla="*/ 109 w 227"/>
                <a:gd name="T3" fmla="*/ 9 h 171"/>
                <a:gd name="T4" fmla="*/ 99 w 227"/>
                <a:gd name="T5" fmla="*/ 11 h 171"/>
                <a:gd name="T6" fmla="*/ 94 w 227"/>
                <a:gd name="T7" fmla="*/ 19 h 171"/>
                <a:gd name="T8" fmla="*/ 92 w 227"/>
                <a:gd name="T9" fmla="*/ 25 h 171"/>
                <a:gd name="T10" fmla="*/ 82 w 227"/>
                <a:gd name="T11" fmla="*/ 21 h 171"/>
                <a:gd name="T12" fmla="*/ 77 w 227"/>
                <a:gd name="T13" fmla="*/ 20 h 171"/>
                <a:gd name="T14" fmla="*/ 72 w 227"/>
                <a:gd name="T15" fmla="*/ 22 h 171"/>
                <a:gd name="T16" fmla="*/ 69 w 227"/>
                <a:gd name="T17" fmla="*/ 25 h 171"/>
                <a:gd name="T18" fmla="*/ 67 w 227"/>
                <a:gd name="T19" fmla="*/ 27 h 171"/>
                <a:gd name="T20" fmla="*/ 66 w 227"/>
                <a:gd name="T21" fmla="*/ 33 h 171"/>
                <a:gd name="T22" fmla="*/ 61 w 227"/>
                <a:gd name="T23" fmla="*/ 36 h 171"/>
                <a:gd name="T24" fmla="*/ 58 w 227"/>
                <a:gd name="T25" fmla="*/ 38 h 171"/>
                <a:gd name="T26" fmla="*/ 52 w 227"/>
                <a:gd name="T27" fmla="*/ 42 h 171"/>
                <a:gd name="T28" fmla="*/ 41 w 227"/>
                <a:gd name="T29" fmla="*/ 53 h 171"/>
                <a:gd name="T30" fmla="*/ 27 w 227"/>
                <a:gd name="T31" fmla="*/ 57 h 171"/>
                <a:gd name="T32" fmla="*/ 13 w 227"/>
                <a:gd name="T33" fmla="*/ 63 h 171"/>
                <a:gd name="T34" fmla="*/ 7 w 227"/>
                <a:gd name="T35" fmla="*/ 64 h 171"/>
                <a:gd name="T36" fmla="*/ 4 w 227"/>
                <a:gd name="T37" fmla="*/ 78 h 171"/>
                <a:gd name="T38" fmla="*/ 4 w 227"/>
                <a:gd name="T39" fmla="*/ 87 h 171"/>
                <a:gd name="T40" fmla="*/ 1 w 227"/>
                <a:gd name="T41" fmla="*/ 87 h 171"/>
                <a:gd name="T42" fmla="*/ 9 w 227"/>
                <a:gd name="T43" fmla="*/ 104 h 171"/>
                <a:gd name="T44" fmla="*/ 16 w 227"/>
                <a:gd name="T45" fmla="*/ 124 h 171"/>
                <a:gd name="T46" fmla="*/ 13 w 227"/>
                <a:gd name="T47" fmla="*/ 135 h 171"/>
                <a:gd name="T48" fmla="*/ 24 w 227"/>
                <a:gd name="T49" fmla="*/ 144 h 171"/>
                <a:gd name="T50" fmla="*/ 39 w 227"/>
                <a:gd name="T51" fmla="*/ 137 h 171"/>
                <a:gd name="T52" fmla="*/ 62 w 227"/>
                <a:gd name="T53" fmla="*/ 133 h 171"/>
                <a:gd name="T54" fmla="*/ 82 w 227"/>
                <a:gd name="T55" fmla="*/ 126 h 171"/>
                <a:gd name="T56" fmla="*/ 109 w 227"/>
                <a:gd name="T57" fmla="*/ 125 h 171"/>
                <a:gd name="T58" fmla="*/ 119 w 227"/>
                <a:gd name="T59" fmla="*/ 132 h 171"/>
                <a:gd name="T60" fmla="*/ 124 w 227"/>
                <a:gd name="T61" fmla="*/ 137 h 171"/>
                <a:gd name="T62" fmla="*/ 128 w 227"/>
                <a:gd name="T63" fmla="*/ 141 h 171"/>
                <a:gd name="T64" fmla="*/ 139 w 227"/>
                <a:gd name="T65" fmla="*/ 129 h 171"/>
                <a:gd name="T66" fmla="*/ 139 w 227"/>
                <a:gd name="T67" fmla="*/ 136 h 171"/>
                <a:gd name="T68" fmla="*/ 135 w 227"/>
                <a:gd name="T69" fmla="*/ 145 h 171"/>
                <a:gd name="T70" fmla="*/ 143 w 227"/>
                <a:gd name="T71" fmla="*/ 144 h 171"/>
                <a:gd name="T72" fmla="*/ 149 w 227"/>
                <a:gd name="T73" fmla="*/ 154 h 171"/>
                <a:gd name="T74" fmla="*/ 160 w 227"/>
                <a:gd name="T75" fmla="*/ 165 h 171"/>
                <a:gd name="T76" fmla="*/ 176 w 227"/>
                <a:gd name="T77" fmla="*/ 165 h 171"/>
                <a:gd name="T78" fmla="*/ 179 w 227"/>
                <a:gd name="T79" fmla="*/ 166 h 171"/>
                <a:gd name="T80" fmla="*/ 187 w 227"/>
                <a:gd name="T81" fmla="*/ 170 h 171"/>
                <a:gd name="T82" fmla="*/ 206 w 227"/>
                <a:gd name="T83" fmla="*/ 160 h 171"/>
                <a:gd name="T84" fmla="*/ 216 w 227"/>
                <a:gd name="T85" fmla="*/ 133 h 171"/>
                <a:gd name="T86" fmla="*/ 223 w 227"/>
                <a:gd name="T87" fmla="*/ 115 h 171"/>
                <a:gd name="T88" fmla="*/ 226 w 227"/>
                <a:gd name="T89" fmla="*/ 102 h 171"/>
                <a:gd name="T90" fmla="*/ 224 w 227"/>
                <a:gd name="T91" fmla="*/ 88 h 171"/>
                <a:gd name="T92" fmla="*/ 221 w 227"/>
                <a:gd name="T93" fmla="*/ 84 h 171"/>
                <a:gd name="T94" fmla="*/ 210 w 227"/>
                <a:gd name="T95" fmla="*/ 69 h 171"/>
                <a:gd name="T96" fmla="*/ 204 w 227"/>
                <a:gd name="T97" fmla="*/ 62 h 171"/>
                <a:gd name="T98" fmla="*/ 197 w 227"/>
                <a:gd name="T99" fmla="*/ 54 h 171"/>
                <a:gd name="T100" fmla="*/ 186 w 227"/>
                <a:gd name="T101" fmla="*/ 48 h 171"/>
                <a:gd name="T102" fmla="*/ 183 w 227"/>
                <a:gd name="T103" fmla="*/ 36 h 171"/>
                <a:gd name="T104" fmla="*/ 176 w 227"/>
                <a:gd name="T105" fmla="*/ 21 h 171"/>
                <a:gd name="T106" fmla="*/ 168 w 227"/>
                <a:gd name="T107" fmla="*/ 8 h 171"/>
                <a:gd name="T108" fmla="*/ 163 w 227"/>
                <a:gd name="T109" fmla="*/ 7 h 171"/>
                <a:gd name="T110" fmla="*/ 160 w 227"/>
                <a:gd name="T111" fmla="*/ 16 h 171"/>
                <a:gd name="T112" fmla="*/ 160 w 227"/>
                <a:gd name="T113" fmla="*/ 29 h 171"/>
                <a:gd name="T114" fmla="*/ 145 w 227"/>
                <a:gd name="T115" fmla="*/ 36 h 171"/>
                <a:gd name="T116" fmla="*/ 130 w 227"/>
                <a:gd name="T117" fmla="*/ 27 h 171"/>
                <a:gd name="T118" fmla="*/ 129 w 227"/>
                <a:gd name="T119" fmla="*/ 19 h 171"/>
                <a:gd name="T120" fmla="*/ 132 w 227"/>
                <a:gd name="T121" fmla="*/ 13 h 171"/>
                <a:gd name="T122" fmla="*/ 130 w 227"/>
                <a:gd name="T123" fmla="*/ 10 h 171"/>
                <a:gd name="T124" fmla="*/ 123 w 227"/>
                <a:gd name="T125" fmla="*/ 9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7" h="171">
                  <a:moveTo>
                    <a:pt x="113" y="6"/>
                  </a:moveTo>
                  <a:cubicBezTo>
                    <a:pt x="111" y="6"/>
                    <a:pt x="111" y="5"/>
                    <a:pt x="110" y="4"/>
                  </a:cubicBezTo>
                  <a:cubicBezTo>
                    <a:pt x="109" y="4"/>
                    <a:pt x="106" y="2"/>
                    <a:pt x="106" y="3"/>
                  </a:cubicBezTo>
                  <a:cubicBezTo>
                    <a:pt x="106" y="4"/>
                    <a:pt x="106" y="5"/>
                    <a:pt x="108" y="5"/>
                  </a:cubicBezTo>
                  <a:cubicBezTo>
                    <a:pt x="109" y="5"/>
                    <a:pt x="110" y="4"/>
                    <a:pt x="110" y="6"/>
                  </a:cubicBezTo>
                  <a:cubicBezTo>
                    <a:pt x="110" y="8"/>
                    <a:pt x="111" y="9"/>
                    <a:pt x="109" y="9"/>
                  </a:cubicBezTo>
                  <a:cubicBezTo>
                    <a:pt x="108" y="10"/>
                    <a:pt x="105" y="10"/>
                    <a:pt x="104" y="10"/>
                  </a:cubicBezTo>
                  <a:cubicBezTo>
                    <a:pt x="103" y="9"/>
                    <a:pt x="103" y="9"/>
                    <a:pt x="102" y="10"/>
                  </a:cubicBezTo>
                  <a:cubicBezTo>
                    <a:pt x="101" y="10"/>
                    <a:pt x="100" y="10"/>
                    <a:pt x="99" y="11"/>
                  </a:cubicBezTo>
                  <a:cubicBezTo>
                    <a:pt x="99" y="11"/>
                    <a:pt x="98" y="13"/>
                    <a:pt x="97" y="13"/>
                  </a:cubicBezTo>
                  <a:cubicBezTo>
                    <a:pt x="96" y="14"/>
                    <a:pt x="96" y="16"/>
                    <a:pt x="96" y="16"/>
                  </a:cubicBezTo>
                  <a:cubicBezTo>
                    <a:pt x="95" y="17"/>
                    <a:pt x="95" y="18"/>
                    <a:pt x="94" y="19"/>
                  </a:cubicBezTo>
                  <a:cubicBezTo>
                    <a:pt x="93" y="21"/>
                    <a:pt x="92" y="21"/>
                    <a:pt x="93" y="21"/>
                  </a:cubicBezTo>
                  <a:cubicBezTo>
                    <a:pt x="93" y="22"/>
                    <a:pt x="94" y="24"/>
                    <a:pt x="94" y="25"/>
                  </a:cubicBezTo>
                  <a:cubicBezTo>
                    <a:pt x="94" y="25"/>
                    <a:pt x="94" y="26"/>
                    <a:pt x="92" y="25"/>
                  </a:cubicBezTo>
                  <a:cubicBezTo>
                    <a:pt x="91" y="24"/>
                    <a:pt x="88" y="24"/>
                    <a:pt x="87" y="24"/>
                  </a:cubicBezTo>
                  <a:cubicBezTo>
                    <a:pt x="87" y="25"/>
                    <a:pt x="85" y="29"/>
                    <a:pt x="85" y="27"/>
                  </a:cubicBezTo>
                  <a:cubicBezTo>
                    <a:pt x="85" y="26"/>
                    <a:pt x="84" y="22"/>
                    <a:pt x="82" y="21"/>
                  </a:cubicBezTo>
                  <a:cubicBezTo>
                    <a:pt x="81" y="19"/>
                    <a:pt x="80" y="20"/>
                    <a:pt x="80" y="19"/>
                  </a:cubicBezTo>
                  <a:cubicBezTo>
                    <a:pt x="79" y="18"/>
                    <a:pt x="79" y="17"/>
                    <a:pt x="78" y="18"/>
                  </a:cubicBezTo>
                  <a:cubicBezTo>
                    <a:pt x="78" y="19"/>
                    <a:pt x="78" y="20"/>
                    <a:pt x="77" y="20"/>
                  </a:cubicBezTo>
                  <a:cubicBezTo>
                    <a:pt x="76" y="20"/>
                    <a:pt x="75" y="19"/>
                    <a:pt x="74" y="20"/>
                  </a:cubicBezTo>
                  <a:cubicBezTo>
                    <a:pt x="74" y="21"/>
                    <a:pt x="74" y="23"/>
                    <a:pt x="73" y="23"/>
                  </a:cubicBezTo>
                  <a:cubicBezTo>
                    <a:pt x="72" y="23"/>
                    <a:pt x="72" y="22"/>
                    <a:pt x="72" y="22"/>
                  </a:cubicBezTo>
                  <a:cubicBezTo>
                    <a:pt x="71" y="21"/>
                    <a:pt x="71" y="23"/>
                    <a:pt x="70" y="23"/>
                  </a:cubicBezTo>
                  <a:cubicBezTo>
                    <a:pt x="70" y="23"/>
                    <a:pt x="69" y="22"/>
                    <a:pt x="69" y="23"/>
                  </a:cubicBezTo>
                  <a:cubicBezTo>
                    <a:pt x="68" y="24"/>
                    <a:pt x="68" y="25"/>
                    <a:pt x="69" y="25"/>
                  </a:cubicBezTo>
                  <a:cubicBezTo>
                    <a:pt x="69" y="25"/>
                    <a:pt x="70" y="26"/>
                    <a:pt x="68" y="26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68" y="27"/>
                    <a:pt x="69" y="28"/>
                    <a:pt x="67" y="27"/>
                  </a:cubicBezTo>
                  <a:cubicBezTo>
                    <a:pt x="66" y="27"/>
                    <a:pt x="65" y="28"/>
                    <a:pt x="65" y="29"/>
                  </a:cubicBezTo>
                  <a:cubicBezTo>
                    <a:pt x="65" y="30"/>
                    <a:pt x="65" y="32"/>
                    <a:pt x="66" y="32"/>
                  </a:cubicBezTo>
                  <a:cubicBezTo>
                    <a:pt x="67" y="32"/>
                    <a:pt x="68" y="33"/>
                    <a:pt x="66" y="33"/>
                  </a:cubicBezTo>
                  <a:cubicBezTo>
                    <a:pt x="64" y="33"/>
                    <a:pt x="61" y="32"/>
                    <a:pt x="60" y="32"/>
                  </a:cubicBezTo>
                  <a:cubicBezTo>
                    <a:pt x="60" y="32"/>
                    <a:pt x="59" y="34"/>
                    <a:pt x="59" y="34"/>
                  </a:cubicBezTo>
                  <a:cubicBezTo>
                    <a:pt x="60" y="35"/>
                    <a:pt x="61" y="35"/>
                    <a:pt x="61" y="36"/>
                  </a:cubicBezTo>
                  <a:cubicBezTo>
                    <a:pt x="61" y="37"/>
                    <a:pt x="61" y="38"/>
                    <a:pt x="60" y="37"/>
                  </a:cubicBezTo>
                  <a:cubicBezTo>
                    <a:pt x="60" y="37"/>
                    <a:pt x="60" y="38"/>
                    <a:pt x="60" y="39"/>
                  </a:cubicBezTo>
                  <a:cubicBezTo>
                    <a:pt x="60" y="39"/>
                    <a:pt x="58" y="39"/>
                    <a:pt x="58" y="38"/>
                  </a:cubicBezTo>
                  <a:cubicBezTo>
                    <a:pt x="58" y="37"/>
                    <a:pt x="57" y="34"/>
                    <a:pt x="56" y="34"/>
                  </a:cubicBezTo>
                  <a:cubicBezTo>
                    <a:pt x="56" y="34"/>
                    <a:pt x="54" y="36"/>
                    <a:pt x="53" y="38"/>
                  </a:cubicBezTo>
                  <a:cubicBezTo>
                    <a:pt x="52" y="39"/>
                    <a:pt x="52" y="41"/>
                    <a:pt x="52" y="42"/>
                  </a:cubicBezTo>
                  <a:cubicBezTo>
                    <a:pt x="52" y="42"/>
                    <a:pt x="53" y="43"/>
                    <a:pt x="52" y="44"/>
                  </a:cubicBezTo>
                  <a:cubicBezTo>
                    <a:pt x="52" y="44"/>
                    <a:pt x="49" y="47"/>
                    <a:pt x="48" y="49"/>
                  </a:cubicBezTo>
                  <a:cubicBezTo>
                    <a:pt x="47" y="50"/>
                    <a:pt x="43" y="52"/>
                    <a:pt x="41" y="53"/>
                  </a:cubicBezTo>
                  <a:cubicBezTo>
                    <a:pt x="39" y="53"/>
                    <a:pt x="36" y="53"/>
                    <a:pt x="34" y="54"/>
                  </a:cubicBezTo>
                  <a:cubicBezTo>
                    <a:pt x="33" y="54"/>
                    <a:pt x="34" y="54"/>
                    <a:pt x="32" y="55"/>
                  </a:cubicBezTo>
                  <a:cubicBezTo>
                    <a:pt x="31" y="56"/>
                    <a:pt x="28" y="56"/>
                    <a:pt x="27" y="57"/>
                  </a:cubicBezTo>
                  <a:cubicBezTo>
                    <a:pt x="26" y="58"/>
                    <a:pt x="26" y="57"/>
                    <a:pt x="24" y="57"/>
                  </a:cubicBezTo>
                  <a:cubicBezTo>
                    <a:pt x="23" y="57"/>
                    <a:pt x="19" y="59"/>
                    <a:pt x="17" y="60"/>
                  </a:cubicBezTo>
                  <a:cubicBezTo>
                    <a:pt x="16" y="62"/>
                    <a:pt x="14" y="63"/>
                    <a:pt x="13" y="63"/>
                  </a:cubicBezTo>
                  <a:cubicBezTo>
                    <a:pt x="11" y="63"/>
                    <a:pt x="9" y="65"/>
                    <a:pt x="9" y="66"/>
                  </a:cubicBezTo>
                  <a:cubicBezTo>
                    <a:pt x="9" y="67"/>
                    <a:pt x="9" y="69"/>
                    <a:pt x="8" y="68"/>
                  </a:cubicBezTo>
                  <a:cubicBezTo>
                    <a:pt x="7" y="66"/>
                    <a:pt x="8" y="63"/>
                    <a:pt x="7" y="64"/>
                  </a:cubicBezTo>
                  <a:cubicBezTo>
                    <a:pt x="6" y="65"/>
                    <a:pt x="5" y="68"/>
                    <a:pt x="5" y="70"/>
                  </a:cubicBezTo>
                  <a:cubicBezTo>
                    <a:pt x="5" y="71"/>
                    <a:pt x="6" y="70"/>
                    <a:pt x="5" y="72"/>
                  </a:cubicBezTo>
                  <a:cubicBezTo>
                    <a:pt x="4" y="73"/>
                    <a:pt x="4" y="76"/>
                    <a:pt x="4" y="78"/>
                  </a:cubicBezTo>
                  <a:cubicBezTo>
                    <a:pt x="4" y="80"/>
                    <a:pt x="6" y="83"/>
                    <a:pt x="7" y="85"/>
                  </a:cubicBezTo>
                  <a:cubicBezTo>
                    <a:pt x="7" y="87"/>
                    <a:pt x="8" y="92"/>
                    <a:pt x="7" y="91"/>
                  </a:cubicBezTo>
                  <a:cubicBezTo>
                    <a:pt x="6" y="90"/>
                    <a:pt x="4" y="86"/>
                    <a:pt x="4" y="87"/>
                  </a:cubicBezTo>
                  <a:cubicBezTo>
                    <a:pt x="4" y="87"/>
                    <a:pt x="6" y="90"/>
                    <a:pt x="6" y="91"/>
                  </a:cubicBezTo>
                  <a:cubicBezTo>
                    <a:pt x="6" y="91"/>
                    <a:pt x="5" y="93"/>
                    <a:pt x="4" y="92"/>
                  </a:cubicBezTo>
                  <a:cubicBezTo>
                    <a:pt x="3" y="91"/>
                    <a:pt x="0" y="86"/>
                    <a:pt x="1" y="87"/>
                  </a:cubicBezTo>
                  <a:cubicBezTo>
                    <a:pt x="1" y="88"/>
                    <a:pt x="3" y="92"/>
                    <a:pt x="5" y="93"/>
                  </a:cubicBezTo>
                  <a:cubicBezTo>
                    <a:pt x="6" y="95"/>
                    <a:pt x="7" y="97"/>
                    <a:pt x="7" y="99"/>
                  </a:cubicBezTo>
                  <a:cubicBezTo>
                    <a:pt x="8" y="101"/>
                    <a:pt x="8" y="102"/>
                    <a:pt x="9" y="104"/>
                  </a:cubicBezTo>
                  <a:cubicBezTo>
                    <a:pt x="9" y="105"/>
                    <a:pt x="12" y="107"/>
                    <a:pt x="12" y="110"/>
                  </a:cubicBezTo>
                  <a:cubicBezTo>
                    <a:pt x="12" y="112"/>
                    <a:pt x="12" y="115"/>
                    <a:pt x="13" y="116"/>
                  </a:cubicBezTo>
                  <a:cubicBezTo>
                    <a:pt x="14" y="118"/>
                    <a:pt x="16" y="121"/>
                    <a:pt x="16" y="124"/>
                  </a:cubicBezTo>
                  <a:cubicBezTo>
                    <a:pt x="16" y="126"/>
                    <a:pt x="15" y="128"/>
                    <a:pt x="15" y="130"/>
                  </a:cubicBezTo>
                  <a:cubicBezTo>
                    <a:pt x="15" y="131"/>
                    <a:pt x="16" y="133"/>
                    <a:pt x="16" y="134"/>
                  </a:cubicBezTo>
                  <a:cubicBezTo>
                    <a:pt x="15" y="134"/>
                    <a:pt x="14" y="134"/>
                    <a:pt x="13" y="135"/>
                  </a:cubicBezTo>
                  <a:cubicBezTo>
                    <a:pt x="12" y="137"/>
                    <a:pt x="11" y="139"/>
                    <a:pt x="12" y="139"/>
                  </a:cubicBezTo>
                  <a:cubicBezTo>
                    <a:pt x="13" y="139"/>
                    <a:pt x="15" y="140"/>
                    <a:pt x="17" y="142"/>
                  </a:cubicBezTo>
                  <a:cubicBezTo>
                    <a:pt x="19" y="143"/>
                    <a:pt x="21" y="144"/>
                    <a:pt x="24" y="144"/>
                  </a:cubicBezTo>
                  <a:cubicBezTo>
                    <a:pt x="27" y="144"/>
                    <a:pt x="30" y="142"/>
                    <a:pt x="33" y="141"/>
                  </a:cubicBezTo>
                  <a:cubicBezTo>
                    <a:pt x="35" y="139"/>
                    <a:pt x="36" y="140"/>
                    <a:pt x="37" y="140"/>
                  </a:cubicBezTo>
                  <a:cubicBezTo>
                    <a:pt x="37" y="139"/>
                    <a:pt x="38" y="137"/>
                    <a:pt x="39" y="137"/>
                  </a:cubicBezTo>
                  <a:cubicBezTo>
                    <a:pt x="41" y="137"/>
                    <a:pt x="43" y="136"/>
                    <a:pt x="46" y="136"/>
                  </a:cubicBezTo>
                  <a:cubicBezTo>
                    <a:pt x="49" y="136"/>
                    <a:pt x="56" y="138"/>
                    <a:pt x="58" y="137"/>
                  </a:cubicBezTo>
                  <a:cubicBezTo>
                    <a:pt x="60" y="136"/>
                    <a:pt x="60" y="135"/>
                    <a:pt x="62" y="133"/>
                  </a:cubicBezTo>
                  <a:cubicBezTo>
                    <a:pt x="63" y="132"/>
                    <a:pt x="65" y="131"/>
                    <a:pt x="68" y="130"/>
                  </a:cubicBezTo>
                  <a:cubicBezTo>
                    <a:pt x="71" y="128"/>
                    <a:pt x="72" y="127"/>
                    <a:pt x="74" y="127"/>
                  </a:cubicBezTo>
                  <a:cubicBezTo>
                    <a:pt x="75" y="127"/>
                    <a:pt x="79" y="127"/>
                    <a:pt x="82" y="126"/>
                  </a:cubicBezTo>
                  <a:cubicBezTo>
                    <a:pt x="84" y="125"/>
                    <a:pt x="89" y="123"/>
                    <a:pt x="93" y="123"/>
                  </a:cubicBezTo>
                  <a:cubicBezTo>
                    <a:pt x="98" y="123"/>
                    <a:pt x="101" y="121"/>
                    <a:pt x="102" y="122"/>
                  </a:cubicBezTo>
                  <a:cubicBezTo>
                    <a:pt x="103" y="122"/>
                    <a:pt x="107" y="125"/>
                    <a:pt x="109" y="125"/>
                  </a:cubicBezTo>
                  <a:cubicBezTo>
                    <a:pt x="111" y="125"/>
                    <a:pt x="114" y="126"/>
                    <a:pt x="115" y="126"/>
                  </a:cubicBezTo>
                  <a:cubicBezTo>
                    <a:pt x="117" y="127"/>
                    <a:pt x="119" y="127"/>
                    <a:pt x="119" y="128"/>
                  </a:cubicBezTo>
                  <a:cubicBezTo>
                    <a:pt x="118" y="130"/>
                    <a:pt x="118" y="132"/>
                    <a:pt x="119" y="132"/>
                  </a:cubicBezTo>
                  <a:cubicBezTo>
                    <a:pt x="120" y="131"/>
                    <a:pt x="119" y="131"/>
                    <a:pt x="120" y="132"/>
                  </a:cubicBezTo>
                  <a:cubicBezTo>
                    <a:pt x="121" y="133"/>
                    <a:pt x="122" y="133"/>
                    <a:pt x="123" y="135"/>
                  </a:cubicBezTo>
                  <a:cubicBezTo>
                    <a:pt x="123" y="136"/>
                    <a:pt x="124" y="136"/>
                    <a:pt x="124" y="137"/>
                  </a:cubicBezTo>
                  <a:cubicBezTo>
                    <a:pt x="125" y="138"/>
                    <a:pt x="125" y="139"/>
                    <a:pt x="125" y="140"/>
                  </a:cubicBezTo>
                  <a:cubicBezTo>
                    <a:pt x="125" y="141"/>
                    <a:pt x="127" y="143"/>
                    <a:pt x="128" y="143"/>
                  </a:cubicBezTo>
                  <a:cubicBezTo>
                    <a:pt x="129" y="144"/>
                    <a:pt x="127" y="142"/>
                    <a:pt x="128" y="141"/>
                  </a:cubicBezTo>
                  <a:cubicBezTo>
                    <a:pt x="130" y="140"/>
                    <a:pt x="133" y="136"/>
                    <a:pt x="134" y="136"/>
                  </a:cubicBezTo>
                  <a:cubicBezTo>
                    <a:pt x="136" y="135"/>
                    <a:pt x="135" y="134"/>
                    <a:pt x="136" y="133"/>
                  </a:cubicBezTo>
                  <a:cubicBezTo>
                    <a:pt x="138" y="132"/>
                    <a:pt x="139" y="130"/>
                    <a:pt x="139" y="129"/>
                  </a:cubicBezTo>
                  <a:cubicBezTo>
                    <a:pt x="139" y="129"/>
                    <a:pt x="139" y="129"/>
                    <a:pt x="140" y="131"/>
                  </a:cubicBezTo>
                  <a:cubicBezTo>
                    <a:pt x="140" y="133"/>
                    <a:pt x="139" y="133"/>
                    <a:pt x="139" y="134"/>
                  </a:cubicBezTo>
                  <a:cubicBezTo>
                    <a:pt x="139" y="136"/>
                    <a:pt x="140" y="135"/>
                    <a:pt x="139" y="136"/>
                  </a:cubicBezTo>
                  <a:cubicBezTo>
                    <a:pt x="138" y="138"/>
                    <a:pt x="137" y="139"/>
                    <a:pt x="137" y="141"/>
                  </a:cubicBezTo>
                  <a:cubicBezTo>
                    <a:pt x="137" y="142"/>
                    <a:pt x="136" y="143"/>
                    <a:pt x="135" y="143"/>
                  </a:cubicBezTo>
                  <a:cubicBezTo>
                    <a:pt x="134" y="144"/>
                    <a:pt x="134" y="145"/>
                    <a:pt x="135" y="145"/>
                  </a:cubicBezTo>
                  <a:cubicBezTo>
                    <a:pt x="136" y="145"/>
                    <a:pt x="138" y="145"/>
                    <a:pt x="139" y="143"/>
                  </a:cubicBezTo>
                  <a:cubicBezTo>
                    <a:pt x="139" y="141"/>
                    <a:pt x="139" y="138"/>
                    <a:pt x="140" y="139"/>
                  </a:cubicBezTo>
                  <a:cubicBezTo>
                    <a:pt x="140" y="139"/>
                    <a:pt x="143" y="142"/>
                    <a:pt x="143" y="144"/>
                  </a:cubicBezTo>
                  <a:cubicBezTo>
                    <a:pt x="142" y="145"/>
                    <a:pt x="140" y="147"/>
                    <a:pt x="142" y="148"/>
                  </a:cubicBezTo>
                  <a:cubicBezTo>
                    <a:pt x="143" y="148"/>
                    <a:pt x="144" y="147"/>
                    <a:pt x="146" y="148"/>
                  </a:cubicBezTo>
                  <a:cubicBezTo>
                    <a:pt x="147" y="149"/>
                    <a:pt x="150" y="153"/>
                    <a:pt x="149" y="154"/>
                  </a:cubicBezTo>
                  <a:cubicBezTo>
                    <a:pt x="149" y="156"/>
                    <a:pt x="148" y="158"/>
                    <a:pt x="150" y="159"/>
                  </a:cubicBezTo>
                  <a:cubicBezTo>
                    <a:pt x="152" y="161"/>
                    <a:pt x="151" y="161"/>
                    <a:pt x="154" y="162"/>
                  </a:cubicBezTo>
                  <a:cubicBezTo>
                    <a:pt x="157" y="164"/>
                    <a:pt x="158" y="164"/>
                    <a:pt x="160" y="165"/>
                  </a:cubicBezTo>
                  <a:cubicBezTo>
                    <a:pt x="161" y="166"/>
                    <a:pt x="160" y="164"/>
                    <a:pt x="163" y="165"/>
                  </a:cubicBezTo>
                  <a:cubicBezTo>
                    <a:pt x="166" y="166"/>
                    <a:pt x="169" y="169"/>
                    <a:pt x="171" y="169"/>
                  </a:cubicBezTo>
                  <a:cubicBezTo>
                    <a:pt x="172" y="168"/>
                    <a:pt x="175" y="166"/>
                    <a:pt x="176" y="165"/>
                  </a:cubicBezTo>
                  <a:cubicBezTo>
                    <a:pt x="177" y="163"/>
                    <a:pt x="178" y="161"/>
                    <a:pt x="179" y="162"/>
                  </a:cubicBezTo>
                  <a:cubicBezTo>
                    <a:pt x="179" y="164"/>
                    <a:pt x="178" y="164"/>
                    <a:pt x="178" y="165"/>
                  </a:cubicBezTo>
                  <a:cubicBezTo>
                    <a:pt x="178" y="166"/>
                    <a:pt x="179" y="166"/>
                    <a:pt x="179" y="166"/>
                  </a:cubicBezTo>
                  <a:cubicBezTo>
                    <a:pt x="179" y="165"/>
                    <a:pt x="180" y="163"/>
                    <a:pt x="180" y="164"/>
                  </a:cubicBezTo>
                  <a:cubicBezTo>
                    <a:pt x="181" y="166"/>
                    <a:pt x="184" y="167"/>
                    <a:pt x="185" y="169"/>
                  </a:cubicBezTo>
                  <a:cubicBezTo>
                    <a:pt x="187" y="171"/>
                    <a:pt x="187" y="171"/>
                    <a:pt x="187" y="170"/>
                  </a:cubicBezTo>
                  <a:cubicBezTo>
                    <a:pt x="187" y="168"/>
                    <a:pt x="189" y="168"/>
                    <a:pt x="191" y="166"/>
                  </a:cubicBezTo>
                  <a:cubicBezTo>
                    <a:pt x="192" y="164"/>
                    <a:pt x="193" y="162"/>
                    <a:pt x="197" y="162"/>
                  </a:cubicBezTo>
                  <a:cubicBezTo>
                    <a:pt x="200" y="162"/>
                    <a:pt x="206" y="161"/>
                    <a:pt x="206" y="160"/>
                  </a:cubicBezTo>
                  <a:cubicBezTo>
                    <a:pt x="207" y="158"/>
                    <a:pt x="206" y="156"/>
                    <a:pt x="207" y="154"/>
                  </a:cubicBezTo>
                  <a:cubicBezTo>
                    <a:pt x="207" y="152"/>
                    <a:pt x="210" y="146"/>
                    <a:pt x="211" y="143"/>
                  </a:cubicBezTo>
                  <a:cubicBezTo>
                    <a:pt x="212" y="141"/>
                    <a:pt x="213" y="136"/>
                    <a:pt x="216" y="133"/>
                  </a:cubicBezTo>
                  <a:cubicBezTo>
                    <a:pt x="219" y="130"/>
                    <a:pt x="220" y="129"/>
                    <a:pt x="220" y="127"/>
                  </a:cubicBezTo>
                  <a:cubicBezTo>
                    <a:pt x="220" y="126"/>
                    <a:pt x="222" y="124"/>
                    <a:pt x="223" y="122"/>
                  </a:cubicBezTo>
                  <a:cubicBezTo>
                    <a:pt x="224" y="121"/>
                    <a:pt x="223" y="118"/>
                    <a:pt x="223" y="115"/>
                  </a:cubicBezTo>
                  <a:cubicBezTo>
                    <a:pt x="224" y="113"/>
                    <a:pt x="226" y="111"/>
                    <a:pt x="225" y="110"/>
                  </a:cubicBezTo>
                  <a:cubicBezTo>
                    <a:pt x="225" y="109"/>
                    <a:pt x="225" y="108"/>
                    <a:pt x="225" y="108"/>
                  </a:cubicBezTo>
                  <a:cubicBezTo>
                    <a:pt x="226" y="107"/>
                    <a:pt x="227" y="104"/>
                    <a:pt x="226" y="102"/>
                  </a:cubicBezTo>
                  <a:cubicBezTo>
                    <a:pt x="226" y="100"/>
                    <a:pt x="224" y="99"/>
                    <a:pt x="224" y="97"/>
                  </a:cubicBezTo>
                  <a:cubicBezTo>
                    <a:pt x="224" y="95"/>
                    <a:pt x="224" y="94"/>
                    <a:pt x="223" y="92"/>
                  </a:cubicBezTo>
                  <a:cubicBezTo>
                    <a:pt x="223" y="90"/>
                    <a:pt x="224" y="89"/>
                    <a:pt x="224" y="88"/>
                  </a:cubicBezTo>
                  <a:cubicBezTo>
                    <a:pt x="224" y="87"/>
                    <a:pt x="224" y="87"/>
                    <a:pt x="225" y="86"/>
                  </a:cubicBezTo>
                  <a:cubicBezTo>
                    <a:pt x="225" y="85"/>
                    <a:pt x="225" y="82"/>
                    <a:pt x="225" y="83"/>
                  </a:cubicBezTo>
                  <a:cubicBezTo>
                    <a:pt x="225" y="83"/>
                    <a:pt x="223" y="87"/>
                    <a:pt x="221" y="84"/>
                  </a:cubicBezTo>
                  <a:cubicBezTo>
                    <a:pt x="219" y="82"/>
                    <a:pt x="218" y="78"/>
                    <a:pt x="217" y="78"/>
                  </a:cubicBezTo>
                  <a:cubicBezTo>
                    <a:pt x="216" y="77"/>
                    <a:pt x="213" y="76"/>
                    <a:pt x="212" y="74"/>
                  </a:cubicBezTo>
                  <a:cubicBezTo>
                    <a:pt x="211" y="72"/>
                    <a:pt x="212" y="69"/>
                    <a:pt x="210" y="69"/>
                  </a:cubicBezTo>
                  <a:cubicBezTo>
                    <a:pt x="209" y="68"/>
                    <a:pt x="207" y="66"/>
                    <a:pt x="207" y="67"/>
                  </a:cubicBezTo>
                  <a:cubicBezTo>
                    <a:pt x="207" y="67"/>
                    <a:pt x="206" y="68"/>
                    <a:pt x="205" y="68"/>
                  </a:cubicBezTo>
                  <a:cubicBezTo>
                    <a:pt x="205" y="67"/>
                    <a:pt x="205" y="64"/>
                    <a:pt x="204" y="62"/>
                  </a:cubicBezTo>
                  <a:cubicBezTo>
                    <a:pt x="202" y="60"/>
                    <a:pt x="200" y="58"/>
                    <a:pt x="200" y="58"/>
                  </a:cubicBezTo>
                  <a:cubicBezTo>
                    <a:pt x="200" y="57"/>
                    <a:pt x="200" y="57"/>
                    <a:pt x="201" y="57"/>
                  </a:cubicBezTo>
                  <a:cubicBezTo>
                    <a:pt x="201" y="57"/>
                    <a:pt x="199" y="56"/>
                    <a:pt x="197" y="54"/>
                  </a:cubicBezTo>
                  <a:cubicBezTo>
                    <a:pt x="196" y="52"/>
                    <a:pt x="195" y="53"/>
                    <a:pt x="194" y="52"/>
                  </a:cubicBezTo>
                  <a:cubicBezTo>
                    <a:pt x="193" y="51"/>
                    <a:pt x="193" y="51"/>
                    <a:pt x="191" y="51"/>
                  </a:cubicBezTo>
                  <a:cubicBezTo>
                    <a:pt x="190" y="51"/>
                    <a:pt x="186" y="49"/>
                    <a:pt x="186" y="48"/>
                  </a:cubicBezTo>
                  <a:cubicBezTo>
                    <a:pt x="186" y="46"/>
                    <a:pt x="186" y="46"/>
                    <a:pt x="185" y="44"/>
                  </a:cubicBezTo>
                  <a:cubicBezTo>
                    <a:pt x="184" y="42"/>
                    <a:pt x="185" y="43"/>
                    <a:pt x="185" y="41"/>
                  </a:cubicBezTo>
                  <a:cubicBezTo>
                    <a:pt x="185" y="39"/>
                    <a:pt x="185" y="37"/>
                    <a:pt x="183" y="36"/>
                  </a:cubicBezTo>
                  <a:cubicBezTo>
                    <a:pt x="182" y="34"/>
                    <a:pt x="182" y="35"/>
                    <a:pt x="181" y="33"/>
                  </a:cubicBezTo>
                  <a:cubicBezTo>
                    <a:pt x="181" y="31"/>
                    <a:pt x="181" y="27"/>
                    <a:pt x="180" y="25"/>
                  </a:cubicBezTo>
                  <a:cubicBezTo>
                    <a:pt x="179" y="24"/>
                    <a:pt x="177" y="22"/>
                    <a:pt x="176" y="21"/>
                  </a:cubicBezTo>
                  <a:cubicBezTo>
                    <a:pt x="175" y="20"/>
                    <a:pt x="175" y="22"/>
                    <a:pt x="175" y="22"/>
                  </a:cubicBezTo>
                  <a:cubicBezTo>
                    <a:pt x="174" y="22"/>
                    <a:pt x="171" y="19"/>
                    <a:pt x="171" y="16"/>
                  </a:cubicBezTo>
                  <a:cubicBezTo>
                    <a:pt x="171" y="13"/>
                    <a:pt x="169" y="10"/>
                    <a:pt x="168" y="8"/>
                  </a:cubicBezTo>
                  <a:cubicBezTo>
                    <a:pt x="167" y="6"/>
                    <a:pt x="165" y="3"/>
                    <a:pt x="165" y="2"/>
                  </a:cubicBezTo>
                  <a:cubicBezTo>
                    <a:pt x="165" y="0"/>
                    <a:pt x="164" y="2"/>
                    <a:pt x="164" y="3"/>
                  </a:cubicBezTo>
                  <a:cubicBezTo>
                    <a:pt x="164" y="3"/>
                    <a:pt x="164" y="6"/>
                    <a:pt x="163" y="7"/>
                  </a:cubicBezTo>
                  <a:cubicBezTo>
                    <a:pt x="161" y="9"/>
                    <a:pt x="160" y="10"/>
                    <a:pt x="160" y="11"/>
                  </a:cubicBezTo>
                  <a:cubicBezTo>
                    <a:pt x="161" y="11"/>
                    <a:pt x="162" y="11"/>
                    <a:pt x="162" y="12"/>
                  </a:cubicBezTo>
                  <a:cubicBezTo>
                    <a:pt x="161" y="13"/>
                    <a:pt x="160" y="14"/>
                    <a:pt x="160" y="16"/>
                  </a:cubicBezTo>
                  <a:cubicBezTo>
                    <a:pt x="160" y="18"/>
                    <a:pt x="159" y="18"/>
                    <a:pt x="160" y="19"/>
                  </a:cubicBezTo>
                  <a:cubicBezTo>
                    <a:pt x="160" y="20"/>
                    <a:pt x="160" y="22"/>
                    <a:pt x="160" y="23"/>
                  </a:cubicBezTo>
                  <a:cubicBezTo>
                    <a:pt x="160" y="23"/>
                    <a:pt x="160" y="26"/>
                    <a:pt x="160" y="29"/>
                  </a:cubicBezTo>
                  <a:cubicBezTo>
                    <a:pt x="159" y="33"/>
                    <a:pt x="157" y="39"/>
                    <a:pt x="155" y="40"/>
                  </a:cubicBezTo>
                  <a:cubicBezTo>
                    <a:pt x="152" y="42"/>
                    <a:pt x="151" y="41"/>
                    <a:pt x="149" y="40"/>
                  </a:cubicBezTo>
                  <a:cubicBezTo>
                    <a:pt x="147" y="38"/>
                    <a:pt x="146" y="36"/>
                    <a:pt x="145" y="36"/>
                  </a:cubicBezTo>
                  <a:cubicBezTo>
                    <a:pt x="144" y="35"/>
                    <a:pt x="140" y="34"/>
                    <a:pt x="138" y="33"/>
                  </a:cubicBezTo>
                  <a:cubicBezTo>
                    <a:pt x="136" y="31"/>
                    <a:pt x="135" y="30"/>
                    <a:pt x="134" y="30"/>
                  </a:cubicBezTo>
                  <a:cubicBezTo>
                    <a:pt x="133" y="30"/>
                    <a:pt x="131" y="28"/>
                    <a:pt x="130" y="27"/>
                  </a:cubicBezTo>
                  <a:cubicBezTo>
                    <a:pt x="129" y="26"/>
                    <a:pt x="127" y="25"/>
                    <a:pt x="127" y="25"/>
                  </a:cubicBezTo>
                  <a:cubicBezTo>
                    <a:pt x="126" y="25"/>
                    <a:pt x="125" y="24"/>
                    <a:pt x="126" y="23"/>
                  </a:cubicBezTo>
                  <a:cubicBezTo>
                    <a:pt x="126" y="22"/>
                    <a:pt x="128" y="20"/>
                    <a:pt x="129" y="19"/>
                  </a:cubicBezTo>
                  <a:cubicBezTo>
                    <a:pt x="130" y="18"/>
                    <a:pt x="131" y="18"/>
                    <a:pt x="130" y="18"/>
                  </a:cubicBezTo>
                  <a:cubicBezTo>
                    <a:pt x="129" y="17"/>
                    <a:pt x="129" y="15"/>
                    <a:pt x="131" y="15"/>
                  </a:cubicBezTo>
                  <a:cubicBezTo>
                    <a:pt x="132" y="15"/>
                    <a:pt x="131" y="14"/>
                    <a:pt x="132" y="13"/>
                  </a:cubicBezTo>
                  <a:cubicBezTo>
                    <a:pt x="133" y="11"/>
                    <a:pt x="135" y="10"/>
                    <a:pt x="134" y="9"/>
                  </a:cubicBezTo>
                  <a:cubicBezTo>
                    <a:pt x="133" y="9"/>
                    <a:pt x="132" y="7"/>
                    <a:pt x="132" y="8"/>
                  </a:cubicBezTo>
                  <a:cubicBezTo>
                    <a:pt x="131" y="9"/>
                    <a:pt x="131" y="11"/>
                    <a:pt x="130" y="10"/>
                  </a:cubicBezTo>
                  <a:cubicBezTo>
                    <a:pt x="129" y="10"/>
                    <a:pt x="128" y="9"/>
                    <a:pt x="128" y="9"/>
                  </a:cubicBezTo>
                  <a:cubicBezTo>
                    <a:pt x="129" y="8"/>
                    <a:pt x="129" y="7"/>
                    <a:pt x="127" y="8"/>
                  </a:cubicBezTo>
                  <a:cubicBezTo>
                    <a:pt x="126" y="9"/>
                    <a:pt x="125" y="10"/>
                    <a:pt x="123" y="9"/>
                  </a:cubicBezTo>
                  <a:cubicBezTo>
                    <a:pt x="121" y="9"/>
                    <a:pt x="115" y="6"/>
                    <a:pt x="113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65" name="Freeform 375">
              <a:extLst>
                <a:ext uri="{FF2B5EF4-FFF2-40B4-BE49-F238E27FC236}">
                  <a16:creationId xmlns:a16="http://schemas.microsoft.com/office/drawing/2014/main" id="{E290F240-E9C5-59D7-1D15-029B69EE5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5511" y="3037003"/>
              <a:ext cx="25428" cy="16952"/>
            </a:xfrm>
            <a:custGeom>
              <a:avLst/>
              <a:gdLst>
                <a:gd name="T0" fmla="*/ 7 w 8"/>
                <a:gd name="T1" fmla="*/ 2 h 5"/>
                <a:gd name="T2" fmla="*/ 5 w 8"/>
                <a:gd name="T3" fmla="*/ 0 h 5"/>
                <a:gd name="T4" fmla="*/ 2 w 8"/>
                <a:gd name="T5" fmla="*/ 2 h 5"/>
                <a:gd name="T6" fmla="*/ 1 w 8"/>
                <a:gd name="T7" fmla="*/ 4 h 5"/>
                <a:gd name="T8" fmla="*/ 7 w 8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7" y="2"/>
                  </a:moveTo>
                  <a:cubicBezTo>
                    <a:pt x="8" y="2"/>
                    <a:pt x="6" y="0"/>
                    <a:pt x="5" y="0"/>
                  </a:cubicBezTo>
                  <a:cubicBezTo>
                    <a:pt x="4" y="0"/>
                    <a:pt x="2" y="0"/>
                    <a:pt x="2" y="2"/>
                  </a:cubicBezTo>
                  <a:cubicBezTo>
                    <a:pt x="1" y="3"/>
                    <a:pt x="2" y="4"/>
                    <a:pt x="1" y="4"/>
                  </a:cubicBezTo>
                  <a:cubicBezTo>
                    <a:pt x="0" y="5"/>
                    <a:pt x="4" y="2"/>
                    <a:pt x="7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66" name="Freeform 376">
              <a:extLst>
                <a:ext uri="{FF2B5EF4-FFF2-40B4-BE49-F238E27FC236}">
                  <a16:creationId xmlns:a16="http://schemas.microsoft.com/office/drawing/2014/main" id="{08379DF2-468D-DDA5-974E-BC7A39D40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3278" y="3141136"/>
              <a:ext cx="13319" cy="9687"/>
            </a:xfrm>
            <a:custGeom>
              <a:avLst/>
              <a:gdLst>
                <a:gd name="T0" fmla="*/ 3 w 4"/>
                <a:gd name="T1" fmla="*/ 3 h 3"/>
                <a:gd name="T2" fmla="*/ 0 w 4"/>
                <a:gd name="T3" fmla="*/ 1 h 3"/>
                <a:gd name="T4" fmla="*/ 3 w 4"/>
                <a:gd name="T5" fmla="*/ 0 h 3"/>
                <a:gd name="T6" fmla="*/ 3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3" y="3"/>
                  </a:moveTo>
                  <a:cubicBezTo>
                    <a:pt x="1" y="3"/>
                    <a:pt x="0" y="2"/>
                    <a:pt x="0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0"/>
                    <a:pt x="3" y="3"/>
                    <a:pt x="3" y="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67" name="Freeform 377">
              <a:extLst>
                <a:ext uri="{FF2B5EF4-FFF2-40B4-BE49-F238E27FC236}">
                  <a16:creationId xmlns:a16="http://schemas.microsoft.com/office/drawing/2014/main" id="{D5634173-B710-913C-821B-F11E2F33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4154" y="3247691"/>
              <a:ext cx="19374" cy="19374"/>
            </a:xfrm>
            <a:custGeom>
              <a:avLst/>
              <a:gdLst>
                <a:gd name="T0" fmla="*/ 6 w 6"/>
                <a:gd name="T1" fmla="*/ 1 h 6"/>
                <a:gd name="T2" fmla="*/ 3 w 6"/>
                <a:gd name="T3" fmla="*/ 2 h 6"/>
                <a:gd name="T4" fmla="*/ 2 w 6"/>
                <a:gd name="T5" fmla="*/ 5 h 6"/>
                <a:gd name="T6" fmla="*/ 5 w 6"/>
                <a:gd name="T7" fmla="*/ 3 h 6"/>
                <a:gd name="T8" fmla="*/ 6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1"/>
                  </a:moveTo>
                  <a:cubicBezTo>
                    <a:pt x="5" y="1"/>
                    <a:pt x="4" y="2"/>
                    <a:pt x="3" y="2"/>
                  </a:cubicBezTo>
                  <a:cubicBezTo>
                    <a:pt x="3" y="3"/>
                    <a:pt x="0" y="6"/>
                    <a:pt x="2" y="5"/>
                  </a:cubicBezTo>
                  <a:cubicBezTo>
                    <a:pt x="3" y="4"/>
                    <a:pt x="4" y="4"/>
                    <a:pt x="5" y="3"/>
                  </a:cubicBezTo>
                  <a:cubicBezTo>
                    <a:pt x="6" y="2"/>
                    <a:pt x="6" y="0"/>
                    <a:pt x="6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68" name="Freeform 378">
              <a:extLst>
                <a:ext uri="{FF2B5EF4-FFF2-40B4-BE49-F238E27FC236}">
                  <a16:creationId xmlns:a16="http://schemas.microsoft.com/office/drawing/2014/main" id="{B558A68B-1DEC-5E65-92CD-037A01945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0835" y="3273118"/>
              <a:ext cx="9687" cy="7265"/>
            </a:xfrm>
            <a:custGeom>
              <a:avLst/>
              <a:gdLst>
                <a:gd name="T0" fmla="*/ 2 w 3"/>
                <a:gd name="T1" fmla="*/ 1 h 2"/>
                <a:gd name="T2" fmla="*/ 1 w 3"/>
                <a:gd name="T3" fmla="*/ 2 h 2"/>
                <a:gd name="T4" fmla="*/ 2 w 3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1"/>
                  </a:moveTo>
                  <a:cubicBezTo>
                    <a:pt x="1" y="1"/>
                    <a:pt x="0" y="2"/>
                    <a:pt x="1" y="2"/>
                  </a:cubicBezTo>
                  <a:cubicBezTo>
                    <a:pt x="2" y="2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69" name="Freeform 379">
              <a:extLst>
                <a:ext uri="{FF2B5EF4-FFF2-40B4-BE49-F238E27FC236}">
                  <a16:creationId xmlns:a16="http://schemas.microsoft.com/office/drawing/2014/main" id="{D79F82CA-F470-3270-CEAE-D9F5023AD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2401" y="3332450"/>
              <a:ext cx="9687" cy="6054"/>
            </a:xfrm>
            <a:custGeom>
              <a:avLst/>
              <a:gdLst>
                <a:gd name="T0" fmla="*/ 3 w 3"/>
                <a:gd name="T1" fmla="*/ 0 h 2"/>
                <a:gd name="T2" fmla="*/ 1 w 3"/>
                <a:gd name="T3" fmla="*/ 2 h 2"/>
                <a:gd name="T4" fmla="*/ 3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2" y="2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70" name="Freeform 380">
              <a:extLst>
                <a:ext uri="{FF2B5EF4-FFF2-40B4-BE49-F238E27FC236}">
                  <a16:creationId xmlns:a16="http://schemas.microsoft.com/office/drawing/2014/main" id="{14F2FD08-4E08-F27E-BA20-505B153FB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0021" y="3351823"/>
              <a:ext cx="23006" cy="12108"/>
            </a:xfrm>
            <a:custGeom>
              <a:avLst/>
              <a:gdLst>
                <a:gd name="T0" fmla="*/ 6 w 7"/>
                <a:gd name="T1" fmla="*/ 0 h 4"/>
                <a:gd name="T2" fmla="*/ 1 w 7"/>
                <a:gd name="T3" fmla="*/ 4 h 4"/>
                <a:gd name="T4" fmla="*/ 6 w 7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5" y="0"/>
                    <a:pt x="0" y="3"/>
                    <a:pt x="1" y="4"/>
                  </a:cubicBezTo>
                  <a:cubicBezTo>
                    <a:pt x="2" y="4"/>
                    <a:pt x="7" y="1"/>
                    <a:pt x="6" y="0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71" name="Freeform 381">
              <a:extLst>
                <a:ext uri="{FF2B5EF4-FFF2-40B4-BE49-F238E27FC236}">
                  <a16:creationId xmlns:a16="http://schemas.microsoft.com/office/drawing/2014/main" id="{CCED2B0F-2C56-A054-0367-45AEC0917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593" y="3367564"/>
              <a:ext cx="19374" cy="13319"/>
            </a:xfrm>
            <a:custGeom>
              <a:avLst/>
              <a:gdLst>
                <a:gd name="T0" fmla="*/ 5 w 6"/>
                <a:gd name="T1" fmla="*/ 0 h 4"/>
                <a:gd name="T2" fmla="*/ 3 w 6"/>
                <a:gd name="T3" fmla="*/ 1 h 4"/>
                <a:gd name="T4" fmla="*/ 1 w 6"/>
                <a:gd name="T5" fmla="*/ 1 h 4"/>
                <a:gd name="T6" fmla="*/ 1 w 6"/>
                <a:gd name="T7" fmla="*/ 3 h 4"/>
                <a:gd name="T8" fmla="*/ 4 w 6"/>
                <a:gd name="T9" fmla="*/ 2 h 4"/>
                <a:gd name="T10" fmla="*/ 5 w 6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5" y="0"/>
                  </a:moveTo>
                  <a:cubicBezTo>
                    <a:pt x="4" y="0"/>
                    <a:pt x="4" y="1"/>
                    <a:pt x="3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2"/>
                    <a:pt x="0" y="4"/>
                    <a:pt x="1" y="3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4" y="1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72" name="Freeform 382">
              <a:extLst>
                <a:ext uri="{FF2B5EF4-FFF2-40B4-BE49-F238E27FC236}">
                  <a16:creationId xmlns:a16="http://schemas.microsoft.com/office/drawing/2014/main" id="{60766FCB-78A3-9DFB-449E-E2DA4CED1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1587" y="3377251"/>
              <a:ext cx="19374" cy="15741"/>
            </a:xfrm>
            <a:custGeom>
              <a:avLst/>
              <a:gdLst>
                <a:gd name="T0" fmla="*/ 5 w 6"/>
                <a:gd name="T1" fmla="*/ 0 h 5"/>
                <a:gd name="T2" fmla="*/ 1 w 6"/>
                <a:gd name="T3" fmla="*/ 4 h 5"/>
                <a:gd name="T4" fmla="*/ 2 w 6"/>
                <a:gd name="T5" fmla="*/ 4 h 5"/>
                <a:gd name="T6" fmla="*/ 5 w 6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5">
                  <a:moveTo>
                    <a:pt x="5" y="0"/>
                  </a:moveTo>
                  <a:cubicBezTo>
                    <a:pt x="4" y="0"/>
                    <a:pt x="1" y="4"/>
                    <a:pt x="1" y="4"/>
                  </a:cubicBezTo>
                  <a:cubicBezTo>
                    <a:pt x="0" y="4"/>
                    <a:pt x="1" y="5"/>
                    <a:pt x="2" y="4"/>
                  </a:cubicBezTo>
                  <a:cubicBezTo>
                    <a:pt x="3" y="4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73" name="Freeform 383">
              <a:extLst>
                <a:ext uri="{FF2B5EF4-FFF2-40B4-BE49-F238E27FC236}">
                  <a16:creationId xmlns:a16="http://schemas.microsoft.com/office/drawing/2014/main" id="{7FF64606-C083-04D0-776C-5934FECF4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1587" y="3402679"/>
              <a:ext cx="3633" cy="363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74" name="Freeform 384">
              <a:extLst>
                <a:ext uri="{FF2B5EF4-FFF2-40B4-BE49-F238E27FC236}">
                  <a16:creationId xmlns:a16="http://schemas.microsoft.com/office/drawing/2014/main" id="{6AAF134B-C0EC-D1D8-0268-141C248CE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9791" y="3390570"/>
              <a:ext cx="19374" cy="15741"/>
            </a:xfrm>
            <a:custGeom>
              <a:avLst/>
              <a:gdLst>
                <a:gd name="T0" fmla="*/ 5 w 6"/>
                <a:gd name="T1" fmla="*/ 1 h 5"/>
                <a:gd name="T2" fmla="*/ 2 w 6"/>
                <a:gd name="T3" fmla="*/ 2 h 5"/>
                <a:gd name="T4" fmla="*/ 1 w 6"/>
                <a:gd name="T5" fmla="*/ 4 h 5"/>
                <a:gd name="T6" fmla="*/ 5 w 6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5">
                  <a:moveTo>
                    <a:pt x="5" y="1"/>
                  </a:moveTo>
                  <a:cubicBezTo>
                    <a:pt x="4" y="1"/>
                    <a:pt x="3" y="1"/>
                    <a:pt x="2" y="2"/>
                  </a:cubicBezTo>
                  <a:cubicBezTo>
                    <a:pt x="1" y="3"/>
                    <a:pt x="0" y="5"/>
                    <a:pt x="1" y="4"/>
                  </a:cubicBezTo>
                  <a:cubicBezTo>
                    <a:pt x="1" y="4"/>
                    <a:pt x="6" y="0"/>
                    <a:pt x="5" y="1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75" name="Freeform 385">
              <a:extLst>
                <a:ext uri="{FF2B5EF4-FFF2-40B4-BE49-F238E27FC236}">
                  <a16:creationId xmlns:a16="http://schemas.microsoft.com/office/drawing/2014/main" id="{8403FB82-26D3-1CEE-C59B-CABD3663A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97" y="3522553"/>
              <a:ext cx="6054" cy="9687"/>
            </a:xfrm>
            <a:custGeom>
              <a:avLst/>
              <a:gdLst>
                <a:gd name="T0" fmla="*/ 2 w 2"/>
                <a:gd name="T1" fmla="*/ 0 h 3"/>
                <a:gd name="T2" fmla="*/ 1 w 2"/>
                <a:gd name="T3" fmla="*/ 3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0"/>
                    <a:pt x="0" y="3"/>
                    <a:pt x="1" y="3"/>
                  </a:cubicBezTo>
                  <a:cubicBezTo>
                    <a:pt x="2" y="3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76" name="Freeform 386">
              <a:extLst>
                <a:ext uri="{FF2B5EF4-FFF2-40B4-BE49-F238E27FC236}">
                  <a16:creationId xmlns:a16="http://schemas.microsoft.com/office/drawing/2014/main" id="{4370A70B-0CD6-59B7-7B4E-5C8A80C33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5658" y="3367564"/>
              <a:ext cx="110188" cy="90813"/>
            </a:xfrm>
            <a:custGeom>
              <a:avLst/>
              <a:gdLst>
                <a:gd name="T0" fmla="*/ 30 w 34"/>
                <a:gd name="T1" fmla="*/ 11 h 28"/>
                <a:gd name="T2" fmla="*/ 31 w 34"/>
                <a:gd name="T3" fmla="*/ 8 h 28"/>
                <a:gd name="T4" fmla="*/ 28 w 34"/>
                <a:gd name="T5" fmla="*/ 11 h 28"/>
                <a:gd name="T6" fmla="*/ 25 w 34"/>
                <a:gd name="T7" fmla="*/ 10 h 28"/>
                <a:gd name="T8" fmla="*/ 21 w 34"/>
                <a:gd name="T9" fmla="*/ 8 h 28"/>
                <a:gd name="T10" fmla="*/ 12 w 34"/>
                <a:gd name="T11" fmla="*/ 1 h 28"/>
                <a:gd name="T12" fmla="*/ 11 w 34"/>
                <a:gd name="T13" fmla="*/ 4 h 28"/>
                <a:gd name="T14" fmla="*/ 11 w 34"/>
                <a:gd name="T15" fmla="*/ 8 h 28"/>
                <a:gd name="T16" fmla="*/ 9 w 34"/>
                <a:gd name="T17" fmla="*/ 12 h 28"/>
                <a:gd name="T18" fmla="*/ 8 w 34"/>
                <a:gd name="T19" fmla="*/ 16 h 28"/>
                <a:gd name="T20" fmla="*/ 6 w 34"/>
                <a:gd name="T21" fmla="*/ 15 h 28"/>
                <a:gd name="T22" fmla="*/ 4 w 34"/>
                <a:gd name="T23" fmla="*/ 16 h 28"/>
                <a:gd name="T24" fmla="*/ 5 w 34"/>
                <a:gd name="T25" fmla="*/ 18 h 28"/>
                <a:gd name="T26" fmla="*/ 0 w 34"/>
                <a:gd name="T27" fmla="*/ 21 h 28"/>
                <a:gd name="T28" fmla="*/ 2 w 34"/>
                <a:gd name="T29" fmla="*/ 24 h 28"/>
                <a:gd name="T30" fmla="*/ 1 w 34"/>
                <a:gd name="T31" fmla="*/ 26 h 28"/>
                <a:gd name="T32" fmla="*/ 4 w 34"/>
                <a:gd name="T33" fmla="*/ 27 h 28"/>
                <a:gd name="T34" fmla="*/ 5 w 34"/>
                <a:gd name="T35" fmla="*/ 26 h 28"/>
                <a:gd name="T36" fmla="*/ 7 w 34"/>
                <a:gd name="T37" fmla="*/ 25 h 28"/>
                <a:gd name="T38" fmla="*/ 4 w 34"/>
                <a:gd name="T39" fmla="*/ 22 h 28"/>
                <a:gd name="T40" fmla="*/ 6 w 34"/>
                <a:gd name="T41" fmla="*/ 21 h 28"/>
                <a:gd name="T42" fmla="*/ 7 w 34"/>
                <a:gd name="T43" fmla="*/ 21 h 28"/>
                <a:gd name="T44" fmla="*/ 12 w 34"/>
                <a:gd name="T45" fmla="*/ 20 h 28"/>
                <a:gd name="T46" fmla="*/ 20 w 34"/>
                <a:gd name="T47" fmla="*/ 24 h 28"/>
                <a:gd name="T48" fmla="*/ 24 w 34"/>
                <a:gd name="T49" fmla="*/ 17 h 28"/>
                <a:gd name="T50" fmla="*/ 30 w 34"/>
                <a:gd name="T51" fmla="*/ 17 h 28"/>
                <a:gd name="T52" fmla="*/ 33 w 34"/>
                <a:gd name="T53" fmla="*/ 16 h 28"/>
                <a:gd name="T54" fmla="*/ 31 w 34"/>
                <a:gd name="T55" fmla="*/ 15 h 28"/>
                <a:gd name="T56" fmla="*/ 32 w 34"/>
                <a:gd name="T57" fmla="*/ 12 h 28"/>
                <a:gd name="T58" fmla="*/ 30 w 34"/>
                <a:gd name="T59" fmla="*/ 12 h 28"/>
                <a:gd name="T60" fmla="*/ 30 w 34"/>
                <a:gd name="T6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" h="28">
                  <a:moveTo>
                    <a:pt x="30" y="11"/>
                  </a:moveTo>
                  <a:cubicBezTo>
                    <a:pt x="32" y="7"/>
                    <a:pt x="31" y="8"/>
                    <a:pt x="31" y="8"/>
                  </a:cubicBezTo>
                  <a:cubicBezTo>
                    <a:pt x="31" y="9"/>
                    <a:pt x="30" y="11"/>
                    <a:pt x="28" y="11"/>
                  </a:cubicBezTo>
                  <a:cubicBezTo>
                    <a:pt x="27" y="11"/>
                    <a:pt x="26" y="10"/>
                    <a:pt x="25" y="10"/>
                  </a:cubicBezTo>
                  <a:cubicBezTo>
                    <a:pt x="24" y="9"/>
                    <a:pt x="22" y="10"/>
                    <a:pt x="21" y="8"/>
                  </a:cubicBezTo>
                  <a:cubicBezTo>
                    <a:pt x="19" y="7"/>
                    <a:pt x="14" y="1"/>
                    <a:pt x="12" y="1"/>
                  </a:cubicBezTo>
                  <a:cubicBezTo>
                    <a:pt x="10" y="0"/>
                    <a:pt x="10" y="3"/>
                    <a:pt x="11" y="4"/>
                  </a:cubicBezTo>
                  <a:cubicBezTo>
                    <a:pt x="11" y="5"/>
                    <a:pt x="11" y="7"/>
                    <a:pt x="11" y="8"/>
                  </a:cubicBezTo>
                  <a:cubicBezTo>
                    <a:pt x="11" y="9"/>
                    <a:pt x="10" y="11"/>
                    <a:pt x="9" y="12"/>
                  </a:cubicBezTo>
                  <a:cubicBezTo>
                    <a:pt x="9" y="13"/>
                    <a:pt x="10" y="16"/>
                    <a:pt x="8" y="16"/>
                  </a:cubicBezTo>
                  <a:cubicBezTo>
                    <a:pt x="7" y="16"/>
                    <a:pt x="7" y="16"/>
                    <a:pt x="6" y="15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4" y="17"/>
                    <a:pt x="6" y="18"/>
                    <a:pt x="5" y="18"/>
                  </a:cubicBezTo>
                  <a:cubicBezTo>
                    <a:pt x="4" y="18"/>
                    <a:pt x="0" y="20"/>
                    <a:pt x="0" y="21"/>
                  </a:cubicBezTo>
                  <a:cubicBezTo>
                    <a:pt x="0" y="22"/>
                    <a:pt x="2" y="23"/>
                    <a:pt x="2" y="24"/>
                  </a:cubicBezTo>
                  <a:cubicBezTo>
                    <a:pt x="2" y="25"/>
                    <a:pt x="1" y="25"/>
                    <a:pt x="1" y="26"/>
                  </a:cubicBezTo>
                  <a:cubicBezTo>
                    <a:pt x="1" y="27"/>
                    <a:pt x="3" y="28"/>
                    <a:pt x="4" y="27"/>
                  </a:cubicBezTo>
                  <a:cubicBezTo>
                    <a:pt x="4" y="27"/>
                    <a:pt x="5" y="26"/>
                    <a:pt x="5" y="26"/>
                  </a:cubicBezTo>
                  <a:cubicBezTo>
                    <a:pt x="6" y="25"/>
                    <a:pt x="7" y="26"/>
                    <a:pt x="7" y="25"/>
                  </a:cubicBezTo>
                  <a:cubicBezTo>
                    <a:pt x="7" y="25"/>
                    <a:pt x="4" y="23"/>
                    <a:pt x="4" y="22"/>
                  </a:cubicBezTo>
                  <a:cubicBezTo>
                    <a:pt x="4" y="21"/>
                    <a:pt x="5" y="20"/>
                    <a:pt x="6" y="21"/>
                  </a:cubicBezTo>
                  <a:cubicBezTo>
                    <a:pt x="7" y="21"/>
                    <a:pt x="6" y="22"/>
                    <a:pt x="7" y="21"/>
                  </a:cubicBezTo>
                  <a:cubicBezTo>
                    <a:pt x="8" y="21"/>
                    <a:pt x="11" y="19"/>
                    <a:pt x="12" y="20"/>
                  </a:cubicBezTo>
                  <a:cubicBezTo>
                    <a:pt x="13" y="20"/>
                    <a:pt x="19" y="24"/>
                    <a:pt x="20" y="24"/>
                  </a:cubicBezTo>
                  <a:cubicBezTo>
                    <a:pt x="20" y="23"/>
                    <a:pt x="22" y="17"/>
                    <a:pt x="24" y="17"/>
                  </a:cubicBezTo>
                  <a:cubicBezTo>
                    <a:pt x="26" y="17"/>
                    <a:pt x="29" y="18"/>
                    <a:pt x="30" y="17"/>
                  </a:cubicBezTo>
                  <a:cubicBezTo>
                    <a:pt x="30" y="17"/>
                    <a:pt x="34" y="16"/>
                    <a:pt x="33" y="16"/>
                  </a:cubicBezTo>
                  <a:cubicBezTo>
                    <a:pt x="32" y="16"/>
                    <a:pt x="30" y="15"/>
                    <a:pt x="31" y="15"/>
                  </a:cubicBezTo>
                  <a:cubicBezTo>
                    <a:pt x="31" y="14"/>
                    <a:pt x="33" y="12"/>
                    <a:pt x="32" y="12"/>
                  </a:cubicBezTo>
                  <a:cubicBezTo>
                    <a:pt x="31" y="12"/>
                    <a:pt x="30" y="13"/>
                    <a:pt x="30" y="12"/>
                  </a:cubicBezTo>
                  <a:cubicBezTo>
                    <a:pt x="30" y="12"/>
                    <a:pt x="30" y="12"/>
                    <a:pt x="30" y="11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77" name="Freeform 387">
              <a:extLst>
                <a:ext uri="{FF2B5EF4-FFF2-40B4-BE49-F238E27FC236}">
                  <a16:creationId xmlns:a16="http://schemas.microsoft.com/office/drawing/2014/main" id="{5884CA2C-8EF7-8A39-EBDA-F32E5D378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7035" y="3454745"/>
              <a:ext cx="201002" cy="168308"/>
            </a:xfrm>
            <a:custGeom>
              <a:avLst/>
              <a:gdLst>
                <a:gd name="T0" fmla="*/ 56 w 62"/>
                <a:gd name="T1" fmla="*/ 0 h 52"/>
                <a:gd name="T2" fmla="*/ 57 w 62"/>
                <a:gd name="T3" fmla="*/ 3 h 52"/>
                <a:gd name="T4" fmla="*/ 54 w 62"/>
                <a:gd name="T5" fmla="*/ 3 h 52"/>
                <a:gd name="T6" fmla="*/ 52 w 62"/>
                <a:gd name="T7" fmla="*/ 4 h 52"/>
                <a:gd name="T8" fmla="*/ 50 w 62"/>
                <a:gd name="T9" fmla="*/ 8 h 52"/>
                <a:gd name="T10" fmla="*/ 50 w 62"/>
                <a:gd name="T11" fmla="*/ 11 h 52"/>
                <a:gd name="T12" fmla="*/ 48 w 62"/>
                <a:gd name="T13" fmla="*/ 20 h 52"/>
                <a:gd name="T14" fmla="*/ 39 w 62"/>
                <a:gd name="T15" fmla="*/ 29 h 52"/>
                <a:gd name="T16" fmla="*/ 34 w 62"/>
                <a:gd name="T17" fmla="*/ 29 h 52"/>
                <a:gd name="T18" fmla="*/ 35 w 62"/>
                <a:gd name="T19" fmla="*/ 26 h 52"/>
                <a:gd name="T20" fmla="*/ 32 w 62"/>
                <a:gd name="T21" fmla="*/ 28 h 52"/>
                <a:gd name="T22" fmla="*/ 28 w 62"/>
                <a:gd name="T23" fmla="*/ 36 h 52"/>
                <a:gd name="T24" fmla="*/ 27 w 62"/>
                <a:gd name="T25" fmla="*/ 38 h 52"/>
                <a:gd name="T26" fmla="*/ 24 w 62"/>
                <a:gd name="T27" fmla="*/ 38 h 52"/>
                <a:gd name="T28" fmla="*/ 14 w 62"/>
                <a:gd name="T29" fmla="*/ 39 h 52"/>
                <a:gd name="T30" fmla="*/ 4 w 62"/>
                <a:gd name="T31" fmla="*/ 44 h 52"/>
                <a:gd name="T32" fmla="*/ 0 w 62"/>
                <a:gd name="T33" fmla="*/ 48 h 52"/>
                <a:gd name="T34" fmla="*/ 3 w 62"/>
                <a:gd name="T35" fmla="*/ 48 h 52"/>
                <a:gd name="T36" fmla="*/ 8 w 62"/>
                <a:gd name="T37" fmla="*/ 47 h 52"/>
                <a:gd name="T38" fmla="*/ 17 w 62"/>
                <a:gd name="T39" fmla="*/ 45 h 52"/>
                <a:gd name="T40" fmla="*/ 24 w 62"/>
                <a:gd name="T41" fmla="*/ 44 h 52"/>
                <a:gd name="T42" fmla="*/ 24 w 62"/>
                <a:gd name="T43" fmla="*/ 49 h 52"/>
                <a:gd name="T44" fmla="*/ 31 w 62"/>
                <a:gd name="T45" fmla="*/ 47 h 52"/>
                <a:gd name="T46" fmla="*/ 32 w 62"/>
                <a:gd name="T47" fmla="*/ 44 h 52"/>
                <a:gd name="T48" fmla="*/ 35 w 62"/>
                <a:gd name="T49" fmla="*/ 45 h 52"/>
                <a:gd name="T50" fmla="*/ 41 w 62"/>
                <a:gd name="T51" fmla="*/ 43 h 52"/>
                <a:gd name="T52" fmla="*/ 44 w 62"/>
                <a:gd name="T53" fmla="*/ 45 h 52"/>
                <a:gd name="T54" fmla="*/ 49 w 62"/>
                <a:gd name="T55" fmla="*/ 40 h 52"/>
                <a:gd name="T56" fmla="*/ 50 w 62"/>
                <a:gd name="T57" fmla="*/ 42 h 52"/>
                <a:gd name="T58" fmla="*/ 54 w 62"/>
                <a:gd name="T59" fmla="*/ 38 h 52"/>
                <a:gd name="T60" fmla="*/ 54 w 62"/>
                <a:gd name="T61" fmla="*/ 33 h 52"/>
                <a:gd name="T62" fmla="*/ 56 w 62"/>
                <a:gd name="T63" fmla="*/ 23 h 52"/>
                <a:gd name="T64" fmla="*/ 59 w 62"/>
                <a:gd name="T65" fmla="*/ 20 h 52"/>
                <a:gd name="T66" fmla="*/ 60 w 62"/>
                <a:gd name="T67" fmla="*/ 8 h 52"/>
                <a:gd name="T68" fmla="*/ 57 w 62"/>
                <a:gd name="T69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2" h="52">
                  <a:moveTo>
                    <a:pt x="57" y="1"/>
                  </a:moveTo>
                  <a:cubicBezTo>
                    <a:pt x="57" y="1"/>
                    <a:pt x="56" y="0"/>
                    <a:pt x="56" y="0"/>
                  </a:cubicBezTo>
                  <a:cubicBezTo>
                    <a:pt x="55" y="1"/>
                    <a:pt x="55" y="2"/>
                    <a:pt x="56" y="2"/>
                  </a:cubicBezTo>
                  <a:cubicBezTo>
                    <a:pt x="56" y="2"/>
                    <a:pt x="57" y="2"/>
                    <a:pt x="57" y="3"/>
                  </a:cubicBezTo>
                  <a:cubicBezTo>
                    <a:pt x="57" y="4"/>
                    <a:pt x="58" y="4"/>
                    <a:pt x="56" y="4"/>
                  </a:cubicBezTo>
                  <a:cubicBezTo>
                    <a:pt x="55" y="4"/>
                    <a:pt x="54" y="4"/>
                    <a:pt x="54" y="3"/>
                  </a:cubicBezTo>
                  <a:cubicBezTo>
                    <a:pt x="54" y="3"/>
                    <a:pt x="54" y="1"/>
                    <a:pt x="53" y="2"/>
                  </a:cubicBezTo>
                  <a:cubicBezTo>
                    <a:pt x="52" y="3"/>
                    <a:pt x="52" y="4"/>
                    <a:pt x="52" y="4"/>
                  </a:cubicBezTo>
                  <a:cubicBezTo>
                    <a:pt x="51" y="5"/>
                    <a:pt x="50" y="6"/>
                    <a:pt x="50" y="7"/>
                  </a:cubicBezTo>
                  <a:cubicBezTo>
                    <a:pt x="50" y="7"/>
                    <a:pt x="50" y="8"/>
                    <a:pt x="50" y="8"/>
                  </a:cubicBezTo>
                  <a:cubicBezTo>
                    <a:pt x="50" y="8"/>
                    <a:pt x="51" y="7"/>
                    <a:pt x="51" y="8"/>
                  </a:cubicBezTo>
                  <a:cubicBezTo>
                    <a:pt x="51" y="10"/>
                    <a:pt x="50" y="10"/>
                    <a:pt x="50" y="11"/>
                  </a:cubicBezTo>
                  <a:cubicBezTo>
                    <a:pt x="50" y="12"/>
                    <a:pt x="52" y="11"/>
                    <a:pt x="51" y="13"/>
                  </a:cubicBezTo>
                  <a:cubicBezTo>
                    <a:pt x="50" y="15"/>
                    <a:pt x="49" y="18"/>
                    <a:pt x="48" y="20"/>
                  </a:cubicBezTo>
                  <a:cubicBezTo>
                    <a:pt x="47" y="21"/>
                    <a:pt x="46" y="23"/>
                    <a:pt x="45" y="24"/>
                  </a:cubicBezTo>
                  <a:cubicBezTo>
                    <a:pt x="43" y="26"/>
                    <a:pt x="40" y="29"/>
                    <a:pt x="39" y="29"/>
                  </a:cubicBezTo>
                  <a:cubicBezTo>
                    <a:pt x="38" y="29"/>
                    <a:pt x="37" y="30"/>
                    <a:pt x="36" y="30"/>
                  </a:cubicBezTo>
                  <a:cubicBezTo>
                    <a:pt x="34" y="30"/>
                    <a:pt x="34" y="29"/>
                    <a:pt x="34" y="29"/>
                  </a:cubicBezTo>
                  <a:cubicBezTo>
                    <a:pt x="34" y="29"/>
                    <a:pt x="34" y="28"/>
                    <a:pt x="34" y="28"/>
                  </a:cubicBezTo>
                  <a:cubicBezTo>
                    <a:pt x="35" y="27"/>
                    <a:pt x="36" y="26"/>
                    <a:pt x="35" y="26"/>
                  </a:cubicBezTo>
                  <a:cubicBezTo>
                    <a:pt x="34" y="26"/>
                    <a:pt x="33" y="27"/>
                    <a:pt x="33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29"/>
                    <a:pt x="32" y="31"/>
                    <a:pt x="31" y="32"/>
                  </a:cubicBezTo>
                  <a:cubicBezTo>
                    <a:pt x="31" y="32"/>
                    <a:pt x="29" y="35"/>
                    <a:pt x="28" y="36"/>
                  </a:cubicBezTo>
                  <a:cubicBezTo>
                    <a:pt x="27" y="37"/>
                    <a:pt x="28" y="36"/>
                    <a:pt x="28" y="37"/>
                  </a:cubicBezTo>
                  <a:cubicBezTo>
                    <a:pt x="28" y="38"/>
                    <a:pt x="27" y="38"/>
                    <a:pt x="27" y="38"/>
                  </a:cubicBezTo>
                  <a:cubicBezTo>
                    <a:pt x="26" y="39"/>
                    <a:pt x="25" y="40"/>
                    <a:pt x="25" y="39"/>
                  </a:cubicBezTo>
                  <a:cubicBezTo>
                    <a:pt x="24" y="39"/>
                    <a:pt x="25" y="38"/>
                    <a:pt x="24" y="38"/>
                  </a:cubicBezTo>
                  <a:cubicBezTo>
                    <a:pt x="23" y="38"/>
                    <a:pt x="21" y="38"/>
                    <a:pt x="19" y="38"/>
                  </a:cubicBezTo>
                  <a:cubicBezTo>
                    <a:pt x="18" y="39"/>
                    <a:pt x="16" y="40"/>
                    <a:pt x="14" y="39"/>
                  </a:cubicBezTo>
                  <a:cubicBezTo>
                    <a:pt x="13" y="39"/>
                    <a:pt x="13" y="39"/>
                    <a:pt x="11" y="39"/>
                  </a:cubicBezTo>
                  <a:cubicBezTo>
                    <a:pt x="10" y="39"/>
                    <a:pt x="7" y="42"/>
                    <a:pt x="4" y="44"/>
                  </a:cubicBezTo>
                  <a:cubicBezTo>
                    <a:pt x="2" y="46"/>
                    <a:pt x="1" y="46"/>
                    <a:pt x="1" y="46"/>
                  </a:cubicBezTo>
                  <a:cubicBezTo>
                    <a:pt x="0" y="46"/>
                    <a:pt x="0" y="47"/>
                    <a:pt x="0" y="48"/>
                  </a:cubicBezTo>
                  <a:cubicBezTo>
                    <a:pt x="0" y="48"/>
                    <a:pt x="0" y="49"/>
                    <a:pt x="1" y="49"/>
                  </a:cubicBezTo>
                  <a:cubicBezTo>
                    <a:pt x="2" y="48"/>
                    <a:pt x="2" y="48"/>
                    <a:pt x="3" y="48"/>
                  </a:cubicBezTo>
                  <a:cubicBezTo>
                    <a:pt x="4" y="48"/>
                    <a:pt x="5" y="49"/>
                    <a:pt x="5" y="49"/>
                  </a:cubicBezTo>
                  <a:cubicBezTo>
                    <a:pt x="6" y="49"/>
                    <a:pt x="7" y="48"/>
                    <a:pt x="8" y="47"/>
                  </a:cubicBezTo>
                  <a:cubicBezTo>
                    <a:pt x="9" y="47"/>
                    <a:pt x="11" y="47"/>
                    <a:pt x="12" y="47"/>
                  </a:cubicBezTo>
                  <a:cubicBezTo>
                    <a:pt x="13" y="46"/>
                    <a:pt x="15" y="46"/>
                    <a:pt x="17" y="45"/>
                  </a:cubicBezTo>
                  <a:cubicBezTo>
                    <a:pt x="18" y="45"/>
                    <a:pt x="18" y="43"/>
                    <a:pt x="20" y="44"/>
                  </a:cubicBezTo>
                  <a:cubicBezTo>
                    <a:pt x="21" y="44"/>
                    <a:pt x="24" y="44"/>
                    <a:pt x="24" y="44"/>
                  </a:cubicBezTo>
                  <a:cubicBezTo>
                    <a:pt x="25" y="45"/>
                    <a:pt x="24" y="45"/>
                    <a:pt x="24" y="46"/>
                  </a:cubicBezTo>
                  <a:cubicBezTo>
                    <a:pt x="23" y="47"/>
                    <a:pt x="23" y="47"/>
                    <a:pt x="24" y="49"/>
                  </a:cubicBezTo>
                  <a:cubicBezTo>
                    <a:pt x="24" y="50"/>
                    <a:pt x="25" y="52"/>
                    <a:pt x="26" y="51"/>
                  </a:cubicBezTo>
                  <a:cubicBezTo>
                    <a:pt x="28" y="51"/>
                    <a:pt x="30" y="47"/>
                    <a:pt x="31" y="47"/>
                  </a:cubicBezTo>
                  <a:cubicBezTo>
                    <a:pt x="32" y="47"/>
                    <a:pt x="33" y="47"/>
                    <a:pt x="33" y="46"/>
                  </a:cubicBezTo>
                  <a:cubicBezTo>
                    <a:pt x="32" y="46"/>
                    <a:pt x="31" y="46"/>
                    <a:pt x="32" y="44"/>
                  </a:cubicBezTo>
                  <a:cubicBezTo>
                    <a:pt x="32" y="43"/>
                    <a:pt x="32" y="42"/>
                    <a:pt x="33" y="43"/>
                  </a:cubicBezTo>
                  <a:cubicBezTo>
                    <a:pt x="34" y="44"/>
                    <a:pt x="34" y="44"/>
                    <a:pt x="35" y="45"/>
                  </a:cubicBezTo>
                  <a:cubicBezTo>
                    <a:pt x="35" y="46"/>
                    <a:pt x="36" y="45"/>
                    <a:pt x="37" y="45"/>
                  </a:cubicBezTo>
                  <a:cubicBezTo>
                    <a:pt x="38" y="45"/>
                    <a:pt x="41" y="44"/>
                    <a:pt x="41" y="43"/>
                  </a:cubicBezTo>
                  <a:cubicBezTo>
                    <a:pt x="42" y="43"/>
                    <a:pt x="42" y="41"/>
                    <a:pt x="43" y="42"/>
                  </a:cubicBezTo>
                  <a:cubicBezTo>
                    <a:pt x="43" y="43"/>
                    <a:pt x="44" y="45"/>
                    <a:pt x="44" y="45"/>
                  </a:cubicBezTo>
                  <a:cubicBezTo>
                    <a:pt x="45" y="44"/>
                    <a:pt x="46" y="41"/>
                    <a:pt x="46" y="41"/>
                  </a:cubicBezTo>
                  <a:cubicBezTo>
                    <a:pt x="47" y="40"/>
                    <a:pt x="48" y="40"/>
                    <a:pt x="49" y="40"/>
                  </a:cubicBezTo>
                  <a:cubicBezTo>
                    <a:pt x="49" y="39"/>
                    <a:pt x="49" y="38"/>
                    <a:pt x="50" y="39"/>
                  </a:cubicBezTo>
                  <a:cubicBezTo>
                    <a:pt x="50" y="40"/>
                    <a:pt x="49" y="42"/>
                    <a:pt x="50" y="42"/>
                  </a:cubicBezTo>
                  <a:cubicBezTo>
                    <a:pt x="50" y="42"/>
                    <a:pt x="53" y="41"/>
                    <a:pt x="53" y="40"/>
                  </a:cubicBezTo>
                  <a:cubicBezTo>
                    <a:pt x="53" y="39"/>
                    <a:pt x="53" y="39"/>
                    <a:pt x="54" y="38"/>
                  </a:cubicBezTo>
                  <a:cubicBezTo>
                    <a:pt x="55" y="38"/>
                    <a:pt x="56" y="38"/>
                    <a:pt x="55" y="37"/>
                  </a:cubicBezTo>
                  <a:cubicBezTo>
                    <a:pt x="55" y="36"/>
                    <a:pt x="53" y="36"/>
                    <a:pt x="54" y="33"/>
                  </a:cubicBezTo>
                  <a:cubicBezTo>
                    <a:pt x="55" y="30"/>
                    <a:pt x="56" y="29"/>
                    <a:pt x="56" y="28"/>
                  </a:cubicBezTo>
                  <a:cubicBezTo>
                    <a:pt x="56" y="26"/>
                    <a:pt x="56" y="24"/>
                    <a:pt x="56" y="23"/>
                  </a:cubicBezTo>
                  <a:cubicBezTo>
                    <a:pt x="56" y="22"/>
                    <a:pt x="57" y="20"/>
                    <a:pt x="58" y="20"/>
                  </a:cubicBezTo>
                  <a:cubicBezTo>
                    <a:pt x="58" y="21"/>
                    <a:pt x="59" y="21"/>
                    <a:pt x="59" y="20"/>
                  </a:cubicBezTo>
                  <a:cubicBezTo>
                    <a:pt x="59" y="19"/>
                    <a:pt x="60" y="18"/>
                    <a:pt x="61" y="15"/>
                  </a:cubicBezTo>
                  <a:cubicBezTo>
                    <a:pt x="62" y="13"/>
                    <a:pt x="61" y="10"/>
                    <a:pt x="60" y="8"/>
                  </a:cubicBezTo>
                  <a:cubicBezTo>
                    <a:pt x="59" y="7"/>
                    <a:pt x="59" y="5"/>
                    <a:pt x="59" y="4"/>
                  </a:cubicBezTo>
                  <a:cubicBezTo>
                    <a:pt x="58" y="2"/>
                    <a:pt x="58" y="1"/>
                    <a:pt x="57" y="1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78" name="Freeform 388">
              <a:extLst>
                <a:ext uri="{FF2B5EF4-FFF2-40B4-BE49-F238E27FC236}">
                  <a16:creationId xmlns:a16="http://schemas.microsoft.com/office/drawing/2014/main" id="{502501A2-CFD9-2044-C4EF-7006774E7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4843" y="3601258"/>
              <a:ext cx="7265" cy="6054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1 w 2"/>
                <a:gd name="T5" fmla="*/ 2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79" name="Freeform 389">
              <a:extLst>
                <a:ext uri="{FF2B5EF4-FFF2-40B4-BE49-F238E27FC236}">
                  <a16:creationId xmlns:a16="http://schemas.microsoft.com/office/drawing/2014/main" id="{A0DEDF41-3CBB-F3D8-AC66-E14513F2F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0042" y="3603679"/>
              <a:ext cx="44802" cy="32693"/>
            </a:xfrm>
            <a:custGeom>
              <a:avLst/>
              <a:gdLst>
                <a:gd name="T0" fmla="*/ 12 w 14"/>
                <a:gd name="T1" fmla="*/ 1 h 10"/>
                <a:gd name="T2" fmla="*/ 11 w 14"/>
                <a:gd name="T3" fmla="*/ 0 h 10"/>
                <a:gd name="T4" fmla="*/ 8 w 14"/>
                <a:gd name="T5" fmla="*/ 1 h 10"/>
                <a:gd name="T6" fmla="*/ 6 w 14"/>
                <a:gd name="T7" fmla="*/ 3 h 10"/>
                <a:gd name="T8" fmla="*/ 5 w 14"/>
                <a:gd name="T9" fmla="*/ 2 h 10"/>
                <a:gd name="T10" fmla="*/ 2 w 14"/>
                <a:gd name="T11" fmla="*/ 5 h 10"/>
                <a:gd name="T12" fmla="*/ 1 w 14"/>
                <a:gd name="T13" fmla="*/ 6 h 10"/>
                <a:gd name="T14" fmla="*/ 2 w 14"/>
                <a:gd name="T15" fmla="*/ 8 h 10"/>
                <a:gd name="T16" fmla="*/ 4 w 14"/>
                <a:gd name="T17" fmla="*/ 9 h 10"/>
                <a:gd name="T18" fmla="*/ 7 w 14"/>
                <a:gd name="T19" fmla="*/ 6 h 10"/>
                <a:gd name="T20" fmla="*/ 10 w 14"/>
                <a:gd name="T21" fmla="*/ 6 h 10"/>
                <a:gd name="T22" fmla="*/ 12 w 14"/>
                <a:gd name="T23" fmla="*/ 6 h 10"/>
                <a:gd name="T24" fmla="*/ 14 w 14"/>
                <a:gd name="T25" fmla="*/ 3 h 10"/>
                <a:gd name="T26" fmla="*/ 12 w 14"/>
                <a:gd name="T2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10">
                  <a:moveTo>
                    <a:pt x="12" y="1"/>
                  </a:moveTo>
                  <a:cubicBezTo>
                    <a:pt x="12" y="1"/>
                    <a:pt x="11" y="1"/>
                    <a:pt x="11" y="0"/>
                  </a:cubicBezTo>
                  <a:cubicBezTo>
                    <a:pt x="10" y="0"/>
                    <a:pt x="9" y="0"/>
                    <a:pt x="8" y="1"/>
                  </a:cubicBezTo>
                  <a:cubicBezTo>
                    <a:pt x="7" y="1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4" y="2"/>
                    <a:pt x="3" y="5"/>
                    <a:pt x="2" y="5"/>
                  </a:cubicBezTo>
                  <a:cubicBezTo>
                    <a:pt x="1" y="5"/>
                    <a:pt x="0" y="5"/>
                    <a:pt x="1" y="6"/>
                  </a:cubicBezTo>
                  <a:cubicBezTo>
                    <a:pt x="1" y="6"/>
                    <a:pt x="2" y="7"/>
                    <a:pt x="2" y="8"/>
                  </a:cubicBezTo>
                  <a:cubicBezTo>
                    <a:pt x="3" y="9"/>
                    <a:pt x="3" y="10"/>
                    <a:pt x="4" y="9"/>
                  </a:cubicBezTo>
                  <a:cubicBezTo>
                    <a:pt x="4" y="9"/>
                    <a:pt x="6" y="6"/>
                    <a:pt x="7" y="6"/>
                  </a:cubicBezTo>
                  <a:cubicBezTo>
                    <a:pt x="8" y="5"/>
                    <a:pt x="10" y="6"/>
                    <a:pt x="10" y="6"/>
                  </a:cubicBezTo>
                  <a:cubicBezTo>
                    <a:pt x="10" y="6"/>
                    <a:pt x="11" y="6"/>
                    <a:pt x="12" y="6"/>
                  </a:cubicBezTo>
                  <a:cubicBezTo>
                    <a:pt x="12" y="5"/>
                    <a:pt x="13" y="4"/>
                    <a:pt x="14" y="3"/>
                  </a:cubicBezTo>
                  <a:cubicBezTo>
                    <a:pt x="14" y="3"/>
                    <a:pt x="13" y="2"/>
                    <a:pt x="12" y="1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80" name="Freeform 390">
              <a:extLst>
                <a:ext uri="{FF2B5EF4-FFF2-40B4-BE49-F238E27FC236}">
                  <a16:creationId xmlns:a16="http://schemas.microsoft.com/office/drawing/2014/main" id="{00090BFA-4391-EE32-4BB9-283AAF3D2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240" y="3613366"/>
              <a:ext cx="38747" cy="58121"/>
            </a:xfrm>
            <a:custGeom>
              <a:avLst/>
              <a:gdLst>
                <a:gd name="T0" fmla="*/ 8 w 12"/>
                <a:gd name="T1" fmla="*/ 0 h 18"/>
                <a:gd name="T2" fmla="*/ 6 w 12"/>
                <a:gd name="T3" fmla="*/ 0 h 18"/>
                <a:gd name="T4" fmla="*/ 4 w 12"/>
                <a:gd name="T5" fmla="*/ 1 h 18"/>
                <a:gd name="T6" fmla="*/ 2 w 12"/>
                <a:gd name="T7" fmla="*/ 3 h 18"/>
                <a:gd name="T8" fmla="*/ 1 w 12"/>
                <a:gd name="T9" fmla="*/ 3 h 18"/>
                <a:gd name="T10" fmla="*/ 0 w 12"/>
                <a:gd name="T11" fmla="*/ 4 h 18"/>
                <a:gd name="T12" fmla="*/ 0 w 12"/>
                <a:gd name="T13" fmla="*/ 6 h 18"/>
                <a:gd name="T14" fmla="*/ 1 w 12"/>
                <a:gd name="T15" fmla="*/ 7 h 18"/>
                <a:gd name="T16" fmla="*/ 2 w 12"/>
                <a:gd name="T17" fmla="*/ 6 h 18"/>
                <a:gd name="T18" fmla="*/ 3 w 12"/>
                <a:gd name="T19" fmla="*/ 7 h 18"/>
                <a:gd name="T20" fmla="*/ 3 w 12"/>
                <a:gd name="T21" fmla="*/ 5 h 18"/>
                <a:gd name="T22" fmla="*/ 4 w 12"/>
                <a:gd name="T23" fmla="*/ 6 h 18"/>
                <a:gd name="T24" fmla="*/ 4 w 12"/>
                <a:gd name="T25" fmla="*/ 8 h 18"/>
                <a:gd name="T26" fmla="*/ 3 w 12"/>
                <a:gd name="T27" fmla="*/ 12 h 18"/>
                <a:gd name="T28" fmla="*/ 4 w 12"/>
                <a:gd name="T29" fmla="*/ 13 h 18"/>
                <a:gd name="T30" fmla="*/ 3 w 12"/>
                <a:gd name="T31" fmla="*/ 16 h 18"/>
                <a:gd name="T32" fmla="*/ 4 w 12"/>
                <a:gd name="T33" fmla="*/ 16 h 18"/>
                <a:gd name="T34" fmla="*/ 5 w 12"/>
                <a:gd name="T35" fmla="*/ 13 h 18"/>
                <a:gd name="T36" fmla="*/ 5 w 12"/>
                <a:gd name="T37" fmla="*/ 14 h 18"/>
                <a:gd name="T38" fmla="*/ 5 w 12"/>
                <a:gd name="T39" fmla="*/ 15 h 18"/>
                <a:gd name="T40" fmla="*/ 6 w 12"/>
                <a:gd name="T41" fmla="*/ 17 h 18"/>
                <a:gd name="T42" fmla="*/ 7 w 12"/>
                <a:gd name="T43" fmla="*/ 17 h 18"/>
                <a:gd name="T44" fmla="*/ 8 w 12"/>
                <a:gd name="T45" fmla="*/ 15 h 18"/>
                <a:gd name="T46" fmla="*/ 10 w 12"/>
                <a:gd name="T47" fmla="*/ 12 h 18"/>
                <a:gd name="T48" fmla="*/ 12 w 12"/>
                <a:gd name="T49" fmla="*/ 7 h 18"/>
                <a:gd name="T50" fmla="*/ 11 w 12"/>
                <a:gd name="T51" fmla="*/ 4 h 18"/>
                <a:gd name="T52" fmla="*/ 11 w 12"/>
                <a:gd name="T53" fmla="*/ 2 h 18"/>
                <a:gd name="T54" fmla="*/ 8 w 12"/>
                <a:gd name="T55" fmla="*/ 2 h 18"/>
                <a:gd name="T56" fmla="*/ 8 w 12"/>
                <a:gd name="T5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" h="18">
                  <a:moveTo>
                    <a:pt x="8" y="0"/>
                  </a:moveTo>
                  <a:cubicBezTo>
                    <a:pt x="7" y="0"/>
                    <a:pt x="7" y="0"/>
                    <a:pt x="6" y="0"/>
                  </a:cubicBezTo>
                  <a:cubicBezTo>
                    <a:pt x="5" y="0"/>
                    <a:pt x="5" y="1"/>
                    <a:pt x="4" y="1"/>
                  </a:cubicBezTo>
                  <a:cubicBezTo>
                    <a:pt x="4" y="2"/>
                    <a:pt x="2" y="2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4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8"/>
                    <a:pt x="1" y="7"/>
                  </a:cubicBezTo>
                  <a:cubicBezTo>
                    <a:pt x="1" y="7"/>
                    <a:pt x="1" y="6"/>
                    <a:pt x="2" y="6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3" y="6"/>
                    <a:pt x="2" y="5"/>
                    <a:pt x="3" y="5"/>
                  </a:cubicBezTo>
                  <a:cubicBezTo>
                    <a:pt x="3" y="5"/>
                    <a:pt x="4" y="5"/>
                    <a:pt x="4" y="6"/>
                  </a:cubicBezTo>
                  <a:cubicBezTo>
                    <a:pt x="4" y="7"/>
                    <a:pt x="5" y="7"/>
                    <a:pt x="4" y="8"/>
                  </a:cubicBezTo>
                  <a:cubicBezTo>
                    <a:pt x="4" y="9"/>
                    <a:pt x="3" y="11"/>
                    <a:pt x="3" y="12"/>
                  </a:cubicBezTo>
                  <a:cubicBezTo>
                    <a:pt x="2" y="12"/>
                    <a:pt x="4" y="12"/>
                    <a:pt x="4" y="13"/>
                  </a:cubicBezTo>
                  <a:cubicBezTo>
                    <a:pt x="4" y="14"/>
                    <a:pt x="3" y="16"/>
                    <a:pt x="3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5"/>
                    <a:pt x="5" y="13"/>
                    <a:pt x="5" y="13"/>
                  </a:cubicBezTo>
                  <a:cubicBezTo>
                    <a:pt x="6" y="13"/>
                    <a:pt x="6" y="14"/>
                    <a:pt x="5" y="14"/>
                  </a:cubicBezTo>
                  <a:cubicBezTo>
                    <a:pt x="5" y="15"/>
                    <a:pt x="5" y="14"/>
                    <a:pt x="5" y="15"/>
                  </a:cubicBezTo>
                  <a:cubicBezTo>
                    <a:pt x="6" y="16"/>
                    <a:pt x="6" y="17"/>
                    <a:pt x="6" y="17"/>
                  </a:cubicBezTo>
                  <a:cubicBezTo>
                    <a:pt x="6" y="18"/>
                    <a:pt x="7" y="18"/>
                    <a:pt x="7" y="17"/>
                  </a:cubicBezTo>
                  <a:cubicBezTo>
                    <a:pt x="7" y="16"/>
                    <a:pt x="7" y="15"/>
                    <a:pt x="8" y="15"/>
                  </a:cubicBezTo>
                  <a:cubicBezTo>
                    <a:pt x="9" y="15"/>
                    <a:pt x="10" y="13"/>
                    <a:pt x="10" y="12"/>
                  </a:cubicBezTo>
                  <a:cubicBezTo>
                    <a:pt x="10" y="11"/>
                    <a:pt x="11" y="8"/>
                    <a:pt x="12" y="7"/>
                  </a:cubicBezTo>
                  <a:cubicBezTo>
                    <a:pt x="12" y="6"/>
                    <a:pt x="12" y="4"/>
                    <a:pt x="11" y="4"/>
                  </a:cubicBezTo>
                  <a:cubicBezTo>
                    <a:pt x="11" y="3"/>
                    <a:pt x="11" y="3"/>
                    <a:pt x="11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8" y="1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81" name="Freeform 391">
              <a:extLst>
                <a:ext uri="{FF2B5EF4-FFF2-40B4-BE49-F238E27FC236}">
                  <a16:creationId xmlns:a16="http://schemas.microsoft.com/office/drawing/2014/main" id="{1F948350-5505-3699-492E-32CE90A8C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493" y="3752613"/>
              <a:ext cx="12109" cy="16952"/>
            </a:xfrm>
            <a:custGeom>
              <a:avLst/>
              <a:gdLst>
                <a:gd name="T0" fmla="*/ 4 w 4"/>
                <a:gd name="T1" fmla="*/ 0 h 5"/>
                <a:gd name="T2" fmla="*/ 2 w 4"/>
                <a:gd name="T3" fmla="*/ 1 h 5"/>
                <a:gd name="T4" fmla="*/ 1 w 4"/>
                <a:gd name="T5" fmla="*/ 4 h 5"/>
                <a:gd name="T6" fmla="*/ 3 w 4"/>
                <a:gd name="T7" fmla="*/ 2 h 5"/>
                <a:gd name="T8" fmla="*/ 4 w 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cubicBezTo>
                    <a:pt x="3" y="0"/>
                    <a:pt x="2" y="0"/>
                    <a:pt x="2" y="1"/>
                  </a:cubicBezTo>
                  <a:cubicBezTo>
                    <a:pt x="1" y="2"/>
                    <a:pt x="0" y="5"/>
                    <a:pt x="1" y="4"/>
                  </a:cubicBezTo>
                  <a:cubicBezTo>
                    <a:pt x="1" y="3"/>
                    <a:pt x="2" y="3"/>
                    <a:pt x="3" y="2"/>
                  </a:cubicBezTo>
                  <a:cubicBezTo>
                    <a:pt x="4" y="1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82" name="Freeform 392">
              <a:extLst>
                <a:ext uri="{FF2B5EF4-FFF2-40B4-BE49-F238E27FC236}">
                  <a16:creationId xmlns:a16="http://schemas.microsoft.com/office/drawing/2014/main" id="{1146E5E3-A0CE-B585-2A14-5C22C2AE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7975" y="3721131"/>
              <a:ext cx="7265" cy="6054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83" name="Freeform 393">
              <a:extLst>
                <a:ext uri="{FF2B5EF4-FFF2-40B4-BE49-F238E27FC236}">
                  <a16:creationId xmlns:a16="http://schemas.microsoft.com/office/drawing/2014/main" id="{CCFEB367-C131-5D98-A094-6AEBABAC8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1106" y="3794993"/>
              <a:ext cx="6054" cy="6054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2 h 2"/>
                <a:gd name="T4" fmla="*/ 1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0"/>
                    <a:pt x="0" y="2"/>
                    <a:pt x="1" y="2"/>
                  </a:cubicBezTo>
                  <a:cubicBezTo>
                    <a:pt x="2" y="2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84" name="Freeform 394">
              <a:extLst>
                <a:ext uri="{FF2B5EF4-FFF2-40B4-BE49-F238E27FC236}">
                  <a16:creationId xmlns:a16="http://schemas.microsoft.com/office/drawing/2014/main" id="{60BF158F-FCE0-5968-DB10-C25EA7910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244" y="3785306"/>
              <a:ext cx="35115" cy="61753"/>
            </a:xfrm>
            <a:custGeom>
              <a:avLst/>
              <a:gdLst>
                <a:gd name="T0" fmla="*/ 10 w 11"/>
                <a:gd name="T1" fmla="*/ 0 h 19"/>
                <a:gd name="T2" fmla="*/ 5 w 11"/>
                <a:gd name="T3" fmla="*/ 3 h 19"/>
                <a:gd name="T4" fmla="*/ 2 w 11"/>
                <a:gd name="T5" fmla="*/ 13 h 19"/>
                <a:gd name="T6" fmla="*/ 5 w 11"/>
                <a:gd name="T7" fmla="*/ 18 h 19"/>
                <a:gd name="T8" fmla="*/ 9 w 11"/>
                <a:gd name="T9" fmla="*/ 11 h 19"/>
                <a:gd name="T10" fmla="*/ 11 w 11"/>
                <a:gd name="T11" fmla="*/ 4 h 19"/>
                <a:gd name="T12" fmla="*/ 10 w 11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9">
                  <a:moveTo>
                    <a:pt x="10" y="0"/>
                  </a:moveTo>
                  <a:cubicBezTo>
                    <a:pt x="9" y="0"/>
                    <a:pt x="6" y="2"/>
                    <a:pt x="5" y="3"/>
                  </a:cubicBezTo>
                  <a:cubicBezTo>
                    <a:pt x="3" y="5"/>
                    <a:pt x="0" y="10"/>
                    <a:pt x="2" y="13"/>
                  </a:cubicBezTo>
                  <a:cubicBezTo>
                    <a:pt x="3" y="15"/>
                    <a:pt x="5" y="19"/>
                    <a:pt x="5" y="18"/>
                  </a:cubicBezTo>
                  <a:cubicBezTo>
                    <a:pt x="5" y="18"/>
                    <a:pt x="8" y="12"/>
                    <a:pt x="9" y="11"/>
                  </a:cubicBezTo>
                  <a:cubicBezTo>
                    <a:pt x="9" y="9"/>
                    <a:pt x="10" y="5"/>
                    <a:pt x="11" y="4"/>
                  </a:cubicBezTo>
                  <a:cubicBezTo>
                    <a:pt x="11" y="3"/>
                    <a:pt x="11" y="0"/>
                    <a:pt x="10" y="0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85" name="Freeform 395">
              <a:extLst>
                <a:ext uri="{FF2B5EF4-FFF2-40B4-BE49-F238E27FC236}">
                  <a16:creationId xmlns:a16="http://schemas.microsoft.com/office/drawing/2014/main" id="{BDB57CE8-6235-FE32-775C-80AD4EBC0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820" y="3879752"/>
              <a:ext cx="48434" cy="38747"/>
            </a:xfrm>
            <a:custGeom>
              <a:avLst/>
              <a:gdLst>
                <a:gd name="T0" fmla="*/ 14 w 15"/>
                <a:gd name="T1" fmla="*/ 2 h 12"/>
                <a:gd name="T2" fmla="*/ 6 w 15"/>
                <a:gd name="T3" fmla="*/ 2 h 12"/>
                <a:gd name="T4" fmla="*/ 1 w 15"/>
                <a:gd name="T5" fmla="*/ 7 h 12"/>
                <a:gd name="T6" fmla="*/ 7 w 15"/>
                <a:gd name="T7" fmla="*/ 11 h 12"/>
                <a:gd name="T8" fmla="*/ 11 w 15"/>
                <a:gd name="T9" fmla="*/ 7 h 12"/>
                <a:gd name="T10" fmla="*/ 14 w 15"/>
                <a:gd name="T11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2">
                  <a:moveTo>
                    <a:pt x="14" y="2"/>
                  </a:moveTo>
                  <a:cubicBezTo>
                    <a:pt x="12" y="2"/>
                    <a:pt x="8" y="0"/>
                    <a:pt x="6" y="2"/>
                  </a:cubicBezTo>
                  <a:cubicBezTo>
                    <a:pt x="3" y="4"/>
                    <a:pt x="0" y="6"/>
                    <a:pt x="1" y="7"/>
                  </a:cubicBezTo>
                  <a:cubicBezTo>
                    <a:pt x="1" y="9"/>
                    <a:pt x="3" y="12"/>
                    <a:pt x="7" y="11"/>
                  </a:cubicBezTo>
                  <a:cubicBezTo>
                    <a:pt x="10" y="10"/>
                    <a:pt x="11" y="9"/>
                    <a:pt x="11" y="7"/>
                  </a:cubicBezTo>
                  <a:cubicBezTo>
                    <a:pt x="12" y="5"/>
                    <a:pt x="15" y="2"/>
                    <a:pt x="14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86" name="Freeform 396">
              <a:extLst>
                <a:ext uri="{FF2B5EF4-FFF2-40B4-BE49-F238E27FC236}">
                  <a16:creationId xmlns:a16="http://schemas.microsoft.com/office/drawing/2014/main" id="{499E5BE8-E767-F409-2112-78544A0F0C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244" y="3911234"/>
              <a:ext cx="64175" cy="98079"/>
            </a:xfrm>
            <a:custGeom>
              <a:avLst/>
              <a:gdLst>
                <a:gd name="T0" fmla="*/ 13 w 20"/>
                <a:gd name="T1" fmla="*/ 1 h 30"/>
                <a:gd name="T2" fmla="*/ 10 w 20"/>
                <a:gd name="T3" fmla="*/ 2 h 30"/>
                <a:gd name="T4" fmla="*/ 8 w 20"/>
                <a:gd name="T5" fmla="*/ 0 h 30"/>
                <a:gd name="T6" fmla="*/ 4 w 20"/>
                <a:gd name="T7" fmla="*/ 2 h 30"/>
                <a:gd name="T8" fmla="*/ 3 w 20"/>
                <a:gd name="T9" fmla="*/ 8 h 30"/>
                <a:gd name="T10" fmla="*/ 3 w 20"/>
                <a:gd name="T11" fmla="*/ 13 h 30"/>
                <a:gd name="T12" fmla="*/ 1 w 20"/>
                <a:gd name="T13" fmla="*/ 14 h 30"/>
                <a:gd name="T14" fmla="*/ 0 w 20"/>
                <a:gd name="T15" fmla="*/ 14 h 30"/>
                <a:gd name="T16" fmla="*/ 2 w 20"/>
                <a:gd name="T17" fmla="*/ 20 h 30"/>
                <a:gd name="T18" fmla="*/ 3 w 20"/>
                <a:gd name="T19" fmla="*/ 23 h 30"/>
                <a:gd name="T20" fmla="*/ 5 w 20"/>
                <a:gd name="T21" fmla="*/ 21 h 30"/>
                <a:gd name="T22" fmla="*/ 6 w 20"/>
                <a:gd name="T23" fmla="*/ 23 h 30"/>
                <a:gd name="T24" fmla="*/ 4 w 20"/>
                <a:gd name="T25" fmla="*/ 24 h 30"/>
                <a:gd name="T26" fmla="*/ 7 w 20"/>
                <a:gd name="T27" fmla="*/ 28 h 30"/>
                <a:gd name="T28" fmla="*/ 10 w 20"/>
                <a:gd name="T29" fmla="*/ 26 h 30"/>
                <a:gd name="T30" fmla="*/ 14 w 20"/>
                <a:gd name="T31" fmla="*/ 28 h 30"/>
                <a:gd name="T32" fmla="*/ 16 w 20"/>
                <a:gd name="T33" fmla="*/ 29 h 30"/>
                <a:gd name="T34" fmla="*/ 15 w 20"/>
                <a:gd name="T35" fmla="*/ 27 h 30"/>
                <a:gd name="T36" fmla="*/ 17 w 20"/>
                <a:gd name="T37" fmla="*/ 28 h 30"/>
                <a:gd name="T38" fmla="*/ 18 w 20"/>
                <a:gd name="T39" fmla="*/ 26 h 30"/>
                <a:gd name="T40" fmla="*/ 14 w 20"/>
                <a:gd name="T41" fmla="*/ 24 h 30"/>
                <a:gd name="T42" fmla="*/ 10 w 20"/>
                <a:gd name="T43" fmla="*/ 23 h 30"/>
                <a:gd name="T44" fmla="*/ 9 w 20"/>
                <a:gd name="T45" fmla="*/ 18 h 30"/>
                <a:gd name="T46" fmla="*/ 10 w 20"/>
                <a:gd name="T47" fmla="*/ 15 h 30"/>
                <a:gd name="T48" fmla="*/ 13 w 20"/>
                <a:gd name="T49" fmla="*/ 13 h 30"/>
                <a:gd name="T50" fmla="*/ 14 w 20"/>
                <a:gd name="T51" fmla="*/ 8 h 30"/>
                <a:gd name="T52" fmla="*/ 13 w 20"/>
                <a:gd name="T53" fmla="*/ 4 h 30"/>
                <a:gd name="T54" fmla="*/ 13 w 20"/>
                <a:gd name="T55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" h="30">
                  <a:moveTo>
                    <a:pt x="13" y="1"/>
                  </a:moveTo>
                  <a:cubicBezTo>
                    <a:pt x="12" y="0"/>
                    <a:pt x="11" y="3"/>
                    <a:pt x="10" y="2"/>
                  </a:cubicBezTo>
                  <a:cubicBezTo>
                    <a:pt x="10" y="1"/>
                    <a:pt x="10" y="0"/>
                    <a:pt x="8" y="0"/>
                  </a:cubicBezTo>
                  <a:cubicBezTo>
                    <a:pt x="7" y="0"/>
                    <a:pt x="4" y="0"/>
                    <a:pt x="4" y="2"/>
                  </a:cubicBezTo>
                  <a:cubicBezTo>
                    <a:pt x="3" y="3"/>
                    <a:pt x="4" y="6"/>
                    <a:pt x="3" y="8"/>
                  </a:cubicBezTo>
                  <a:cubicBezTo>
                    <a:pt x="3" y="10"/>
                    <a:pt x="2" y="12"/>
                    <a:pt x="3" y="13"/>
                  </a:cubicBezTo>
                  <a:cubicBezTo>
                    <a:pt x="3" y="13"/>
                    <a:pt x="3" y="14"/>
                    <a:pt x="1" y="14"/>
                  </a:cubicBezTo>
                  <a:cubicBezTo>
                    <a:pt x="0" y="14"/>
                    <a:pt x="0" y="12"/>
                    <a:pt x="0" y="14"/>
                  </a:cubicBezTo>
                  <a:cubicBezTo>
                    <a:pt x="0" y="15"/>
                    <a:pt x="1" y="19"/>
                    <a:pt x="2" y="20"/>
                  </a:cubicBezTo>
                  <a:cubicBezTo>
                    <a:pt x="2" y="22"/>
                    <a:pt x="2" y="24"/>
                    <a:pt x="3" y="23"/>
                  </a:cubicBezTo>
                  <a:cubicBezTo>
                    <a:pt x="3" y="22"/>
                    <a:pt x="4" y="20"/>
                    <a:pt x="5" y="21"/>
                  </a:cubicBezTo>
                  <a:cubicBezTo>
                    <a:pt x="6" y="21"/>
                    <a:pt x="8" y="23"/>
                    <a:pt x="6" y="23"/>
                  </a:cubicBezTo>
                  <a:cubicBezTo>
                    <a:pt x="5" y="23"/>
                    <a:pt x="4" y="23"/>
                    <a:pt x="4" y="24"/>
                  </a:cubicBezTo>
                  <a:cubicBezTo>
                    <a:pt x="4" y="25"/>
                    <a:pt x="6" y="28"/>
                    <a:pt x="7" y="28"/>
                  </a:cubicBezTo>
                  <a:cubicBezTo>
                    <a:pt x="9" y="28"/>
                    <a:pt x="10" y="26"/>
                    <a:pt x="10" y="26"/>
                  </a:cubicBezTo>
                  <a:cubicBezTo>
                    <a:pt x="11" y="26"/>
                    <a:pt x="12" y="27"/>
                    <a:pt x="14" y="28"/>
                  </a:cubicBezTo>
                  <a:cubicBezTo>
                    <a:pt x="15" y="29"/>
                    <a:pt x="17" y="30"/>
                    <a:pt x="16" y="29"/>
                  </a:cubicBezTo>
                  <a:cubicBezTo>
                    <a:pt x="15" y="27"/>
                    <a:pt x="13" y="26"/>
                    <a:pt x="15" y="27"/>
                  </a:cubicBezTo>
                  <a:cubicBezTo>
                    <a:pt x="16" y="27"/>
                    <a:pt x="16" y="29"/>
                    <a:pt x="17" y="28"/>
                  </a:cubicBezTo>
                  <a:cubicBezTo>
                    <a:pt x="18" y="28"/>
                    <a:pt x="20" y="28"/>
                    <a:pt x="18" y="26"/>
                  </a:cubicBezTo>
                  <a:cubicBezTo>
                    <a:pt x="16" y="23"/>
                    <a:pt x="15" y="24"/>
                    <a:pt x="14" y="24"/>
                  </a:cubicBezTo>
                  <a:cubicBezTo>
                    <a:pt x="13" y="24"/>
                    <a:pt x="11" y="26"/>
                    <a:pt x="10" y="23"/>
                  </a:cubicBezTo>
                  <a:cubicBezTo>
                    <a:pt x="9" y="21"/>
                    <a:pt x="9" y="20"/>
                    <a:pt x="9" y="18"/>
                  </a:cubicBezTo>
                  <a:cubicBezTo>
                    <a:pt x="9" y="17"/>
                    <a:pt x="9" y="16"/>
                    <a:pt x="10" y="15"/>
                  </a:cubicBezTo>
                  <a:cubicBezTo>
                    <a:pt x="11" y="14"/>
                    <a:pt x="12" y="14"/>
                    <a:pt x="13" y="13"/>
                  </a:cubicBezTo>
                  <a:cubicBezTo>
                    <a:pt x="13" y="12"/>
                    <a:pt x="15" y="9"/>
                    <a:pt x="14" y="8"/>
                  </a:cubicBezTo>
                  <a:cubicBezTo>
                    <a:pt x="14" y="7"/>
                    <a:pt x="13" y="5"/>
                    <a:pt x="13" y="4"/>
                  </a:cubicBezTo>
                  <a:cubicBezTo>
                    <a:pt x="13" y="3"/>
                    <a:pt x="14" y="1"/>
                    <a:pt x="13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87" name="Freeform 397">
              <a:extLst>
                <a:ext uri="{FF2B5EF4-FFF2-40B4-BE49-F238E27FC236}">
                  <a16:creationId xmlns:a16="http://schemas.microsoft.com/office/drawing/2014/main" id="{6AB8C6E6-7496-7790-BA52-9EAB1F81E2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5365" y="3995994"/>
              <a:ext cx="19374" cy="25428"/>
            </a:xfrm>
            <a:custGeom>
              <a:avLst/>
              <a:gdLst>
                <a:gd name="T0" fmla="*/ 4 w 6"/>
                <a:gd name="T1" fmla="*/ 0 h 8"/>
                <a:gd name="T2" fmla="*/ 2 w 6"/>
                <a:gd name="T3" fmla="*/ 1 h 8"/>
                <a:gd name="T4" fmla="*/ 0 w 6"/>
                <a:gd name="T5" fmla="*/ 2 h 8"/>
                <a:gd name="T6" fmla="*/ 1 w 6"/>
                <a:gd name="T7" fmla="*/ 3 h 8"/>
                <a:gd name="T8" fmla="*/ 1 w 6"/>
                <a:gd name="T9" fmla="*/ 5 h 8"/>
                <a:gd name="T10" fmla="*/ 3 w 6"/>
                <a:gd name="T11" fmla="*/ 6 h 8"/>
                <a:gd name="T12" fmla="*/ 5 w 6"/>
                <a:gd name="T13" fmla="*/ 7 h 8"/>
                <a:gd name="T14" fmla="*/ 6 w 6"/>
                <a:gd name="T15" fmla="*/ 7 h 8"/>
                <a:gd name="T16" fmla="*/ 5 w 6"/>
                <a:gd name="T17" fmla="*/ 4 h 8"/>
                <a:gd name="T18" fmla="*/ 4 w 6"/>
                <a:gd name="T19" fmla="*/ 4 h 8"/>
                <a:gd name="T20" fmla="*/ 3 w 6"/>
                <a:gd name="T21" fmla="*/ 1 h 8"/>
                <a:gd name="T22" fmla="*/ 4 w 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8">
                  <a:moveTo>
                    <a:pt x="4" y="0"/>
                  </a:moveTo>
                  <a:cubicBezTo>
                    <a:pt x="3" y="1"/>
                    <a:pt x="2" y="0"/>
                    <a:pt x="2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6"/>
                    <a:pt x="4" y="7"/>
                    <a:pt x="5" y="7"/>
                  </a:cubicBezTo>
                  <a:cubicBezTo>
                    <a:pt x="6" y="8"/>
                    <a:pt x="6" y="7"/>
                    <a:pt x="6" y="7"/>
                  </a:cubicBezTo>
                  <a:cubicBezTo>
                    <a:pt x="6" y="7"/>
                    <a:pt x="6" y="5"/>
                    <a:pt x="5" y="4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3" y="3"/>
                    <a:pt x="3" y="2"/>
                    <a:pt x="3" y="1"/>
                  </a:cubicBezTo>
                  <a:cubicBezTo>
                    <a:pt x="4" y="0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88" name="Freeform 398">
              <a:extLst>
                <a:ext uri="{FF2B5EF4-FFF2-40B4-BE49-F238E27FC236}">
                  <a16:creationId xmlns:a16="http://schemas.microsoft.com/office/drawing/2014/main" id="{AA1B4F8B-AA37-47AB-7EDB-7E0E56FCB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161" y="4019000"/>
              <a:ext cx="30271" cy="44801"/>
            </a:xfrm>
            <a:custGeom>
              <a:avLst/>
              <a:gdLst>
                <a:gd name="T0" fmla="*/ 2 w 9"/>
                <a:gd name="T1" fmla="*/ 0 h 14"/>
                <a:gd name="T2" fmla="*/ 1 w 9"/>
                <a:gd name="T3" fmla="*/ 1 h 14"/>
                <a:gd name="T4" fmla="*/ 0 w 9"/>
                <a:gd name="T5" fmla="*/ 2 h 14"/>
                <a:gd name="T6" fmla="*/ 1 w 9"/>
                <a:gd name="T7" fmla="*/ 4 h 14"/>
                <a:gd name="T8" fmla="*/ 2 w 9"/>
                <a:gd name="T9" fmla="*/ 6 h 14"/>
                <a:gd name="T10" fmla="*/ 0 w 9"/>
                <a:gd name="T11" fmla="*/ 7 h 14"/>
                <a:gd name="T12" fmla="*/ 0 w 9"/>
                <a:gd name="T13" fmla="*/ 10 h 14"/>
                <a:gd name="T14" fmla="*/ 2 w 9"/>
                <a:gd name="T15" fmla="*/ 11 h 14"/>
                <a:gd name="T16" fmla="*/ 2 w 9"/>
                <a:gd name="T17" fmla="*/ 14 h 14"/>
                <a:gd name="T18" fmla="*/ 4 w 9"/>
                <a:gd name="T19" fmla="*/ 14 h 14"/>
                <a:gd name="T20" fmla="*/ 3 w 9"/>
                <a:gd name="T21" fmla="*/ 11 h 14"/>
                <a:gd name="T22" fmla="*/ 3 w 9"/>
                <a:gd name="T23" fmla="*/ 8 h 14"/>
                <a:gd name="T24" fmla="*/ 6 w 9"/>
                <a:gd name="T25" fmla="*/ 9 h 14"/>
                <a:gd name="T26" fmla="*/ 7 w 9"/>
                <a:gd name="T27" fmla="*/ 8 h 14"/>
                <a:gd name="T28" fmla="*/ 6 w 9"/>
                <a:gd name="T29" fmla="*/ 6 h 14"/>
                <a:gd name="T30" fmla="*/ 7 w 9"/>
                <a:gd name="T31" fmla="*/ 5 h 14"/>
                <a:gd name="T32" fmla="*/ 5 w 9"/>
                <a:gd name="T33" fmla="*/ 2 h 14"/>
                <a:gd name="T34" fmla="*/ 5 w 9"/>
                <a:gd name="T35" fmla="*/ 0 h 14"/>
                <a:gd name="T36" fmla="*/ 2 w 9"/>
                <a:gd name="T3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" h="14">
                  <a:moveTo>
                    <a:pt x="2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1" y="2"/>
                    <a:pt x="0" y="1"/>
                    <a:pt x="0" y="2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2" y="4"/>
                    <a:pt x="3" y="6"/>
                    <a:pt x="2" y="6"/>
                  </a:cubicBezTo>
                  <a:cubicBezTo>
                    <a:pt x="1" y="6"/>
                    <a:pt x="1" y="6"/>
                    <a:pt x="0" y="7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1" y="10"/>
                    <a:pt x="2" y="9"/>
                    <a:pt x="2" y="11"/>
                  </a:cubicBezTo>
                  <a:cubicBezTo>
                    <a:pt x="2" y="12"/>
                    <a:pt x="2" y="14"/>
                    <a:pt x="2" y="14"/>
                  </a:cubicBezTo>
                  <a:cubicBezTo>
                    <a:pt x="3" y="14"/>
                    <a:pt x="4" y="14"/>
                    <a:pt x="4" y="14"/>
                  </a:cubicBezTo>
                  <a:cubicBezTo>
                    <a:pt x="4" y="13"/>
                    <a:pt x="3" y="12"/>
                    <a:pt x="3" y="11"/>
                  </a:cubicBezTo>
                  <a:cubicBezTo>
                    <a:pt x="3" y="10"/>
                    <a:pt x="3" y="8"/>
                    <a:pt x="3" y="8"/>
                  </a:cubicBezTo>
                  <a:cubicBezTo>
                    <a:pt x="4" y="8"/>
                    <a:pt x="5" y="9"/>
                    <a:pt x="6" y="9"/>
                  </a:cubicBezTo>
                  <a:cubicBezTo>
                    <a:pt x="7" y="9"/>
                    <a:pt x="8" y="9"/>
                    <a:pt x="7" y="8"/>
                  </a:cubicBezTo>
                  <a:cubicBezTo>
                    <a:pt x="6" y="7"/>
                    <a:pt x="5" y="7"/>
                    <a:pt x="6" y="6"/>
                  </a:cubicBezTo>
                  <a:cubicBezTo>
                    <a:pt x="7" y="6"/>
                    <a:pt x="9" y="7"/>
                    <a:pt x="7" y="5"/>
                  </a:cubicBezTo>
                  <a:cubicBezTo>
                    <a:pt x="6" y="4"/>
                    <a:pt x="5" y="3"/>
                    <a:pt x="5" y="2"/>
                  </a:cubicBezTo>
                  <a:cubicBezTo>
                    <a:pt x="5" y="2"/>
                    <a:pt x="6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89" name="Freeform 399">
              <a:extLst>
                <a:ext uri="{FF2B5EF4-FFF2-40B4-BE49-F238E27FC236}">
                  <a16:creationId xmlns:a16="http://schemas.microsoft.com/office/drawing/2014/main" id="{158C2C1C-D3BB-81A8-F2CA-90B3707C4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3298" y="4002048"/>
              <a:ext cx="23006" cy="23006"/>
            </a:xfrm>
            <a:custGeom>
              <a:avLst/>
              <a:gdLst>
                <a:gd name="T0" fmla="*/ 7 w 7"/>
                <a:gd name="T1" fmla="*/ 4 h 7"/>
                <a:gd name="T2" fmla="*/ 6 w 7"/>
                <a:gd name="T3" fmla="*/ 2 h 7"/>
                <a:gd name="T4" fmla="*/ 3 w 7"/>
                <a:gd name="T5" fmla="*/ 0 h 7"/>
                <a:gd name="T6" fmla="*/ 1 w 7"/>
                <a:gd name="T7" fmla="*/ 1 h 7"/>
                <a:gd name="T8" fmla="*/ 4 w 7"/>
                <a:gd name="T9" fmla="*/ 5 h 7"/>
                <a:gd name="T10" fmla="*/ 6 w 7"/>
                <a:gd name="T11" fmla="*/ 7 h 7"/>
                <a:gd name="T12" fmla="*/ 7 w 7"/>
                <a:gd name="T1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7">
                  <a:moveTo>
                    <a:pt x="7" y="4"/>
                  </a:moveTo>
                  <a:cubicBezTo>
                    <a:pt x="7" y="4"/>
                    <a:pt x="7" y="3"/>
                    <a:pt x="6" y="2"/>
                  </a:cubicBezTo>
                  <a:cubicBezTo>
                    <a:pt x="5" y="1"/>
                    <a:pt x="5" y="0"/>
                    <a:pt x="3" y="0"/>
                  </a:cubicBezTo>
                  <a:cubicBezTo>
                    <a:pt x="2" y="0"/>
                    <a:pt x="0" y="0"/>
                    <a:pt x="1" y="1"/>
                  </a:cubicBezTo>
                  <a:cubicBezTo>
                    <a:pt x="2" y="1"/>
                    <a:pt x="4" y="4"/>
                    <a:pt x="4" y="5"/>
                  </a:cubicBezTo>
                  <a:cubicBezTo>
                    <a:pt x="4" y="5"/>
                    <a:pt x="5" y="7"/>
                    <a:pt x="6" y="7"/>
                  </a:cubicBezTo>
                  <a:cubicBezTo>
                    <a:pt x="6" y="7"/>
                    <a:pt x="7" y="5"/>
                    <a:pt x="7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90" name="Freeform 400">
              <a:extLst>
                <a:ext uri="{FF2B5EF4-FFF2-40B4-BE49-F238E27FC236}">
                  <a16:creationId xmlns:a16="http://schemas.microsoft.com/office/drawing/2014/main" id="{DC5F0C2B-5F9B-4EE6-1EC7-B34D4B884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8726" y="4028686"/>
              <a:ext cx="26639" cy="31482"/>
            </a:xfrm>
            <a:custGeom>
              <a:avLst/>
              <a:gdLst>
                <a:gd name="T0" fmla="*/ 3 w 8"/>
                <a:gd name="T1" fmla="*/ 1 h 10"/>
                <a:gd name="T2" fmla="*/ 1 w 8"/>
                <a:gd name="T3" fmla="*/ 2 h 10"/>
                <a:gd name="T4" fmla="*/ 3 w 8"/>
                <a:gd name="T5" fmla="*/ 4 h 10"/>
                <a:gd name="T6" fmla="*/ 1 w 8"/>
                <a:gd name="T7" fmla="*/ 8 h 10"/>
                <a:gd name="T8" fmla="*/ 2 w 8"/>
                <a:gd name="T9" fmla="*/ 10 h 10"/>
                <a:gd name="T10" fmla="*/ 5 w 8"/>
                <a:gd name="T11" fmla="*/ 7 h 10"/>
                <a:gd name="T12" fmla="*/ 7 w 8"/>
                <a:gd name="T13" fmla="*/ 6 h 10"/>
                <a:gd name="T14" fmla="*/ 7 w 8"/>
                <a:gd name="T15" fmla="*/ 4 h 10"/>
                <a:gd name="T16" fmla="*/ 3 w 8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3" y="1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3"/>
                    <a:pt x="3" y="3"/>
                    <a:pt x="3" y="4"/>
                  </a:cubicBezTo>
                  <a:cubicBezTo>
                    <a:pt x="2" y="6"/>
                    <a:pt x="1" y="7"/>
                    <a:pt x="1" y="8"/>
                  </a:cubicBezTo>
                  <a:cubicBezTo>
                    <a:pt x="1" y="8"/>
                    <a:pt x="0" y="10"/>
                    <a:pt x="2" y="10"/>
                  </a:cubicBezTo>
                  <a:cubicBezTo>
                    <a:pt x="3" y="9"/>
                    <a:pt x="4" y="8"/>
                    <a:pt x="5" y="7"/>
                  </a:cubicBezTo>
                  <a:cubicBezTo>
                    <a:pt x="6" y="7"/>
                    <a:pt x="6" y="6"/>
                    <a:pt x="7" y="6"/>
                  </a:cubicBezTo>
                  <a:cubicBezTo>
                    <a:pt x="7" y="6"/>
                    <a:pt x="8" y="5"/>
                    <a:pt x="7" y="4"/>
                  </a:cubicBezTo>
                  <a:cubicBezTo>
                    <a:pt x="6" y="3"/>
                    <a:pt x="4" y="2"/>
                    <a:pt x="3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91" name="Freeform 401">
              <a:extLst>
                <a:ext uri="{FF2B5EF4-FFF2-40B4-BE49-F238E27FC236}">
                  <a16:creationId xmlns:a16="http://schemas.microsoft.com/office/drawing/2014/main" id="{CA24748A-1A86-6A58-D321-E65128219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413" y="4048060"/>
              <a:ext cx="19374" cy="35115"/>
            </a:xfrm>
            <a:custGeom>
              <a:avLst/>
              <a:gdLst>
                <a:gd name="T0" fmla="*/ 6 w 6"/>
                <a:gd name="T1" fmla="*/ 1 h 11"/>
                <a:gd name="T2" fmla="*/ 4 w 6"/>
                <a:gd name="T3" fmla="*/ 2 h 11"/>
                <a:gd name="T4" fmla="*/ 3 w 6"/>
                <a:gd name="T5" fmla="*/ 5 h 11"/>
                <a:gd name="T6" fmla="*/ 1 w 6"/>
                <a:gd name="T7" fmla="*/ 7 h 11"/>
                <a:gd name="T8" fmla="*/ 4 w 6"/>
                <a:gd name="T9" fmla="*/ 11 h 11"/>
                <a:gd name="T10" fmla="*/ 5 w 6"/>
                <a:gd name="T11" fmla="*/ 10 h 11"/>
                <a:gd name="T12" fmla="*/ 5 w 6"/>
                <a:gd name="T13" fmla="*/ 8 h 11"/>
                <a:gd name="T14" fmla="*/ 6 w 6"/>
                <a:gd name="T15" fmla="*/ 4 h 11"/>
                <a:gd name="T16" fmla="*/ 6 w 6"/>
                <a:gd name="T1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1">
                  <a:moveTo>
                    <a:pt x="6" y="1"/>
                  </a:moveTo>
                  <a:cubicBezTo>
                    <a:pt x="5" y="1"/>
                    <a:pt x="5" y="1"/>
                    <a:pt x="4" y="2"/>
                  </a:cubicBezTo>
                  <a:cubicBezTo>
                    <a:pt x="4" y="3"/>
                    <a:pt x="3" y="4"/>
                    <a:pt x="3" y="5"/>
                  </a:cubicBezTo>
                  <a:cubicBezTo>
                    <a:pt x="3" y="6"/>
                    <a:pt x="0" y="6"/>
                    <a:pt x="1" y="7"/>
                  </a:cubicBezTo>
                  <a:cubicBezTo>
                    <a:pt x="1" y="9"/>
                    <a:pt x="4" y="10"/>
                    <a:pt x="4" y="11"/>
                  </a:cubicBezTo>
                  <a:cubicBezTo>
                    <a:pt x="4" y="11"/>
                    <a:pt x="5" y="11"/>
                    <a:pt x="5" y="10"/>
                  </a:cubicBezTo>
                  <a:cubicBezTo>
                    <a:pt x="5" y="9"/>
                    <a:pt x="4" y="9"/>
                    <a:pt x="5" y="8"/>
                  </a:cubicBezTo>
                  <a:cubicBezTo>
                    <a:pt x="5" y="7"/>
                    <a:pt x="6" y="5"/>
                    <a:pt x="6" y="4"/>
                  </a:cubicBezTo>
                  <a:cubicBezTo>
                    <a:pt x="6" y="3"/>
                    <a:pt x="6" y="0"/>
                    <a:pt x="6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92" name="Freeform 402">
              <a:extLst>
                <a:ext uri="{FF2B5EF4-FFF2-40B4-BE49-F238E27FC236}">
                  <a16:creationId xmlns:a16="http://schemas.microsoft.com/office/drawing/2014/main" id="{ACC655AF-C87D-2C84-004C-D2BF8E39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7787" y="4044427"/>
              <a:ext cx="13319" cy="32693"/>
            </a:xfrm>
            <a:custGeom>
              <a:avLst/>
              <a:gdLst>
                <a:gd name="T0" fmla="*/ 3 w 4"/>
                <a:gd name="T1" fmla="*/ 1 h 10"/>
                <a:gd name="T2" fmla="*/ 0 w 4"/>
                <a:gd name="T3" fmla="*/ 9 h 10"/>
                <a:gd name="T4" fmla="*/ 4 w 4"/>
                <a:gd name="T5" fmla="*/ 4 h 10"/>
                <a:gd name="T6" fmla="*/ 3 w 4"/>
                <a:gd name="T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1"/>
                  </a:moveTo>
                  <a:cubicBezTo>
                    <a:pt x="3" y="1"/>
                    <a:pt x="0" y="10"/>
                    <a:pt x="0" y="9"/>
                  </a:cubicBezTo>
                  <a:cubicBezTo>
                    <a:pt x="0" y="9"/>
                    <a:pt x="4" y="5"/>
                    <a:pt x="4" y="4"/>
                  </a:cubicBezTo>
                  <a:cubicBezTo>
                    <a:pt x="4" y="3"/>
                    <a:pt x="4" y="0"/>
                    <a:pt x="3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93" name="Freeform 403">
              <a:extLst>
                <a:ext uri="{FF2B5EF4-FFF2-40B4-BE49-F238E27FC236}">
                  <a16:creationId xmlns:a16="http://schemas.microsoft.com/office/drawing/2014/main" id="{35BB9E6D-99E7-BC61-77CA-5D15FE10D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7474" y="4063801"/>
              <a:ext cx="13319" cy="9687"/>
            </a:xfrm>
            <a:custGeom>
              <a:avLst/>
              <a:gdLst>
                <a:gd name="T0" fmla="*/ 1 w 4"/>
                <a:gd name="T1" fmla="*/ 1 h 3"/>
                <a:gd name="T2" fmla="*/ 1 w 4"/>
                <a:gd name="T3" fmla="*/ 3 h 3"/>
                <a:gd name="T4" fmla="*/ 4 w 4"/>
                <a:gd name="T5" fmla="*/ 2 h 3"/>
                <a:gd name="T6" fmla="*/ 1 w 4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1" y="1"/>
                  </a:moveTo>
                  <a:cubicBezTo>
                    <a:pt x="0" y="1"/>
                    <a:pt x="0" y="3"/>
                    <a:pt x="1" y="3"/>
                  </a:cubicBezTo>
                  <a:cubicBezTo>
                    <a:pt x="1" y="3"/>
                    <a:pt x="4" y="3"/>
                    <a:pt x="4" y="2"/>
                  </a:cubicBezTo>
                  <a:cubicBezTo>
                    <a:pt x="4" y="1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94" name="Freeform 404">
              <a:extLst>
                <a:ext uri="{FF2B5EF4-FFF2-40B4-BE49-F238E27FC236}">
                  <a16:creationId xmlns:a16="http://schemas.microsoft.com/office/drawing/2014/main" id="{DF7BD17E-BD7F-16F0-A4D2-1AEB88514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7474" y="4073488"/>
              <a:ext cx="49645" cy="75072"/>
            </a:xfrm>
            <a:custGeom>
              <a:avLst/>
              <a:gdLst>
                <a:gd name="T0" fmla="*/ 10 w 15"/>
                <a:gd name="T1" fmla="*/ 0 h 23"/>
                <a:gd name="T2" fmla="*/ 9 w 15"/>
                <a:gd name="T3" fmla="*/ 2 h 23"/>
                <a:gd name="T4" fmla="*/ 9 w 15"/>
                <a:gd name="T5" fmla="*/ 4 h 23"/>
                <a:gd name="T6" fmla="*/ 5 w 15"/>
                <a:gd name="T7" fmla="*/ 5 h 23"/>
                <a:gd name="T8" fmla="*/ 3 w 15"/>
                <a:gd name="T9" fmla="*/ 7 h 23"/>
                <a:gd name="T10" fmla="*/ 1 w 15"/>
                <a:gd name="T11" fmla="*/ 9 h 23"/>
                <a:gd name="T12" fmla="*/ 0 w 15"/>
                <a:gd name="T13" fmla="*/ 10 h 23"/>
                <a:gd name="T14" fmla="*/ 2 w 15"/>
                <a:gd name="T15" fmla="*/ 14 h 23"/>
                <a:gd name="T16" fmla="*/ 1 w 15"/>
                <a:gd name="T17" fmla="*/ 18 h 23"/>
                <a:gd name="T18" fmla="*/ 5 w 15"/>
                <a:gd name="T19" fmla="*/ 21 h 23"/>
                <a:gd name="T20" fmla="*/ 8 w 15"/>
                <a:gd name="T21" fmla="*/ 21 h 23"/>
                <a:gd name="T22" fmla="*/ 10 w 15"/>
                <a:gd name="T23" fmla="*/ 21 h 23"/>
                <a:gd name="T24" fmla="*/ 8 w 15"/>
                <a:gd name="T25" fmla="*/ 16 h 23"/>
                <a:gd name="T26" fmla="*/ 10 w 15"/>
                <a:gd name="T27" fmla="*/ 14 h 23"/>
                <a:gd name="T28" fmla="*/ 13 w 15"/>
                <a:gd name="T29" fmla="*/ 18 h 23"/>
                <a:gd name="T30" fmla="*/ 14 w 15"/>
                <a:gd name="T31" fmla="*/ 15 h 23"/>
                <a:gd name="T32" fmla="*/ 15 w 15"/>
                <a:gd name="T33" fmla="*/ 11 h 23"/>
                <a:gd name="T34" fmla="*/ 13 w 15"/>
                <a:gd name="T35" fmla="*/ 5 h 23"/>
                <a:gd name="T36" fmla="*/ 11 w 15"/>
                <a:gd name="T37" fmla="*/ 1 h 23"/>
                <a:gd name="T38" fmla="*/ 10 w 15"/>
                <a:gd name="T3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23">
                  <a:moveTo>
                    <a:pt x="10" y="0"/>
                  </a:moveTo>
                  <a:cubicBezTo>
                    <a:pt x="9" y="0"/>
                    <a:pt x="9" y="1"/>
                    <a:pt x="9" y="2"/>
                  </a:cubicBezTo>
                  <a:cubicBezTo>
                    <a:pt x="9" y="3"/>
                    <a:pt x="10" y="3"/>
                    <a:pt x="9" y="4"/>
                  </a:cubicBezTo>
                  <a:cubicBezTo>
                    <a:pt x="7" y="4"/>
                    <a:pt x="6" y="4"/>
                    <a:pt x="5" y="5"/>
                  </a:cubicBezTo>
                  <a:cubicBezTo>
                    <a:pt x="5" y="6"/>
                    <a:pt x="3" y="6"/>
                    <a:pt x="3" y="7"/>
                  </a:cubicBezTo>
                  <a:cubicBezTo>
                    <a:pt x="2" y="8"/>
                    <a:pt x="2" y="8"/>
                    <a:pt x="1" y="9"/>
                  </a:cubicBezTo>
                  <a:cubicBezTo>
                    <a:pt x="0" y="9"/>
                    <a:pt x="0" y="9"/>
                    <a:pt x="0" y="10"/>
                  </a:cubicBezTo>
                  <a:cubicBezTo>
                    <a:pt x="0" y="11"/>
                    <a:pt x="3" y="13"/>
                    <a:pt x="2" y="14"/>
                  </a:cubicBezTo>
                  <a:cubicBezTo>
                    <a:pt x="1" y="14"/>
                    <a:pt x="0" y="16"/>
                    <a:pt x="1" y="18"/>
                  </a:cubicBezTo>
                  <a:cubicBezTo>
                    <a:pt x="2" y="19"/>
                    <a:pt x="4" y="21"/>
                    <a:pt x="5" y="21"/>
                  </a:cubicBezTo>
                  <a:cubicBezTo>
                    <a:pt x="7" y="21"/>
                    <a:pt x="7" y="21"/>
                    <a:pt x="8" y="21"/>
                  </a:cubicBezTo>
                  <a:cubicBezTo>
                    <a:pt x="9" y="21"/>
                    <a:pt x="11" y="23"/>
                    <a:pt x="10" y="21"/>
                  </a:cubicBezTo>
                  <a:cubicBezTo>
                    <a:pt x="10" y="19"/>
                    <a:pt x="8" y="17"/>
                    <a:pt x="8" y="16"/>
                  </a:cubicBezTo>
                  <a:cubicBezTo>
                    <a:pt x="9" y="15"/>
                    <a:pt x="10" y="12"/>
                    <a:pt x="10" y="14"/>
                  </a:cubicBezTo>
                  <a:cubicBezTo>
                    <a:pt x="11" y="15"/>
                    <a:pt x="12" y="20"/>
                    <a:pt x="13" y="18"/>
                  </a:cubicBezTo>
                  <a:cubicBezTo>
                    <a:pt x="13" y="17"/>
                    <a:pt x="13" y="16"/>
                    <a:pt x="14" y="15"/>
                  </a:cubicBezTo>
                  <a:cubicBezTo>
                    <a:pt x="14" y="14"/>
                    <a:pt x="15" y="12"/>
                    <a:pt x="15" y="11"/>
                  </a:cubicBezTo>
                  <a:cubicBezTo>
                    <a:pt x="14" y="10"/>
                    <a:pt x="14" y="7"/>
                    <a:pt x="13" y="5"/>
                  </a:cubicBezTo>
                  <a:cubicBezTo>
                    <a:pt x="13" y="4"/>
                    <a:pt x="12" y="2"/>
                    <a:pt x="11" y="1"/>
                  </a:cubicBezTo>
                  <a:cubicBezTo>
                    <a:pt x="11" y="1"/>
                    <a:pt x="11" y="0"/>
                    <a:pt x="10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95" name="Freeform 405">
              <a:extLst>
                <a:ext uri="{FF2B5EF4-FFF2-40B4-BE49-F238E27FC236}">
                  <a16:creationId xmlns:a16="http://schemas.microsoft.com/office/drawing/2014/main" id="{A829935E-2C73-C9F8-AE10-531110206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2359" y="4089229"/>
              <a:ext cx="42380" cy="36325"/>
            </a:xfrm>
            <a:custGeom>
              <a:avLst/>
              <a:gdLst>
                <a:gd name="T0" fmla="*/ 10 w 13"/>
                <a:gd name="T1" fmla="*/ 1 h 11"/>
                <a:gd name="T2" fmla="*/ 6 w 13"/>
                <a:gd name="T3" fmla="*/ 2 h 11"/>
                <a:gd name="T4" fmla="*/ 3 w 13"/>
                <a:gd name="T5" fmla="*/ 4 h 11"/>
                <a:gd name="T6" fmla="*/ 1 w 13"/>
                <a:gd name="T7" fmla="*/ 7 h 11"/>
                <a:gd name="T8" fmla="*/ 0 w 13"/>
                <a:gd name="T9" fmla="*/ 10 h 11"/>
                <a:gd name="T10" fmla="*/ 3 w 13"/>
                <a:gd name="T11" fmla="*/ 6 h 11"/>
                <a:gd name="T12" fmla="*/ 5 w 13"/>
                <a:gd name="T13" fmla="*/ 6 h 11"/>
                <a:gd name="T14" fmla="*/ 6 w 13"/>
                <a:gd name="T15" fmla="*/ 7 h 11"/>
                <a:gd name="T16" fmla="*/ 8 w 13"/>
                <a:gd name="T17" fmla="*/ 7 h 11"/>
                <a:gd name="T18" fmla="*/ 9 w 13"/>
                <a:gd name="T19" fmla="*/ 7 h 11"/>
                <a:gd name="T20" fmla="*/ 9 w 13"/>
                <a:gd name="T21" fmla="*/ 5 h 11"/>
                <a:gd name="T22" fmla="*/ 10 w 13"/>
                <a:gd name="T2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1">
                  <a:moveTo>
                    <a:pt x="10" y="1"/>
                  </a:moveTo>
                  <a:cubicBezTo>
                    <a:pt x="8" y="0"/>
                    <a:pt x="7" y="1"/>
                    <a:pt x="6" y="2"/>
                  </a:cubicBezTo>
                  <a:cubicBezTo>
                    <a:pt x="6" y="3"/>
                    <a:pt x="4" y="4"/>
                    <a:pt x="3" y="4"/>
                  </a:cubicBezTo>
                  <a:cubicBezTo>
                    <a:pt x="2" y="4"/>
                    <a:pt x="1" y="6"/>
                    <a:pt x="1" y="7"/>
                  </a:cubicBezTo>
                  <a:cubicBezTo>
                    <a:pt x="0" y="8"/>
                    <a:pt x="0" y="11"/>
                    <a:pt x="0" y="10"/>
                  </a:cubicBezTo>
                  <a:cubicBezTo>
                    <a:pt x="1" y="10"/>
                    <a:pt x="2" y="7"/>
                    <a:pt x="3" y="6"/>
                  </a:cubicBezTo>
                  <a:cubicBezTo>
                    <a:pt x="3" y="6"/>
                    <a:pt x="5" y="6"/>
                    <a:pt x="5" y="6"/>
                  </a:cubicBezTo>
                  <a:cubicBezTo>
                    <a:pt x="5" y="7"/>
                    <a:pt x="6" y="7"/>
                    <a:pt x="6" y="7"/>
                  </a:cubicBezTo>
                  <a:cubicBezTo>
                    <a:pt x="7" y="7"/>
                    <a:pt x="8" y="7"/>
                    <a:pt x="8" y="7"/>
                  </a:cubicBezTo>
                  <a:cubicBezTo>
                    <a:pt x="8" y="7"/>
                    <a:pt x="9" y="8"/>
                    <a:pt x="9" y="7"/>
                  </a:cubicBezTo>
                  <a:cubicBezTo>
                    <a:pt x="9" y="6"/>
                    <a:pt x="9" y="5"/>
                    <a:pt x="9" y="5"/>
                  </a:cubicBezTo>
                  <a:cubicBezTo>
                    <a:pt x="10" y="4"/>
                    <a:pt x="13" y="2"/>
                    <a:pt x="10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96" name="Freeform 406">
              <a:extLst>
                <a:ext uri="{FF2B5EF4-FFF2-40B4-BE49-F238E27FC236}">
                  <a16:creationId xmlns:a16="http://schemas.microsoft.com/office/drawing/2014/main" id="{0690501F-FBEB-F459-B0E2-7DE8328F38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5177" y="4050482"/>
              <a:ext cx="44802" cy="46012"/>
            </a:xfrm>
            <a:custGeom>
              <a:avLst/>
              <a:gdLst>
                <a:gd name="T0" fmla="*/ 13 w 14"/>
                <a:gd name="T1" fmla="*/ 0 h 14"/>
                <a:gd name="T2" fmla="*/ 8 w 14"/>
                <a:gd name="T3" fmla="*/ 6 h 14"/>
                <a:gd name="T4" fmla="*/ 4 w 14"/>
                <a:gd name="T5" fmla="*/ 9 h 14"/>
                <a:gd name="T6" fmla="*/ 1 w 14"/>
                <a:gd name="T7" fmla="*/ 14 h 14"/>
                <a:gd name="T8" fmla="*/ 5 w 14"/>
                <a:gd name="T9" fmla="*/ 12 h 14"/>
                <a:gd name="T10" fmla="*/ 9 w 14"/>
                <a:gd name="T11" fmla="*/ 7 h 14"/>
                <a:gd name="T12" fmla="*/ 12 w 14"/>
                <a:gd name="T13" fmla="*/ 4 h 14"/>
                <a:gd name="T14" fmla="*/ 13 w 14"/>
                <a:gd name="T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13" y="0"/>
                  </a:moveTo>
                  <a:cubicBezTo>
                    <a:pt x="12" y="1"/>
                    <a:pt x="9" y="5"/>
                    <a:pt x="8" y="6"/>
                  </a:cubicBezTo>
                  <a:cubicBezTo>
                    <a:pt x="7" y="7"/>
                    <a:pt x="6" y="9"/>
                    <a:pt x="4" y="9"/>
                  </a:cubicBezTo>
                  <a:cubicBezTo>
                    <a:pt x="3" y="10"/>
                    <a:pt x="0" y="14"/>
                    <a:pt x="1" y="14"/>
                  </a:cubicBezTo>
                  <a:cubicBezTo>
                    <a:pt x="2" y="13"/>
                    <a:pt x="4" y="12"/>
                    <a:pt x="5" y="12"/>
                  </a:cubicBezTo>
                  <a:cubicBezTo>
                    <a:pt x="6" y="11"/>
                    <a:pt x="8" y="9"/>
                    <a:pt x="9" y="7"/>
                  </a:cubicBezTo>
                  <a:cubicBezTo>
                    <a:pt x="10" y="6"/>
                    <a:pt x="10" y="5"/>
                    <a:pt x="12" y="4"/>
                  </a:cubicBezTo>
                  <a:cubicBezTo>
                    <a:pt x="13" y="3"/>
                    <a:pt x="14" y="0"/>
                    <a:pt x="13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97" name="Freeform 407">
              <a:extLst>
                <a:ext uri="{FF2B5EF4-FFF2-40B4-BE49-F238E27FC236}">
                  <a16:creationId xmlns:a16="http://schemas.microsoft.com/office/drawing/2014/main" id="{257F0A45-7B1F-E5B4-BDEE-56B6D23EFD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1106" y="3995994"/>
              <a:ext cx="9687" cy="6054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2" y="2"/>
                    <a:pt x="3" y="0"/>
                    <a:pt x="2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98" name="Freeform 408">
              <a:extLst>
                <a:ext uri="{FF2B5EF4-FFF2-40B4-BE49-F238E27FC236}">
                  <a16:creationId xmlns:a16="http://schemas.microsoft.com/office/drawing/2014/main" id="{A11FFFF6-50FA-5511-DA5C-94404B810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438" y="4138873"/>
              <a:ext cx="201002" cy="213109"/>
            </a:xfrm>
            <a:custGeom>
              <a:avLst/>
              <a:gdLst>
                <a:gd name="T0" fmla="*/ 14 w 62"/>
                <a:gd name="T1" fmla="*/ 5 h 66"/>
                <a:gd name="T2" fmla="*/ 8 w 62"/>
                <a:gd name="T3" fmla="*/ 5 h 66"/>
                <a:gd name="T4" fmla="*/ 2 w 62"/>
                <a:gd name="T5" fmla="*/ 5 h 66"/>
                <a:gd name="T6" fmla="*/ 8 w 62"/>
                <a:gd name="T7" fmla="*/ 12 h 66"/>
                <a:gd name="T8" fmla="*/ 12 w 62"/>
                <a:gd name="T9" fmla="*/ 16 h 66"/>
                <a:gd name="T10" fmla="*/ 16 w 62"/>
                <a:gd name="T11" fmla="*/ 21 h 66"/>
                <a:gd name="T12" fmla="*/ 20 w 62"/>
                <a:gd name="T13" fmla="*/ 24 h 66"/>
                <a:gd name="T14" fmla="*/ 23 w 62"/>
                <a:gd name="T15" fmla="*/ 32 h 66"/>
                <a:gd name="T16" fmla="*/ 26 w 62"/>
                <a:gd name="T17" fmla="*/ 35 h 66"/>
                <a:gd name="T18" fmla="*/ 30 w 62"/>
                <a:gd name="T19" fmla="*/ 41 h 66"/>
                <a:gd name="T20" fmla="*/ 33 w 62"/>
                <a:gd name="T21" fmla="*/ 47 h 66"/>
                <a:gd name="T22" fmla="*/ 40 w 62"/>
                <a:gd name="T23" fmla="*/ 54 h 66"/>
                <a:gd name="T24" fmla="*/ 43 w 62"/>
                <a:gd name="T25" fmla="*/ 58 h 66"/>
                <a:gd name="T26" fmla="*/ 51 w 62"/>
                <a:gd name="T27" fmla="*/ 64 h 66"/>
                <a:gd name="T28" fmla="*/ 54 w 62"/>
                <a:gd name="T29" fmla="*/ 65 h 66"/>
                <a:gd name="T30" fmla="*/ 56 w 62"/>
                <a:gd name="T31" fmla="*/ 65 h 66"/>
                <a:gd name="T32" fmla="*/ 59 w 62"/>
                <a:gd name="T33" fmla="*/ 65 h 66"/>
                <a:gd name="T34" fmla="*/ 60 w 62"/>
                <a:gd name="T35" fmla="*/ 65 h 66"/>
                <a:gd name="T36" fmla="*/ 61 w 62"/>
                <a:gd name="T37" fmla="*/ 53 h 66"/>
                <a:gd name="T38" fmla="*/ 62 w 62"/>
                <a:gd name="T39" fmla="*/ 50 h 66"/>
                <a:gd name="T40" fmla="*/ 56 w 62"/>
                <a:gd name="T41" fmla="*/ 47 h 66"/>
                <a:gd name="T42" fmla="*/ 54 w 62"/>
                <a:gd name="T43" fmla="*/ 49 h 66"/>
                <a:gd name="T44" fmla="*/ 54 w 62"/>
                <a:gd name="T45" fmla="*/ 46 h 66"/>
                <a:gd name="T46" fmla="*/ 53 w 62"/>
                <a:gd name="T47" fmla="*/ 43 h 66"/>
                <a:gd name="T48" fmla="*/ 52 w 62"/>
                <a:gd name="T49" fmla="*/ 40 h 66"/>
                <a:gd name="T50" fmla="*/ 47 w 62"/>
                <a:gd name="T51" fmla="*/ 37 h 66"/>
                <a:gd name="T52" fmla="*/ 47 w 62"/>
                <a:gd name="T53" fmla="*/ 35 h 66"/>
                <a:gd name="T54" fmla="*/ 48 w 62"/>
                <a:gd name="T55" fmla="*/ 34 h 66"/>
                <a:gd name="T56" fmla="*/ 48 w 62"/>
                <a:gd name="T57" fmla="*/ 33 h 66"/>
                <a:gd name="T58" fmla="*/ 44 w 62"/>
                <a:gd name="T59" fmla="*/ 32 h 66"/>
                <a:gd name="T60" fmla="*/ 43 w 62"/>
                <a:gd name="T61" fmla="*/ 32 h 66"/>
                <a:gd name="T62" fmla="*/ 44 w 62"/>
                <a:gd name="T63" fmla="*/ 30 h 66"/>
                <a:gd name="T64" fmla="*/ 40 w 62"/>
                <a:gd name="T65" fmla="*/ 28 h 66"/>
                <a:gd name="T66" fmla="*/ 41 w 62"/>
                <a:gd name="T67" fmla="*/ 27 h 66"/>
                <a:gd name="T68" fmla="*/ 39 w 62"/>
                <a:gd name="T69" fmla="*/ 26 h 66"/>
                <a:gd name="T70" fmla="*/ 38 w 62"/>
                <a:gd name="T71" fmla="*/ 25 h 66"/>
                <a:gd name="T72" fmla="*/ 36 w 62"/>
                <a:gd name="T73" fmla="*/ 24 h 66"/>
                <a:gd name="T74" fmla="*/ 33 w 62"/>
                <a:gd name="T75" fmla="*/ 21 h 66"/>
                <a:gd name="T76" fmla="*/ 33 w 62"/>
                <a:gd name="T77" fmla="*/ 23 h 66"/>
                <a:gd name="T78" fmla="*/ 28 w 62"/>
                <a:gd name="T79" fmla="*/ 18 h 66"/>
                <a:gd name="T80" fmla="*/ 25 w 62"/>
                <a:gd name="T81" fmla="*/ 15 h 66"/>
                <a:gd name="T82" fmla="*/ 21 w 62"/>
                <a:gd name="T83" fmla="*/ 12 h 66"/>
                <a:gd name="T84" fmla="*/ 14 w 62"/>
                <a:gd name="T85" fmla="*/ 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66">
                  <a:moveTo>
                    <a:pt x="14" y="5"/>
                  </a:moveTo>
                  <a:cubicBezTo>
                    <a:pt x="13" y="5"/>
                    <a:pt x="10" y="6"/>
                    <a:pt x="8" y="5"/>
                  </a:cubicBezTo>
                  <a:cubicBezTo>
                    <a:pt x="5" y="4"/>
                    <a:pt x="0" y="0"/>
                    <a:pt x="2" y="5"/>
                  </a:cubicBezTo>
                  <a:cubicBezTo>
                    <a:pt x="5" y="10"/>
                    <a:pt x="7" y="12"/>
                    <a:pt x="8" y="12"/>
                  </a:cubicBezTo>
                  <a:cubicBezTo>
                    <a:pt x="10" y="13"/>
                    <a:pt x="10" y="13"/>
                    <a:pt x="12" y="16"/>
                  </a:cubicBezTo>
                  <a:cubicBezTo>
                    <a:pt x="14" y="18"/>
                    <a:pt x="14" y="20"/>
                    <a:pt x="16" y="21"/>
                  </a:cubicBezTo>
                  <a:cubicBezTo>
                    <a:pt x="18" y="22"/>
                    <a:pt x="20" y="23"/>
                    <a:pt x="20" y="24"/>
                  </a:cubicBezTo>
                  <a:cubicBezTo>
                    <a:pt x="21" y="26"/>
                    <a:pt x="22" y="31"/>
                    <a:pt x="23" y="32"/>
                  </a:cubicBezTo>
                  <a:cubicBezTo>
                    <a:pt x="24" y="33"/>
                    <a:pt x="25" y="33"/>
                    <a:pt x="26" y="35"/>
                  </a:cubicBezTo>
                  <a:cubicBezTo>
                    <a:pt x="27" y="36"/>
                    <a:pt x="30" y="39"/>
                    <a:pt x="30" y="41"/>
                  </a:cubicBezTo>
                  <a:cubicBezTo>
                    <a:pt x="31" y="43"/>
                    <a:pt x="31" y="45"/>
                    <a:pt x="33" y="47"/>
                  </a:cubicBezTo>
                  <a:cubicBezTo>
                    <a:pt x="34" y="49"/>
                    <a:pt x="39" y="53"/>
                    <a:pt x="40" y="54"/>
                  </a:cubicBezTo>
                  <a:cubicBezTo>
                    <a:pt x="40" y="55"/>
                    <a:pt x="41" y="57"/>
                    <a:pt x="43" y="58"/>
                  </a:cubicBezTo>
                  <a:cubicBezTo>
                    <a:pt x="45" y="59"/>
                    <a:pt x="50" y="63"/>
                    <a:pt x="51" y="64"/>
                  </a:cubicBezTo>
                  <a:cubicBezTo>
                    <a:pt x="52" y="65"/>
                    <a:pt x="53" y="65"/>
                    <a:pt x="54" y="65"/>
                  </a:cubicBezTo>
                  <a:cubicBezTo>
                    <a:pt x="55" y="65"/>
                    <a:pt x="56" y="65"/>
                    <a:pt x="56" y="65"/>
                  </a:cubicBezTo>
                  <a:cubicBezTo>
                    <a:pt x="57" y="66"/>
                    <a:pt x="58" y="65"/>
                    <a:pt x="59" y="65"/>
                  </a:cubicBezTo>
                  <a:cubicBezTo>
                    <a:pt x="60" y="66"/>
                    <a:pt x="60" y="66"/>
                    <a:pt x="60" y="65"/>
                  </a:cubicBezTo>
                  <a:cubicBezTo>
                    <a:pt x="60" y="64"/>
                    <a:pt x="60" y="54"/>
                    <a:pt x="61" y="53"/>
                  </a:cubicBezTo>
                  <a:cubicBezTo>
                    <a:pt x="62" y="52"/>
                    <a:pt x="62" y="52"/>
                    <a:pt x="62" y="50"/>
                  </a:cubicBezTo>
                  <a:cubicBezTo>
                    <a:pt x="61" y="49"/>
                    <a:pt x="56" y="46"/>
                    <a:pt x="56" y="47"/>
                  </a:cubicBezTo>
                  <a:cubicBezTo>
                    <a:pt x="55" y="47"/>
                    <a:pt x="54" y="50"/>
                    <a:pt x="54" y="49"/>
                  </a:cubicBezTo>
                  <a:cubicBezTo>
                    <a:pt x="54" y="47"/>
                    <a:pt x="54" y="47"/>
                    <a:pt x="54" y="46"/>
                  </a:cubicBezTo>
                  <a:cubicBezTo>
                    <a:pt x="54" y="45"/>
                    <a:pt x="53" y="44"/>
                    <a:pt x="53" y="43"/>
                  </a:cubicBezTo>
                  <a:cubicBezTo>
                    <a:pt x="52" y="42"/>
                    <a:pt x="53" y="41"/>
                    <a:pt x="52" y="40"/>
                  </a:cubicBezTo>
                  <a:cubicBezTo>
                    <a:pt x="50" y="40"/>
                    <a:pt x="47" y="38"/>
                    <a:pt x="47" y="37"/>
                  </a:cubicBezTo>
                  <a:cubicBezTo>
                    <a:pt x="46" y="36"/>
                    <a:pt x="48" y="36"/>
                    <a:pt x="47" y="35"/>
                  </a:cubicBezTo>
                  <a:cubicBezTo>
                    <a:pt x="46" y="34"/>
                    <a:pt x="47" y="34"/>
                    <a:pt x="48" y="34"/>
                  </a:cubicBezTo>
                  <a:cubicBezTo>
                    <a:pt x="48" y="34"/>
                    <a:pt x="49" y="33"/>
                    <a:pt x="48" y="33"/>
                  </a:cubicBezTo>
                  <a:cubicBezTo>
                    <a:pt x="47" y="32"/>
                    <a:pt x="46" y="31"/>
                    <a:pt x="44" y="32"/>
                  </a:cubicBezTo>
                  <a:cubicBezTo>
                    <a:pt x="43" y="33"/>
                    <a:pt x="42" y="33"/>
                    <a:pt x="43" y="32"/>
                  </a:cubicBezTo>
                  <a:cubicBezTo>
                    <a:pt x="44" y="31"/>
                    <a:pt x="46" y="30"/>
                    <a:pt x="44" y="30"/>
                  </a:cubicBezTo>
                  <a:cubicBezTo>
                    <a:pt x="42" y="29"/>
                    <a:pt x="41" y="29"/>
                    <a:pt x="40" y="28"/>
                  </a:cubicBezTo>
                  <a:cubicBezTo>
                    <a:pt x="40" y="27"/>
                    <a:pt x="42" y="27"/>
                    <a:pt x="41" y="27"/>
                  </a:cubicBezTo>
                  <a:cubicBezTo>
                    <a:pt x="40" y="26"/>
                    <a:pt x="39" y="26"/>
                    <a:pt x="39" y="26"/>
                  </a:cubicBezTo>
                  <a:cubicBezTo>
                    <a:pt x="40" y="26"/>
                    <a:pt x="39" y="25"/>
                    <a:pt x="38" y="25"/>
                  </a:cubicBezTo>
                  <a:cubicBezTo>
                    <a:pt x="37" y="25"/>
                    <a:pt x="37" y="25"/>
                    <a:pt x="36" y="24"/>
                  </a:cubicBezTo>
                  <a:cubicBezTo>
                    <a:pt x="35" y="23"/>
                    <a:pt x="33" y="20"/>
                    <a:pt x="33" y="21"/>
                  </a:cubicBezTo>
                  <a:cubicBezTo>
                    <a:pt x="33" y="22"/>
                    <a:pt x="34" y="24"/>
                    <a:pt x="33" y="23"/>
                  </a:cubicBezTo>
                  <a:cubicBezTo>
                    <a:pt x="32" y="22"/>
                    <a:pt x="29" y="20"/>
                    <a:pt x="28" y="18"/>
                  </a:cubicBezTo>
                  <a:cubicBezTo>
                    <a:pt x="27" y="17"/>
                    <a:pt x="27" y="16"/>
                    <a:pt x="25" y="15"/>
                  </a:cubicBezTo>
                  <a:cubicBezTo>
                    <a:pt x="24" y="14"/>
                    <a:pt x="22" y="13"/>
                    <a:pt x="21" y="12"/>
                  </a:cubicBezTo>
                  <a:cubicBezTo>
                    <a:pt x="19" y="11"/>
                    <a:pt x="16" y="6"/>
                    <a:pt x="14" y="5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499" name="Freeform 409">
              <a:extLst>
                <a:ext uri="{FF2B5EF4-FFF2-40B4-BE49-F238E27FC236}">
                  <a16:creationId xmlns:a16="http://schemas.microsoft.com/office/drawing/2014/main" id="{5D2BE403-2032-AF7B-E237-074961987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9186" y="4218789"/>
              <a:ext cx="16952" cy="20584"/>
            </a:xfrm>
            <a:custGeom>
              <a:avLst/>
              <a:gdLst>
                <a:gd name="T0" fmla="*/ 4 w 5"/>
                <a:gd name="T1" fmla="*/ 5 h 6"/>
                <a:gd name="T2" fmla="*/ 1 w 5"/>
                <a:gd name="T3" fmla="*/ 1 h 6"/>
                <a:gd name="T4" fmla="*/ 4 w 5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4" y="5"/>
                  </a:moveTo>
                  <a:cubicBezTo>
                    <a:pt x="5" y="4"/>
                    <a:pt x="2" y="0"/>
                    <a:pt x="1" y="1"/>
                  </a:cubicBezTo>
                  <a:cubicBezTo>
                    <a:pt x="0" y="1"/>
                    <a:pt x="3" y="6"/>
                    <a:pt x="4" y="5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00" name="Freeform 410">
              <a:extLst>
                <a:ext uri="{FF2B5EF4-FFF2-40B4-BE49-F238E27FC236}">
                  <a16:creationId xmlns:a16="http://schemas.microsoft.com/office/drawing/2014/main" id="{A4A425B7-16FA-7768-34F9-9CCBA89A7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825" y="4264801"/>
              <a:ext cx="12109" cy="15741"/>
            </a:xfrm>
            <a:custGeom>
              <a:avLst/>
              <a:gdLst>
                <a:gd name="T0" fmla="*/ 3 w 4"/>
                <a:gd name="T1" fmla="*/ 4 h 5"/>
                <a:gd name="T2" fmla="*/ 1 w 4"/>
                <a:gd name="T3" fmla="*/ 0 h 5"/>
                <a:gd name="T4" fmla="*/ 3 w 4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4" y="3"/>
                    <a:pt x="2" y="0"/>
                    <a:pt x="1" y="0"/>
                  </a:cubicBezTo>
                  <a:cubicBezTo>
                    <a:pt x="0" y="0"/>
                    <a:pt x="2" y="5"/>
                    <a:pt x="3" y="4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01" name="Freeform 411">
              <a:extLst>
                <a:ext uri="{FF2B5EF4-FFF2-40B4-BE49-F238E27FC236}">
                  <a16:creationId xmlns:a16="http://schemas.microsoft.com/office/drawing/2014/main" id="{69983895-ED8B-FE93-DB12-8EADEE0B8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2067" y="4274488"/>
              <a:ext cx="29061" cy="29060"/>
            </a:xfrm>
            <a:custGeom>
              <a:avLst/>
              <a:gdLst>
                <a:gd name="T0" fmla="*/ 9 w 9"/>
                <a:gd name="T1" fmla="*/ 8 h 9"/>
                <a:gd name="T2" fmla="*/ 7 w 9"/>
                <a:gd name="T3" fmla="*/ 5 h 9"/>
                <a:gd name="T4" fmla="*/ 6 w 9"/>
                <a:gd name="T5" fmla="*/ 3 h 9"/>
                <a:gd name="T6" fmla="*/ 5 w 9"/>
                <a:gd name="T7" fmla="*/ 1 h 9"/>
                <a:gd name="T8" fmla="*/ 2 w 9"/>
                <a:gd name="T9" fmla="*/ 1 h 9"/>
                <a:gd name="T10" fmla="*/ 2 w 9"/>
                <a:gd name="T11" fmla="*/ 3 h 9"/>
                <a:gd name="T12" fmla="*/ 4 w 9"/>
                <a:gd name="T13" fmla="*/ 4 h 9"/>
                <a:gd name="T14" fmla="*/ 4 w 9"/>
                <a:gd name="T15" fmla="*/ 6 h 9"/>
                <a:gd name="T16" fmla="*/ 9 w 9"/>
                <a:gd name="T1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9" y="8"/>
                  </a:moveTo>
                  <a:cubicBezTo>
                    <a:pt x="9" y="7"/>
                    <a:pt x="8" y="6"/>
                    <a:pt x="7" y="5"/>
                  </a:cubicBezTo>
                  <a:cubicBezTo>
                    <a:pt x="6" y="4"/>
                    <a:pt x="6" y="4"/>
                    <a:pt x="6" y="3"/>
                  </a:cubicBezTo>
                  <a:cubicBezTo>
                    <a:pt x="6" y="2"/>
                    <a:pt x="6" y="1"/>
                    <a:pt x="5" y="1"/>
                  </a:cubicBezTo>
                  <a:cubicBezTo>
                    <a:pt x="4" y="1"/>
                    <a:pt x="3" y="0"/>
                    <a:pt x="2" y="1"/>
                  </a:cubicBezTo>
                  <a:cubicBezTo>
                    <a:pt x="2" y="1"/>
                    <a:pt x="0" y="2"/>
                    <a:pt x="2" y="3"/>
                  </a:cubicBezTo>
                  <a:cubicBezTo>
                    <a:pt x="3" y="4"/>
                    <a:pt x="4" y="3"/>
                    <a:pt x="4" y="4"/>
                  </a:cubicBezTo>
                  <a:cubicBezTo>
                    <a:pt x="4" y="5"/>
                    <a:pt x="4" y="6"/>
                    <a:pt x="4" y="6"/>
                  </a:cubicBezTo>
                  <a:cubicBezTo>
                    <a:pt x="5" y="7"/>
                    <a:pt x="9" y="9"/>
                    <a:pt x="9" y="8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02" name="Freeform 412">
              <a:extLst>
                <a:ext uri="{FF2B5EF4-FFF2-40B4-BE49-F238E27FC236}">
                  <a16:creationId xmlns:a16="http://schemas.microsoft.com/office/drawing/2014/main" id="{F5A7F8F3-E604-1692-4358-6396D686E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868" y="4293862"/>
              <a:ext cx="13319" cy="13319"/>
            </a:xfrm>
            <a:custGeom>
              <a:avLst/>
              <a:gdLst>
                <a:gd name="T0" fmla="*/ 2 w 4"/>
                <a:gd name="T1" fmla="*/ 3 h 4"/>
                <a:gd name="T2" fmla="*/ 0 w 4"/>
                <a:gd name="T3" fmla="*/ 2 h 4"/>
                <a:gd name="T4" fmla="*/ 2 w 4"/>
                <a:gd name="T5" fmla="*/ 0 h 4"/>
                <a:gd name="T6" fmla="*/ 3 w 4"/>
                <a:gd name="T7" fmla="*/ 2 h 4"/>
                <a:gd name="T8" fmla="*/ 2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0" y="4"/>
                    <a:pt x="0" y="3"/>
                    <a:pt x="0" y="2"/>
                  </a:cubicBezTo>
                  <a:cubicBezTo>
                    <a:pt x="0" y="0"/>
                    <a:pt x="2" y="0"/>
                    <a:pt x="2" y="0"/>
                  </a:cubicBezTo>
                  <a:cubicBezTo>
                    <a:pt x="3" y="0"/>
                    <a:pt x="4" y="2"/>
                    <a:pt x="3" y="2"/>
                  </a:cubicBezTo>
                  <a:cubicBezTo>
                    <a:pt x="3" y="3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03" name="Freeform 413">
              <a:extLst>
                <a:ext uri="{FF2B5EF4-FFF2-40B4-BE49-F238E27FC236}">
                  <a16:creationId xmlns:a16="http://schemas.microsoft.com/office/drawing/2014/main" id="{26AF8E03-D82B-59D9-6536-E60F18D15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121" y="4355615"/>
              <a:ext cx="164676" cy="48434"/>
            </a:xfrm>
            <a:custGeom>
              <a:avLst/>
              <a:gdLst>
                <a:gd name="T0" fmla="*/ 10 w 51"/>
                <a:gd name="T1" fmla="*/ 0 h 15"/>
                <a:gd name="T2" fmla="*/ 8 w 51"/>
                <a:gd name="T3" fmla="*/ 1 h 15"/>
                <a:gd name="T4" fmla="*/ 4 w 51"/>
                <a:gd name="T5" fmla="*/ 0 h 15"/>
                <a:gd name="T6" fmla="*/ 2 w 51"/>
                <a:gd name="T7" fmla="*/ 2 h 15"/>
                <a:gd name="T8" fmla="*/ 0 w 51"/>
                <a:gd name="T9" fmla="*/ 4 h 15"/>
                <a:gd name="T10" fmla="*/ 4 w 51"/>
                <a:gd name="T11" fmla="*/ 5 h 15"/>
                <a:gd name="T12" fmla="*/ 6 w 51"/>
                <a:gd name="T13" fmla="*/ 6 h 15"/>
                <a:gd name="T14" fmla="*/ 10 w 51"/>
                <a:gd name="T15" fmla="*/ 8 h 15"/>
                <a:gd name="T16" fmla="*/ 15 w 51"/>
                <a:gd name="T17" fmla="*/ 10 h 15"/>
                <a:gd name="T18" fmla="*/ 19 w 51"/>
                <a:gd name="T19" fmla="*/ 9 h 15"/>
                <a:gd name="T20" fmla="*/ 29 w 51"/>
                <a:gd name="T21" fmla="*/ 12 h 15"/>
                <a:gd name="T22" fmla="*/ 39 w 51"/>
                <a:gd name="T23" fmla="*/ 13 h 15"/>
                <a:gd name="T24" fmla="*/ 43 w 51"/>
                <a:gd name="T25" fmla="*/ 13 h 15"/>
                <a:gd name="T26" fmla="*/ 50 w 51"/>
                <a:gd name="T27" fmla="*/ 15 h 15"/>
                <a:gd name="T28" fmla="*/ 50 w 51"/>
                <a:gd name="T29" fmla="*/ 13 h 15"/>
                <a:gd name="T30" fmla="*/ 49 w 51"/>
                <a:gd name="T31" fmla="*/ 11 h 15"/>
                <a:gd name="T32" fmla="*/ 47 w 51"/>
                <a:gd name="T33" fmla="*/ 9 h 15"/>
                <a:gd name="T34" fmla="*/ 43 w 51"/>
                <a:gd name="T35" fmla="*/ 10 h 15"/>
                <a:gd name="T36" fmla="*/ 40 w 51"/>
                <a:gd name="T37" fmla="*/ 8 h 15"/>
                <a:gd name="T38" fmla="*/ 38 w 51"/>
                <a:gd name="T39" fmla="*/ 5 h 15"/>
                <a:gd name="T40" fmla="*/ 31 w 51"/>
                <a:gd name="T41" fmla="*/ 3 h 15"/>
                <a:gd name="T42" fmla="*/ 29 w 51"/>
                <a:gd name="T43" fmla="*/ 3 h 15"/>
                <a:gd name="T44" fmla="*/ 23 w 51"/>
                <a:gd name="T45" fmla="*/ 5 h 15"/>
                <a:gd name="T46" fmla="*/ 17 w 51"/>
                <a:gd name="T47" fmla="*/ 2 h 15"/>
                <a:gd name="T48" fmla="*/ 14 w 51"/>
                <a:gd name="T49" fmla="*/ 2 h 15"/>
                <a:gd name="T50" fmla="*/ 10 w 51"/>
                <a:gd name="T5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" h="15">
                  <a:moveTo>
                    <a:pt x="10" y="0"/>
                  </a:moveTo>
                  <a:cubicBezTo>
                    <a:pt x="9" y="0"/>
                    <a:pt x="9" y="1"/>
                    <a:pt x="8" y="1"/>
                  </a:cubicBezTo>
                  <a:cubicBezTo>
                    <a:pt x="7" y="1"/>
                    <a:pt x="5" y="0"/>
                    <a:pt x="4" y="0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4"/>
                    <a:pt x="3" y="4"/>
                    <a:pt x="4" y="5"/>
                  </a:cubicBezTo>
                  <a:cubicBezTo>
                    <a:pt x="5" y="5"/>
                    <a:pt x="6" y="6"/>
                    <a:pt x="6" y="6"/>
                  </a:cubicBezTo>
                  <a:cubicBezTo>
                    <a:pt x="6" y="7"/>
                    <a:pt x="8" y="7"/>
                    <a:pt x="10" y="8"/>
                  </a:cubicBezTo>
                  <a:cubicBezTo>
                    <a:pt x="12" y="8"/>
                    <a:pt x="13" y="10"/>
                    <a:pt x="15" y="10"/>
                  </a:cubicBezTo>
                  <a:cubicBezTo>
                    <a:pt x="16" y="10"/>
                    <a:pt x="15" y="9"/>
                    <a:pt x="19" y="9"/>
                  </a:cubicBezTo>
                  <a:cubicBezTo>
                    <a:pt x="22" y="10"/>
                    <a:pt x="25" y="11"/>
                    <a:pt x="29" y="12"/>
                  </a:cubicBezTo>
                  <a:cubicBezTo>
                    <a:pt x="32" y="13"/>
                    <a:pt x="37" y="12"/>
                    <a:pt x="39" y="13"/>
                  </a:cubicBezTo>
                  <a:cubicBezTo>
                    <a:pt x="41" y="13"/>
                    <a:pt x="41" y="12"/>
                    <a:pt x="43" y="13"/>
                  </a:cubicBezTo>
                  <a:cubicBezTo>
                    <a:pt x="46" y="14"/>
                    <a:pt x="49" y="15"/>
                    <a:pt x="50" y="15"/>
                  </a:cubicBezTo>
                  <a:cubicBezTo>
                    <a:pt x="51" y="15"/>
                    <a:pt x="51" y="14"/>
                    <a:pt x="50" y="13"/>
                  </a:cubicBezTo>
                  <a:cubicBezTo>
                    <a:pt x="49" y="12"/>
                    <a:pt x="50" y="11"/>
                    <a:pt x="49" y="11"/>
                  </a:cubicBezTo>
                  <a:cubicBezTo>
                    <a:pt x="49" y="10"/>
                    <a:pt x="48" y="9"/>
                    <a:pt x="47" y="9"/>
                  </a:cubicBezTo>
                  <a:cubicBezTo>
                    <a:pt x="47" y="9"/>
                    <a:pt x="45" y="10"/>
                    <a:pt x="43" y="10"/>
                  </a:cubicBezTo>
                  <a:cubicBezTo>
                    <a:pt x="42" y="9"/>
                    <a:pt x="40" y="9"/>
                    <a:pt x="40" y="8"/>
                  </a:cubicBezTo>
                  <a:cubicBezTo>
                    <a:pt x="40" y="7"/>
                    <a:pt x="39" y="5"/>
                    <a:pt x="38" y="5"/>
                  </a:cubicBezTo>
                  <a:cubicBezTo>
                    <a:pt x="36" y="4"/>
                    <a:pt x="33" y="3"/>
                    <a:pt x="31" y="3"/>
                  </a:cubicBezTo>
                  <a:cubicBezTo>
                    <a:pt x="30" y="2"/>
                    <a:pt x="29" y="2"/>
                    <a:pt x="29" y="3"/>
                  </a:cubicBezTo>
                  <a:cubicBezTo>
                    <a:pt x="28" y="5"/>
                    <a:pt x="26" y="5"/>
                    <a:pt x="23" y="5"/>
                  </a:cubicBezTo>
                  <a:cubicBezTo>
                    <a:pt x="20" y="4"/>
                    <a:pt x="18" y="3"/>
                    <a:pt x="17" y="2"/>
                  </a:cubicBezTo>
                  <a:cubicBezTo>
                    <a:pt x="16" y="2"/>
                    <a:pt x="15" y="2"/>
                    <a:pt x="14" y="2"/>
                  </a:cubicBezTo>
                  <a:cubicBezTo>
                    <a:pt x="12" y="2"/>
                    <a:pt x="11" y="0"/>
                    <a:pt x="10" y="0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04" name="Freeform 414">
              <a:extLst>
                <a:ext uri="{FF2B5EF4-FFF2-40B4-BE49-F238E27FC236}">
                  <a16:creationId xmlns:a16="http://schemas.microsoft.com/office/drawing/2014/main" id="{0081105A-9DAF-B5B5-589B-1CAE2CAB3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7683" y="4371356"/>
              <a:ext cx="23006" cy="7265"/>
            </a:xfrm>
            <a:custGeom>
              <a:avLst/>
              <a:gdLst>
                <a:gd name="T0" fmla="*/ 2 w 7"/>
                <a:gd name="T1" fmla="*/ 2 h 2"/>
                <a:gd name="T2" fmla="*/ 1 w 7"/>
                <a:gd name="T3" fmla="*/ 1 h 2"/>
                <a:gd name="T4" fmla="*/ 7 w 7"/>
                <a:gd name="T5" fmla="*/ 0 h 2"/>
                <a:gd name="T6" fmla="*/ 5 w 7"/>
                <a:gd name="T7" fmla="*/ 2 h 2"/>
                <a:gd name="T8" fmla="*/ 2 w 7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2" y="2"/>
                  </a:move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7" y="0"/>
                    <a:pt x="7" y="0"/>
                  </a:cubicBezTo>
                  <a:cubicBezTo>
                    <a:pt x="7" y="1"/>
                    <a:pt x="5" y="2"/>
                    <a:pt x="5" y="2"/>
                  </a:cubicBezTo>
                  <a:cubicBezTo>
                    <a:pt x="4" y="2"/>
                    <a:pt x="3" y="2"/>
                    <a:pt x="2" y="2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05" name="Freeform 415">
              <a:extLst>
                <a:ext uri="{FF2B5EF4-FFF2-40B4-BE49-F238E27FC236}">
                  <a16:creationId xmlns:a16="http://schemas.microsoft.com/office/drawing/2014/main" id="{FC336CEC-FC3D-F26C-3DC7-0A4BE36FF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0376" y="4390729"/>
              <a:ext cx="21795" cy="19374"/>
            </a:xfrm>
            <a:custGeom>
              <a:avLst/>
              <a:gdLst>
                <a:gd name="T0" fmla="*/ 4 w 7"/>
                <a:gd name="T1" fmla="*/ 0 h 6"/>
                <a:gd name="T2" fmla="*/ 1 w 7"/>
                <a:gd name="T3" fmla="*/ 1 h 6"/>
                <a:gd name="T4" fmla="*/ 2 w 7"/>
                <a:gd name="T5" fmla="*/ 3 h 6"/>
                <a:gd name="T6" fmla="*/ 4 w 7"/>
                <a:gd name="T7" fmla="*/ 5 h 6"/>
                <a:gd name="T8" fmla="*/ 6 w 7"/>
                <a:gd name="T9" fmla="*/ 2 h 6"/>
                <a:gd name="T10" fmla="*/ 4 w 7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4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1" y="2"/>
                    <a:pt x="1" y="2"/>
                    <a:pt x="2" y="3"/>
                  </a:cubicBezTo>
                  <a:cubicBezTo>
                    <a:pt x="3" y="4"/>
                    <a:pt x="2" y="6"/>
                    <a:pt x="4" y="5"/>
                  </a:cubicBezTo>
                  <a:cubicBezTo>
                    <a:pt x="5" y="3"/>
                    <a:pt x="7" y="3"/>
                    <a:pt x="6" y="2"/>
                  </a:cubicBezTo>
                  <a:cubicBezTo>
                    <a:pt x="5" y="2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06" name="Freeform 416">
              <a:extLst>
                <a:ext uri="{FF2B5EF4-FFF2-40B4-BE49-F238E27FC236}">
                  <a16:creationId xmlns:a16="http://schemas.microsoft.com/office/drawing/2014/main" id="{D8B3F24F-A02A-6C37-479C-091044BE4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2171" y="4397994"/>
              <a:ext cx="16952" cy="9687"/>
            </a:xfrm>
            <a:custGeom>
              <a:avLst/>
              <a:gdLst>
                <a:gd name="T0" fmla="*/ 5 w 5"/>
                <a:gd name="T1" fmla="*/ 1 h 3"/>
                <a:gd name="T2" fmla="*/ 2 w 5"/>
                <a:gd name="T3" fmla="*/ 0 h 3"/>
                <a:gd name="T4" fmla="*/ 1 w 5"/>
                <a:gd name="T5" fmla="*/ 2 h 3"/>
                <a:gd name="T6" fmla="*/ 3 w 5"/>
                <a:gd name="T7" fmla="*/ 3 h 3"/>
                <a:gd name="T8" fmla="*/ 5 w 5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5" y="1"/>
                  </a:moveTo>
                  <a:cubicBezTo>
                    <a:pt x="4" y="0"/>
                    <a:pt x="3" y="0"/>
                    <a:pt x="2" y="0"/>
                  </a:cubicBezTo>
                  <a:cubicBezTo>
                    <a:pt x="1" y="1"/>
                    <a:pt x="0" y="2"/>
                    <a:pt x="1" y="2"/>
                  </a:cubicBezTo>
                  <a:cubicBezTo>
                    <a:pt x="1" y="2"/>
                    <a:pt x="2" y="3"/>
                    <a:pt x="3" y="3"/>
                  </a:cubicBezTo>
                  <a:cubicBezTo>
                    <a:pt x="4" y="2"/>
                    <a:pt x="5" y="2"/>
                    <a:pt x="5" y="1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07" name="Freeform 417">
              <a:extLst>
                <a:ext uri="{FF2B5EF4-FFF2-40B4-BE49-F238E27FC236}">
                  <a16:creationId xmlns:a16="http://schemas.microsoft.com/office/drawing/2014/main" id="{18888531-8ACD-F5B4-B730-45778100C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9123" y="4397994"/>
              <a:ext cx="21795" cy="12108"/>
            </a:xfrm>
            <a:custGeom>
              <a:avLst/>
              <a:gdLst>
                <a:gd name="T0" fmla="*/ 2 w 7"/>
                <a:gd name="T1" fmla="*/ 1 h 4"/>
                <a:gd name="T2" fmla="*/ 0 w 7"/>
                <a:gd name="T3" fmla="*/ 3 h 4"/>
                <a:gd name="T4" fmla="*/ 2 w 7"/>
                <a:gd name="T5" fmla="*/ 4 h 4"/>
                <a:gd name="T6" fmla="*/ 6 w 7"/>
                <a:gd name="T7" fmla="*/ 4 h 4"/>
                <a:gd name="T8" fmla="*/ 6 w 7"/>
                <a:gd name="T9" fmla="*/ 2 h 4"/>
                <a:gd name="T10" fmla="*/ 5 w 7"/>
                <a:gd name="T11" fmla="*/ 1 h 4"/>
                <a:gd name="T12" fmla="*/ 3 w 7"/>
                <a:gd name="T13" fmla="*/ 0 h 4"/>
                <a:gd name="T14" fmla="*/ 2 w 7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4">
                  <a:moveTo>
                    <a:pt x="2" y="1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0" y="3"/>
                    <a:pt x="0" y="4"/>
                    <a:pt x="2" y="4"/>
                  </a:cubicBezTo>
                  <a:cubicBezTo>
                    <a:pt x="3" y="4"/>
                    <a:pt x="5" y="4"/>
                    <a:pt x="6" y="4"/>
                  </a:cubicBezTo>
                  <a:cubicBezTo>
                    <a:pt x="6" y="3"/>
                    <a:pt x="7" y="4"/>
                    <a:pt x="6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08" name="Freeform 418">
              <a:extLst>
                <a:ext uri="{FF2B5EF4-FFF2-40B4-BE49-F238E27FC236}">
                  <a16:creationId xmlns:a16="http://schemas.microsoft.com/office/drawing/2014/main" id="{CE9E7E81-3D91-5479-26A4-AB8B6BFAA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1232" y="4394362"/>
              <a:ext cx="36326" cy="15741"/>
            </a:xfrm>
            <a:custGeom>
              <a:avLst/>
              <a:gdLst>
                <a:gd name="T0" fmla="*/ 2 w 11"/>
                <a:gd name="T1" fmla="*/ 0 h 5"/>
                <a:gd name="T2" fmla="*/ 1 w 11"/>
                <a:gd name="T3" fmla="*/ 1 h 5"/>
                <a:gd name="T4" fmla="*/ 3 w 11"/>
                <a:gd name="T5" fmla="*/ 2 h 5"/>
                <a:gd name="T6" fmla="*/ 5 w 11"/>
                <a:gd name="T7" fmla="*/ 4 h 5"/>
                <a:gd name="T8" fmla="*/ 9 w 11"/>
                <a:gd name="T9" fmla="*/ 4 h 5"/>
                <a:gd name="T10" fmla="*/ 8 w 11"/>
                <a:gd name="T11" fmla="*/ 1 h 5"/>
                <a:gd name="T12" fmla="*/ 2 w 11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5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3" y="1"/>
                    <a:pt x="3" y="2"/>
                  </a:cubicBezTo>
                  <a:cubicBezTo>
                    <a:pt x="3" y="3"/>
                    <a:pt x="2" y="4"/>
                    <a:pt x="5" y="4"/>
                  </a:cubicBezTo>
                  <a:cubicBezTo>
                    <a:pt x="7" y="4"/>
                    <a:pt x="9" y="5"/>
                    <a:pt x="9" y="4"/>
                  </a:cubicBezTo>
                  <a:cubicBezTo>
                    <a:pt x="9" y="2"/>
                    <a:pt x="11" y="2"/>
                    <a:pt x="8" y="1"/>
                  </a:cubicBezTo>
                  <a:cubicBezTo>
                    <a:pt x="6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09" name="Freeform 419">
              <a:extLst>
                <a:ext uri="{FF2B5EF4-FFF2-40B4-BE49-F238E27FC236}">
                  <a16:creationId xmlns:a16="http://schemas.microsoft.com/office/drawing/2014/main" id="{881D5B17-000D-3130-4E0C-67EC1A8DD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3612" y="4397994"/>
              <a:ext cx="44802" cy="9687"/>
            </a:xfrm>
            <a:custGeom>
              <a:avLst/>
              <a:gdLst>
                <a:gd name="T0" fmla="*/ 3 w 14"/>
                <a:gd name="T1" fmla="*/ 0 h 3"/>
                <a:gd name="T2" fmla="*/ 0 w 14"/>
                <a:gd name="T3" fmla="*/ 1 h 3"/>
                <a:gd name="T4" fmla="*/ 1 w 14"/>
                <a:gd name="T5" fmla="*/ 2 h 3"/>
                <a:gd name="T6" fmla="*/ 6 w 14"/>
                <a:gd name="T7" fmla="*/ 3 h 3"/>
                <a:gd name="T8" fmla="*/ 13 w 14"/>
                <a:gd name="T9" fmla="*/ 3 h 3"/>
                <a:gd name="T10" fmla="*/ 12 w 14"/>
                <a:gd name="T11" fmla="*/ 1 h 3"/>
                <a:gd name="T12" fmla="*/ 10 w 14"/>
                <a:gd name="T13" fmla="*/ 2 h 3"/>
                <a:gd name="T14" fmla="*/ 6 w 14"/>
                <a:gd name="T15" fmla="*/ 1 h 3"/>
                <a:gd name="T16" fmla="*/ 3 w 14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3">
                  <a:moveTo>
                    <a:pt x="3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3" y="2"/>
                    <a:pt x="4" y="2"/>
                    <a:pt x="6" y="3"/>
                  </a:cubicBezTo>
                  <a:cubicBezTo>
                    <a:pt x="9" y="3"/>
                    <a:pt x="12" y="3"/>
                    <a:pt x="13" y="3"/>
                  </a:cubicBezTo>
                  <a:cubicBezTo>
                    <a:pt x="14" y="2"/>
                    <a:pt x="13" y="1"/>
                    <a:pt x="12" y="1"/>
                  </a:cubicBezTo>
                  <a:cubicBezTo>
                    <a:pt x="12" y="1"/>
                    <a:pt x="12" y="2"/>
                    <a:pt x="10" y="2"/>
                  </a:cubicBezTo>
                  <a:cubicBezTo>
                    <a:pt x="8" y="2"/>
                    <a:pt x="7" y="1"/>
                    <a:pt x="6" y="1"/>
                  </a:cubicBezTo>
                  <a:cubicBezTo>
                    <a:pt x="4" y="1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10" name="Freeform 420">
              <a:extLst>
                <a:ext uri="{FF2B5EF4-FFF2-40B4-BE49-F238E27FC236}">
                  <a16:creationId xmlns:a16="http://schemas.microsoft.com/office/drawing/2014/main" id="{5A8FD45B-F802-7356-015A-D7A0564A3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870" y="4419790"/>
              <a:ext cx="38747" cy="13319"/>
            </a:xfrm>
            <a:custGeom>
              <a:avLst/>
              <a:gdLst>
                <a:gd name="T0" fmla="*/ 1 w 12"/>
                <a:gd name="T1" fmla="*/ 0 h 4"/>
                <a:gd name="T2" fmla="*/ 4 w 12"/>
                <a:gd name="T3" fmla="*/ 1 h 4"/>
                <a:gd name="T4" fmla="*/ 9 w 12"/>
                <a:gd name="T5" fmla="*/ 4 h 4"/>
                <a:gd name="T6" fmla="*/ 7 w 12"/>
                <a:gd name="T7" fmla="*/ 0 h 4"/>
                <a:gd name="T8" fmla="*/ 1 w 1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4">
                  <a:moveTo>
                    <a:pt x="1" y="0"/>
                  </a:moveTo>
                  <a:cubicBezTo>
                    <a:pt x="0" y="0"/>
                    <a:pt x="2" y="0"/>
                    <a:pt x="4" y="1"/>
                  </a:cubicBezTo>
                  <a:cubicBezTo>
                    <a:pt x="6" y="2"/>
                    <a:pt x="9" y="4"/>
                    <a:pt x="9" y="4"/>
                  </a:cubicBezTo>
                  <a:cubicBezTo>
                    <a:pt x="12" y="3"/>
                    <a:pt x="9" y="1"/>
                    <a:pt x="7" y="0"/>
                  </a:cubicBezTo>
                  <a:cubicBezTo>
                    <a:pt x="5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11" name="Freeform 421">
              <a:extLst>
                <a:ext uri="{FF2B5EF4-FFF2-40B4-BE49-F238E27FC236}">
                  <a16:creationId xmlns:a16="http://schemas.microsoft.com/office/drawing/2014/main" id="{EEE4C7A0-876F-4194-F4C8-21D6C7DA6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7432" y="4303548"/>
              <a:ext cx="19374" cy="13319"/>
            </a:xfrm>
            <a:custGeom>
              <a:avLst/>
              <a:gdLst>
                <a:gd name="T0" fmla="*/ 3 w 6"/>
                <a:gd name="T1" fmla="*/ 4 h 4"/>
                <a:gd name="T2" fmla="*/ 1 w 6"/>
                <a:gd name="T3" fmla="*/ 1 h 4"/>
                <a:gd name="T4" fmla="*/ 5 w 6"/>
                <a:gd name="T5" fmla="*/ 1 h 4"/>
                <a:gd name="T6" fmla="*/ 3 w 6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cubicBezTo>
                    <a:pt x="1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6" y="1"/>
                    <a:pt x="5" y="4"/>
                    <a:pt x="3" y="4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12" name="Freeform 422">
              <a:extLst>
                <a:ext uri="{FF2B5EF4-FFF2-40B4-BE49-F238E27FC236}">
                  <a16:creationId xmlns:a16="http://schemas.microsoft.com/office/drawing/2014/main" id="{AF97F482-29CB-6034-1E9C-8E1540654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2547" y="4297494"/>
              <a:ext cx="52067" cy="21795"/>
            </a:xfrm>
            <a:custGeom>
              <a:avLst/>
              <a:gdLst>
                <a:gd name="T0" fmla="*/ 2 w 16"/>
                <a:gd name="T1" fmla="*/ 4 h 7"/>
                <a:gd name="T2" fmla="*/ 1 w 16"/>
                <a:gd name="T3" fmla="*/ 2 h 7"/>
                <a:gd name="T4" fmla="*/ 4 w 16"/>
                <a:gd name="T5" fmla="*/ 1 h 7"/>
                <a:gd name="T6" fmla="*/ 9 w 16"/>
                <a:gd name="T7" fmla="*/ 1 h 7"/>
                <a:gd name="T8" fmla="*/ 15 w 16"/>
                <a:gd name="T9" fmla="*/ 4 h 7"/>
                <a:gd name="T10" fmla="*/ 15 w 16"/>
                <a:gd name="T11" fmla="*/ 6 h 7"/>
                <a:gd name="T12" fmla="*/ 8 w 16"/>
                <a:gd name="T13" fmla="*/ 3 h 7"/>
                <a:gd name="T14" fmla="*/ 2 w 16"/>
                <a:gd name="T15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7">
                  <a:moveTo>
                    <a:pt x="2" y="4"/>
                  </a:moveTo>
                  <a:cubicBezTo>
                    <a:pt x="1" y="4"/>
                    <a:pt x="0" y="3"/>
                    <a:pt x="1" y="2"/>
                  </a:cubicBezTo>
                  <a:cubicBezTo>
                    <a:pt x="2" y="1"/>
                    <a:pt x="2" y="1"/>
                    <a:pt x="4" y="1"/>
                  </a:cubicBezTo>
                  <a:cubicBezTo>
                    <a:pt x="6" y="2"/>
                    <a:pt x="7" y="0"/>
                    <a:pt x="9" y="1"/>
                  </a:cubicBezTo>
                  <a:cubicBezTo>
                    <a:pt x="11" y="1"/>
                    <a:pt x="15" y="3"/>
                    <a:pt x="15" y="4"/>
                  </a:cubicBezTo>
                  <a:cubicBezTo>
                    <a:pt x="16" y="6"/>
                    <a:pt x="16" y="7"/>
                    <a:pt x="15" y="6"/>
                  </a:cubicBezTo>
                  <a:cubicBezTo>
                    <a:pt x="13" y="5"/>
                    <a:pt x="11" y="3"/>
                    <a:pt x="8" y="3"/>
                  </a:cubicBezTo>
                  <a:cubicBezTo>
                    <a:pt x="5" y="4"/>
                    <a:pt x="3" y="4"/>
                    <a:pt x="2" y="4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13" name="Freeform 423">
              <a:extLst>
                <a:ext uri="{FF2B5EF4-FFF2-40B4-BE49-F238E27FC236}">
                  <a16:creationId xmlns:a16="http://schemas.microsoft.com/office/drawing/2014/main" id="{9A7187B0-7D8E-BC57-8265-A47400B80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870" y="4218789"/>
              <a:ext cx="116242" cy="127139"/>
            </a:xfrm>
            <a:custGeom>
              <a:avLst/>
              <a:gdLst>
                <a:gd name="T0" fmla="*/ 15 w 36"/>
                <a:gd name="T1" fmla="*/ 35 h 39"/>
                <a:gd name="T2" fmla="*/ 15 w 36"/>
                <a:gd name="T3" fmla="*/ 32 h 39"/>
                <a:gd name="T4" fmla="*/ 12 w 36"/>
                <a:gd name="T5" fmla="*/ 29 h 39"/>
                <a:gd name="T6" fmla="*/ 12 w 36"/>
                <a:gd name="T7" fmla="*/ 24 h 39"/>
                <a:gd name="T8" fmla="*/ 8 w 36"/>
                <a:gd name="T9" fmla="*/ 25 h 39"/>
                <a:gd name="T10" fmla="*/ 8 w 36"/>
                <a:gd name="T11" fmla="*/ 29 h 39"/>
                <a:gd name="T12" fmla="*/ 8 w 36"/>
                <a:gd name="T13" fmla="*/ 32 h 39"/>
                <a:gd name="T14" fmla="*/ 8 w 36"/>
                <a:gd name="T15" fmla="*/ 35 h 39"/>
                <a:gd name="T16" fmla="*/ 7 w 36"/>
                <a:gd name="T17" fmla="*/ 38 h 39"/>
                <a:gd name="T18" fmla="*/ 6 w 36"/>
                <a:gd name="T19" fmla="*/ 39 h 39"/>
                <a:gd name="T20" fmla="*/ 3 w 36"/>
                <a:gd name="T21" fmla="*/ 38 h 39"/>
                <a:gd name="T22" fmla="*/ 4 w 36"/>
                <a:gd name="T23" fmla="*/ 32 h 39"/>
                <a:gd name="T24" fmla="*/ 2 w 36"/>
                <a:gd name="T25" fmla="*/ 28 h 39"/>
                <a:gd name="T26" fmla="*/ 0 w 36"/>
                <a:gd name="T27" fmla="*/ 26 h 39"/>
                <a:gd name="T28" fmla="*/ 1 w 36"/>
                <a:gd name="T29" fmla="*/ 22 h 39"/>
                <a:gd name="T30" fmla="*/ 2 w 36"/>
                <a:gd name="T31" fmla="*/ 17 h 39"/>
                <a:gd name="T32" fmla="*/ 5 w 36"/>
                <a:gd name="T33" fmla="*/ 12 h 39"/>
                <a:gd name="T34" fmla="*/ 5 w 36"/>
                <a:gd name="T35" fmla="*/ 8 h 39"/>
                <a:gd name="T36" fmla="*/ 7 w 36"/>
                <a:gd name="T37" fmla="*/ 4 h 39"/>
                <a:gd name="T38" fmla="*/ 10 w 36"/>
                <a:gd name="T39" fmla="*/ 4 h 39"/>
                <a:gd name="T40" fmla="*/ 12 w 36"/>
                <a:gd name="T41" fmla="*/ 2 h 39"/>
                <a:gd name="T42" fmla="*/ 18 w 36"/>
                <a:gd name="T43" fmla="*/ 4 h 39"/>
                <a:gd name="T44" fmla="*/ 25 w 36"/>
                <a:gd name="T45" fmla="*/ 4 h 39"/>
                <a:gd name="T46" fmla="*/ 32 w 36"/>
                <a:gd name="T47" fmla="*/ 2 h 39"/>
                <a:gd name="T48" fmla="*/ 35 w 36"/>
                <a:gd name="T49" fmla="*/ 1 h 39"/>
                <a:gd name="T50" fmla="*/ 32 w 36"/>
                <a:gd name="T51" fmla="*/ 6 h 39"/>
                <a:gd name="T52" fmla="*/ 28 w 36"/>
                <a:gd name="T53" fmla="*/ 7 h 39"/>
                <a:gd name="T54" fmla="*/ 21 w 36"/>
                <a:gd name="T55" fmla="*/ 6 h 39"/>
                <a:gd name="T56" fmla="*/ 12 w 36"/>
                <a:gd name="T57" fmla="*/ 7 h 39"/>
                <a:gd name="T58" fmla="*/ 8 w 36"/>
                <a:gd name="T59" fmla="*/ 7 h 39"/>
                <a:gd name="T60" fmla="*/ 7 w 36"/>
                <a:gd name="T61" fmla="*/ 11 h 39"/>
                <a:gd name="T62" fmla="*/ 9 w 36"/>
                <a:gd name="T63" fmla="*/ 14 h 39"/>
                <a:gd name="T64" fmla="*/ 12 w 36"/>
                <a:gd name="T65" fmla="*/ 17 h 39"/>
                <a:gd name="T66" fmla="*/ 15 w 36"/>
                <a:gd name="T67" fmla="*/ 14 h 39"/>
                <a:gd name="T68" fmla="*/ 20 w 36"/>
                <a:gd name="T69" fmla="*/ 14 h 39"/>
                <a:gd name="T70" fmla="*/ 22 w 36"/>
                <a:gd name="T71" fmla="*/ 14 h 39"/>
                <a:gd name="T72" fmla="*/ 20 w 36"/>
                <a:gd name="T73" fmla="*/ 16 h 39"/>
                <a:gd name="T74" fmla="*/ 15 w 36"/>
                <a:gd name="T75" fmla="*/ 19 h 39"/>
                <a:gd name="T76" fmla="*/ 14 w 36"/>
                <a:gd name="T77" fmla="*/ 19 h 39"/>
                <a:gd name="T78" fmla="*/ 17 w 36"/>
                <a:gd name="T79" fmla="*/ 23 h 39"/>
                <a:gd name="T80" fmla="*/ 19 w 36"/>
                <a:gd name="T81" fmla="*/ 27 h 39"/>
                <a:gd name="T82" fmla="*/ 20 w 36"/>
                <a:gd name="T83" fmla="*/ 30 h 39"/>
                <a:gd name="T84" fmla="*/ 22 w 36"/>
                <a:gd name="T85" fmla="*/ 31 h 39"/>
                <a:gd name="T86" fmla="*/ 23 w 36"/>
                <a:gd name="T87" fmla="*/ 32 h 39"/>
                <a:gd name="T88" fmla="*/ 20 w 36"/>
                <a:gd name="T89" fmla="*/ 34 h 39"/>
                <a:gd name="T90" fmla="*/ 18 w 36"/>
                <a:gd name="T91" fmla="*/ 35 h 39"/>
                <a:gd name="T92" fmla="*/ 15 w 36"/>
                <a:gd name="T93" fmla="*/ 3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" h="39">
                  <a:moveTo>
                    <a:pt x="15" y="35"/>
                  </a:moveTo>
                  <a:cubicBezTo>
                    <a:pt x="14" y="34"/>
                    <a:pt x="16" y="33"/>
                    <a:pt x="15" y="32"/>
                  </a:cubicBezTo>
                  <a:cubicBezTo>
                    <a:pt x="13" y="31"/>
                    <a:pt x="11" y="30"/>
                    <a:pt x="12" y="29"/>
                  </a:cubicBezTo>
                  <a:cubicBezTo>
                    <a:pt x="12" y="27"/>
                    <a:pt x="14" y="24"/>
                    <a:pt x="12" y="24"/>
                  </a:cubicBezTo>
                  <a:cubicBezTo>
                    <a:pt x="11" y="24"/>
                    <a:pt x="8" y="23"/>
                    <a:pt x="8" y="25"/>
                  </a:cubicBezTo>
                  <a:cubicBezTo>
                    <a:pt x="8" y="27"/>
                    <a:pt x="8" y="28"/>
                    <a:pt x="8" y="29"/>
                  </a:cubicBezTo>
                  <a:cubicBezTo>
                    <a:pt x="8" y="29"/>
                    <a:pt x="8" y="31"/>
                    <a:pt x="8" y="32"/>
                  </a:cubicBezTo>
                  <a:cubicBezTo>
                    <a:pt x="8" y="32"/>
                    <a:pt x="9" y="34"/>
                    <a:pt x="8" y="35"/>
                  </a:cubicBezTo>
                  <a:cubicBezTo>
                    <a:pt x="8" y="36"/>
                    <a:pt x="7" y="37"/>
                    <a:pt x="7" y="38"/>
                  </a:cubicBezTo>
                  <a:cubicBezTo>
                    <a:pt x="7" y="38"/>
                    <a:pt x="8" y="39"/>
                    <a:pt x="6" y="39"/>
                  </a:cubicBezTo>
                  <a:cubicBezTo>
                    <a:pt x="4" y="39"/>
                    <a:pt x="2" y="39"/>
                    <a:pt x="3" y="38"/>
                  </a:cubicBezTo>
                  <a:cubicBezTo>
                    <a:pt x="3" y="36"/>
                    <a:pt x="5" y="34"/>
                    <a:pt x="4" y="32"/>
                  </a:cubicBezTo>
                  <a:cubicBezTo>
                    <a:pt x="3" y="30"/>
                    <a:pt x="3" y="29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4"/>
                    <a:pt x="0" y="23"/>
                    <a:pt x="1" y="22"/>
                  </a:cubicBezTo>
                  <a:cubicBezTo>
                    <a:pt x="1" y="22"/>
                    <a:pt x="2" y="19"/>
                    <a:pt x="2" y="17"/>
                  </a:cubicBezTo>
                  <a:cubicBezTo>
                    <a:pt x="3" y="14"/>
                    <a:pt x="4" y="14"/>
                    <a:pt x="5" y="12"/>
                  </a:cubicBezTo>
                  <a:cubicBezTo>
                    <a:pt x="5" y="10"/>
                    <a:pt x="4" y="10"/>
                    <a:pt x="5" y="8"/>
                  </a:cubicBezTo>
                  <a:cubicBezTo>
                    <a:pt x="6" y="6"/>
                    <a:pt x="7" y="5"/>
                    <a:pt x="7" y="4"/>
                  </a:cubicBezTo>
                  <a:cubicBezTo>
                    <a:pt x="8" y="4"/>
                    <a:pt x="10" y="5"/>
                    <a:pt x="10" y="4"/>
                  </a:cubicBezTo>
                  <a:cubicBezTo>
                    <a:pt x="11" y="3"/>
                    <a:pt x="10" y="2"/>
                    <a:pt x="12" y="2"/>
                  </a:cubicBezTo>
                  <a:cubicBezTo>
                    <a:pt x="14" y="2"/>
                    <a:pt x="15" y="4"/>
                    <a:pt x="18" y="4"/>
                  </a:cubicBezTo>
                  <a:cubicBezTo>
                    <a:pt x="20" y="4"/>
                    <a:pt x="24" y="4"/>
                    <a:pt x="25" y="4"/>
                  </a:cubicBezTo>
                  <a:cubicBezTo>
                    <a:pt x="27" y="4"/>
                    <a:pt x="29" y="3"/>
                    <a:pt x="32" y="2"/>
                  </a:cubicBezTo>
                  <a:cubicBezTo>
                    <a:pt x="34" y="0"/>
                    <a:pt x="36" y="0"/>
                    <a:pt x="35" y="1"/>
                  </a:cubicBezTo>
                  <a:cubicBezTo>
                    <a:pt x="34" y="2"/>
                    <a:pt x="33" y="5"/>
                    <a:pt x="32" y="6"/>
                  </a:cubicBezTo>
                  <a:cubicBezTo>
                    <a:pt x="31" y="6"/>
                    <a:pt x="30" y="7"/>
                    <a:pt x="28" y="7"/>
                  </a:cubicBezTo>
                  <a:cubicBezTo>
                    <a:pt x="25" y="7"/>
                    <a:pt x="23" y="6"/>
                    <a:pt x="21" y="6"/>
                  </a:cubicBezTo>
                  <a:cubicBezTo>
                    <a:pt x="19" y="6"/>
                    <a:pt x="14" y="7"/>
                    <a:pt x="12" y="7"/>
                  </a:cubicBezTo>
                  <a:cubicBezTo>
                    <a:pt x="11" y="7"/>
                    <a:pt x="8" y="6"/>
                    <a:pt x="8" y="7"/>
                  </a:cubicBezTo>
                  <a:cubicBezTo>
                    <a:pt x="7" y="7"/>
                    <a:pt x="7" y="9"/>
                    <a:pt x="7" y="11"/>
                  </a:cubicBezTo>
                  <a:cubicBezTo>
                    <a:pt x="7" y="12"/>
                    <a:pt x="7" y="13"/>
                    <a:pt x="9" y="14"/>
                  </a:cubicBezTo>
                  <a:cubicBezTo>
                    <a:pt x="10" y="15"/>
                    <a:pt x="10" y="17"/>
                    <a:pt x="12" y="17"/>
                  </a:cubicBezTo>
                  <a:cubicBezTo>
                    <a:pt x="14" y="16"/>
                    <a:pt x="13" y="14"/>
                    <a:pt x="15" y="14"/>
                  </a:cubicBezTo>
                  <a:cubicBezTo>
                    <a:pt x="16" y="14"/>
                    <a:pt x="19" y="14"/>
                    <a:pt x="20" y="14"/>
                  </a:cubicBezTo>
                  <a:cubicBezTo>
                    <a:pt x="21" y="13"/>
                    <a:pt x="23" y="13"/>
                    <a:pt x="22" y="14"/>
                  </a:cubicBezTo>
                  <a:cubicBezTo>
                    <a:pt x="22" y="15"/>
                    <a:pt x="21" y="16"/>
                    <a:pt x="20" y="16"/>
                  </a:cubicBezTo>
                  <a:cubicBezTo>
                    <a:pt x="19" y="17"/>
                    <a:pt x="16" y="20"/>
                    <a:pt x="15" y="19"/>
                  </a:cubicBezTo>
                  <a:cubicBezTo>
                    <a:pt x="15" y="19"/>
                    <a:pt x="14" y="18"/>
                    <a:pt x="14" y="19"/>
                  </a:cubicBezTo>
                  <a:cubicBezTo>
                    <a:pt x="14" y="20"/>
                    <a:pt x="15" y="21"/>
                    <a:pt x="17" y="23"/>
                  </a:cubicBezTo>
                  <a:cubicBezTo>
                    <a:pt x="18" y="24"/>
                    <a:pt x="20" y="25"/>
                    <a:pt x="19" y="27"/>
                  </a:cubicBezTo>
                  <a:cubicBezTo>
                    <a:pt x="19" y="28"/>
                    <a:pt x="19" y="30"/>
                    <a:pt x="20" y="30"/>
                  </a:cubicBezTo>
                  <a:cubicBezTo>
                    <a:pt x="21" y="30"/>
                    <a:pt x="21" y="31"/>
                    <a:pt x="22" y="31"/>
                  </a:cubicBezTo>
                  <a:cubicBezTo>
                    <a:pt x="23" y="32"/>
                    <a:pt x="24" y="32"/>
                    <a:pt x="23" y="32"/>
                  </a:cubicBezTo>
                  <a:cubicBezTo>
                    <a:pt x="21" y="33"/>
                    <a:pt x="21" y="34"/>
                    <a:pt x="20" y="34"/>
                  </a:cubicBezTo>
                  <a:cubicBezTo>
                    <a:pt x="19" y="34"/>
                    <a:pt x="19" y="34"/>
                    <a:pt x="18" y="35"/>
                  </a:cubicBezTo>
                  <a:cubicBezTo>
                    <a:pt x="17" y="36"/>
                    <a:pt x="15" y="36"/>
                    <a:pt x="15" y="35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14" name="Freeform 424">
              <a:extLst>
                <a:ext uri="{FF2B5EF4-FFF2-40B4-BE49-F238E27FC236}">
                  <a16:creationId xmlns:a16="http://schemas.microsoft.com/office/drawing/2014/main" id="{5069668C-5FBF-EDEA-ADA4-EA3193FF7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9227" y="4206681"/>
              <a:ext cx="29061" cy="58121"/>
            </a:xfrm>
            <a:custGeom>
              <a:avLst/>
              <a:gdLst>
                <a:gd name="T0" fmla="*/ 4 w 9"/>
                <a:gd name="T1" fmla="*/ 4 h 18"/>
                <a:gd name="T2" fmla="*/ 3 w 9"/>
                <a:gd name="T3" fmla="*/ 2 h 18"/>
                <a:gd name="T4" fmla="*/ 2 w 9"/>
                <a:gd name="T5" fmla="*/ 2 h 18"/>
                <a:gd name="T6" fmla="*/ 1 w 9"/>
                <a:gd name="T7" fmla="*/ 7 h 18"/>
                <a:gd name="T8" fmla="*/ 1 w 9"/>
                <a:gd name="T9" fmla="*/ 9 h 18"/>
                <a:gd name="T10" fmla="*/ 3 w 9"/>
                <a:gd name="T11" fmla="*/ 16 h 18"/>
                <a:gd name="T12" fmla="*/ 6 w 9"/>
                <a:gd name="T13" fmla="*/ 17 h 18"/>
                <a:gd name="T14" fmla="*/ 4 w 9"/>
                <a:gd name="T15" fmla="*/ 12 h 18"/>
                <a:gd name="T16" fmla="*/ 6 w 9"/>
                <a:gd name="T17" fmla="*/ 11 h 18"/>
                <a:gd name="T18" fmla="*/ 8 w 9"/>
                <a:gd name="T19" fmla="*/ 11 h 18"/>
                <a:gd name="T20" fmla="*/ 6 w 9"/>
                <a:gd name="T21" fmla="*/ 8 h 18"/>
                <a:gd name="T22" fmla="*/ 7 w 9"/>
                <a:gd name="T23" fmla="*/ 6 h 18"/>
                <a:gd name="T24" fmla="*/ 5 w 9"/>
                <a:gd name="T25" fmla="*/ 5 h 18"/>
                <a:gd name="T26" fmla="*/ 2 w 9"/>
                <a:gd name="T27" fmla="*/ 7 h 18"/>
                <a:gd name="T28" fmla="*/ 4 w 9"/>
                <a:gd name="T2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8">
                  <a:moveTo>
                    <a:pt x="4" y="4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0"/>
                    <a:pt x="2" y="2"/>
                  </a:cubicBezTo>
                  <a:cubicBezTo>
                    <a:pt x="1" y="3"/>
                    <a:pt x="0" y="5"/>
                    <a:pt x="1" y="7"/>
                  </a:cubicBezTo>
                  <a:cubicBezTo>
                    <a:pt x="1" y="8"/>
                    <a:pt x="1" y="8"/>
                    <a:pt x="1" y="9"/>
                  </a:cubicBezTo>
                  <a:cubicBezTo>
                    <a:pt x="1" y="11"/>
                    <a:pt x="2" y="15"/>
                    <a:pt x="3" y="16"/>
                  </a:cubicBezTo>
                  <a:cubicBezTo>
                    <a:pt x="5" y="17"/>
                    <a:pt x="7" y="18"/>
                    <a:pt x="6" y="17"/>
                  </a:cubicBezTo>
                  <a:cubicBezTo>
                    <a:pt x="5" y="16"/>
                    <a:pt x="3" y="14"/>
                    <a:pt x="4" y="12"/>
                  </a:cubicBezTo>
                  <a:cubicBezTo>
                    <a:pt x="4" y="10"/>
                    <a:pt x="4" y="11"/>
                    <a:pt x="6" y="11"/>
                  </a:cubicBezTo>
                  <a:cubicBezTo>
                    <a:pt x="7" y="11"/>
                    <a:pt x="9" y="12"/>
                    <a:pt x="8" y="11"/>
                  </a:cubicBezTo>
                  <a:cubicBezTo>
                    <a:pt x="7" y="9"/>
                    <a:pt x="5" y="9"/>
                    <a:pt x="6" y="8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5"/>
                    <a:pt x="6" y="5"/>
                    <a:pt x="5" y="5"/>
                  </a:cubicBezTo>
                  <a:cubicBezTo>
                    <a:pt x="4" y="6"/>
                    <a:pt x="2" y="8"/>
                    <a:pt x="2" y="7"/>
                  </a:cubicBezTo>
                  <a:cubicBezTo>
                    <a:pt x="3" y="6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15" name="Freeform 425">
              <a:extLst>
                <a:ext uri="{FF2B5EF4-FFF2-40B4-BE49-F238E27FC236}">
                  <a16:creationId xmlns:a16="http://schemas.microsoft.com/office/drawing/2014/main" id="{91C92F61-37AF-CE54-02A1-E4EEF68BF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6179" y="4199416"/>
              <a:ext cx="9687" cy="9687"/>
            </a:xfrm>
            <a:custGeom>
              <a:avLst/>
              <a:gdLst>
                <a:gd name="T0" fmla="*/ 1 w 3"/>
                <a:gd name="T1" fmla="*/ 3 h 3"/>
                <a:gd name="T2" fmla="*/ 1 w 3"/>
                <a:gd name="T3" fmla="*/ 1 h 3"/>
                <a:gd name="T4" fmla="*/ 3 w 3"/>
                <a:gd name="T5" fmla="*/ 1 h 3"/>
                <a:gd name="T6" fmla="*/ 1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1" y="2"/>
                    <a:pt x="1" y="1"/>
                  </a:cubicBezTo>
                  <a:cubicBezTo>
                    <a:pt x="2" y="0"/>
                    <a:pt x="2" y="1"/>
                    <a:pt x="3" y="1"/>
                  </a:cubicBezTo>
                  <a:cubicBezTo>
                    <a:pt x="3" y="2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16" name="Freeform 426">
              <a:extLst>
                <a:ext uri="{FF2B5EF4-FFF2-40B4-BE49-F238E27FC236}">
                  <a16:creationId xmlns:a16="http://schemas.microsoft.com/office/drawing/2014/main" id="{C8DCDE66-C9C7-C67D-5238-9EDA9A8C3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4927" y="4249060"/>
              <a:ext cx="19374" cy="6054"/>
            </a:xfrm>
            <a:custGeom>
              <a:avLst/>
              <a:gdLst>
                <a:gd name="T0" fmla="*/ 5 w 6"/>
                <a:gd name="T1" fmla="*/ 2 h 2"/>
                <a:gd name="T2" fmla="*/ 0 w 6"/>
                <a:gd name="T3" fmla="*/ 1 h 2"/>
                <a:gd name="T4" fmla="*/ 5 w 6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5" y="2"/>
                  </a:moveTo>
                  <a:cubicBezTo>
                    <a:pt x="6" y="1"/>
                    <a:pt x="0" y="0"/>
                    <a:pt x="0" y="1"/>
                  </a:cubicBezTo>
                  <a:cubicBezTo>
                    <a:pt x="0" y="2"/>
                    <a:pt x="5" y="2"/>
                    <a:pt x="5" y="2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17" name="Freeform 427">
              <a:extLst>
                <a:ext uri="{FF2B5EF4-FFF2-40B4-BE49-F238E27FC236}">
                  <a16:creationId xmlns:a16="http://schemas.microsoft.com/office/drawing/2014/main" id="{3EB75F97-E233-8230-2BDF-329FDA77C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981" y="4255115"/>
              <a:ext cx="64175" cy="35115"/>
            </a:xfrm>
            <a:custGeom>
              <a:avLst/>
              <a:gdLst>
                <a:gd name="T0" fmla="*/ 11 w 20"/>
                <a:gd name="T1" fmla="*/ 0 h 11"/>
                <a:gd name="T2" fmla="*/ 7 w 20"/>
                <a:gd name="T3" fmla="*/ 1 h 11"/>
                <a:gd name="T4" fmla="*/ 3 w 20"/>
                <a:gd name="T5" fmla="*/ 3 h 11"/>
                <a:gd name="T6" fmla="*/ 2 w 20"/>
                <a:gd name="T7" fmla="*/ 4 h 11"/>
                <a:gd name="T8" fmla="*/ 0 w 20"/>
                <a:gd name="T9" fmla="*/ 3 h 11"/>
                <a:gd name="T10" fmla="*/ 2 w 20"/>
                <a:gd name="T11" fmla="*/ 6 h 11"/>
                <a:gd name="T12" fmla="*/ 4 w 20"/>
                <a:gd name="T13" fmla="*/ 7 h 11"/>
                <a:gd name="T14" fmla="*/ 7 w 20"/>
                <a:gd name="T15" fmla="*/ 8 h 11"/>
                <a:gd name="T16" fmla="*/ 10 w 20"/>
                <a:gd name="T17" fmla="*/ 11 h 11"/>
                <a:gd name="T18" fmla="*/ 18 w 20"/>
                <a:gd name="T19" fmla="*/ 10 h 11"/>
                <a:gd name="T20" fmla="*/ 19 w 20"/>
                <a:gd name="T21" fmla="*/ 8 h 11"/>
                <a:gd name="T22" fmla="*/ 20 w 20"/>
                <a:gd name="T23" fmla="*/ 6 h 11"/>
                <a:gd name="T24" fmla="*/ 18 w 20"/>
                <a:gd name="T25" fmla="*/ 2 h 11"/>
                <a:gd name="T26" fmla="*/ 14 w 20"/>
                <a:gd name="T27" fmla="*/ 1 h 11"/>
                <a:gd name="T28" fmla="*/ 11 w 20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11">
                  <a:moveTo>
                    <a:pt x="11" y="0"/>
                  </a:moveTo>
                  <a:cubicBezTo>
                    <a:pt x="10" y="0"/>
                    <a:pt x="9" y="0"/>
                    <a:pt x="7" y="1"/>
                  </a:cubicBezTo>
                  <a:cubicBezTo>
                    <a:pt x="5" y="2"/>
                    <a:pt x="3" y="3"/>
                    <a:pt x="3" y="3"/>
                  </a:cubicBezTo>
                  <a:cubicBezTo>
                    <a:pt x="3" y="4"/>
                    <a:pt x="3" y="5"/>
                    <a:pt x="2" y="4"/>
                  </a:cubicBezTo>
                  <a:cubicBezTo>
                    <a:pt x="1" y="3"/>
                    <a:pt x="0" y="2"/>
                    <a:pt x="0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7"/>
                    <a:pt x="2" y="7"/>
                    <a:pt x="4" y="7"/>
                  </a:cubicBezTo>
                  <a:cubicBezTo>
                    <a:pt x="5" y="7"/>
                    <a:pt x="7" y="7"/>
                    <a:pt x="7" y="8"/>
                  </a:cubicBezTo>
                  <a:cubicBezTo>
                    <a:pt x="8" y="9"/>
                    <a:pt x="9" y="11"/>
                    <a:pt x="10" y="11"/>
                  </a:cubicBezTo>
                  <a:cubicBezTo>
                    <a:pt x="12" y="11"/>
                    <a:pt x="16" y="11"/>
                    <a:pt x="18" y="10"/>
                  </a:cubicBezTo>
                  <a:cubicBezTo>
                    <a:pt x="19" y="10"/>
                    <a:pt x="19" y="9"/>
                    <a:pt x="19" y="8"/>
                  </a:cubicBezTo>
                  <a:cubicBezTo>
                    <a:pt x="19" y="7"/>
                    <a:pt x="20" y="7"/>
                    <a:pt x="20" y="6"/>
                  </a:cubicBezTo>
                  <a:cubicBezTo>
                    <a:pt x="19" y="5"/>
                    <a:pt x="20" y="3"/>
                    <a:pt x="18" y="2"/>
                  </a:cubicBezTo>
                  <a:cubicBezTo>
                    <a:pt x="17" y="1"/>
                    <a:pt x="15" y="2"/>
                    <a:pt x="14" y="1"/>
                  </a:cubicBezTo>
                  <a:cubicBezTo>
                    <a:pt x="13" y="0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18" name="Freeform 428">
              <a:extLst>
                <a:ext uri="{FF2B5EF4-FFF2-40B4-BE49-F238E27FC236}">
                  <a16:creationId xmlns:a16="http://schemas.microsoft.com/office/drawing/2014/main" id="{C664584E-BFCB-BBCB-7DDB-D698456AD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0647" y="4326555"/>
              <a:ext cx="67808" cy="38747"/>
            </a:xfrm>
            <a:custGeom>
              <a:avLst/>
              <a:gdLst>
                <a:gd name="T0" fmla="*/ 0 w 21"/>
                <a:gd name="T1" fmla="*/ 7 h 12"/>
                <a:gd name="T2" fmla="*/ 2 w 21"/>
                <a:gd name="T3" fmla="*/ 7 h 12"/>
                <a:gd name="T4" fmla="*/ 7 w 21"/>
                <a:gd name="T5" fmla="*/ 7 h 12"/>
                <a:gd name="T6" fmla="*/ 9 w 21"/>
                <a:gd name="T7" fmla="*/ 6 h 12"/>
                <a:gd name="T8" fmla="*/ 14 w 21"/>
                <a:gd name="T9" fmla="*/ 6 h 12"/>
                <a:gd name="T10" fmla="*/ 16 w 21"/>
                <a:gd name="T11" fmla="*/ 4 h 12"/>
                <a:gd name="T12" fmla="*/ 18 w 21"/>
                <a:gd name="T13" fmla="*/ 1 h 12"/>
                <a:gd name="T14" fmla="*/ 20 w 21"/>
                <a:gd name="T15" fmla="*/ 0 h 12"/>
                <a:gd name="T16" fmla="*/ 21 w 21"/>
                <a:gd name="T17" fmla="*/ 2 h 12"/>
                <a:gd name="T18" fmla="*/ 20 w 21"/>
                <a:gd name="T19" fmla="*/ 5 h 12"/>
                <a:gd name="T20" fmla="*/ 19 w 21"/>
                <a:gd name="T21" fmla="*/ 7 h 12"/>
                <a:gd name="T22" fmla="*/ 15 w 21"/>
                <a:gd name="T23" fmla="*/ 9 h 12"/>
                <a:gd name="T24" fmla="*/ 9 w 21"/>
                <a:gd name="T25" fmla="*/ 12 h 12"/>
                <a:gd name="T26" fmla="*/ 0 w 21"/>
                <a:gd name="T27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2">
                  <a:moveTo>
                    <a:pt x="0" y="7"/>
                  </a:moveTo>
                  <a:cubicBezTo>
                    <a:pt x="0" y="7"/>
                    <a:pt x="0" y="6"/>
                    <a:pt x="2" y="7"/>
                  </a:cubicBezTo>
                  <a:cubicBezTo>
                    <a:pt x="3" y="7"/>
                    <a:pt x="6" y="8"/>
                    <a:pt x="7" y="7"/>
                  </a:cubicBezTo>
                  <a:cubicBezTo>
                    <a:pt x="8" y="6"/>
                    <a:pt x="8" y="5"/>
                    <a:pt x="9" y="6"/>
                  </a:cubicBezTo>
                  <a:cubicBezTo>
                    <a:pt x="10" y="7"/>
                    <a:pt x="12" y="7"/>
                    <a:pt x="14" y="6"/>
                  </a:cubicBezTo>
                  <a:cubicBezTo>
                    <a:pt x="15" y="5"/>
                    <a:pt x="14" y="4"/>
                    <a:pt x="16" y="4"/>
                  </a:cubicBezTo>
                  <a:cubicBezTo>
                    <a:pt x="18" y="4"/>
                    <a:pt x="18" y="3"/>
                    <a:pt x="18" y="1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1" y="1"/>
                    <a:pt x="21" y="2"/>
                  </a:cubicBezTo>
                  <a:cubicBezTo>
                    <a:pt x="21" y="3"/>
                    <a:pt x="20" y="4"/>
                    <a:pt x="20" y="5"/>
                  </a:cubicBezTo>
                  <a:cubicBezTo>
                    <a:pt x="20" y="5"/>
                    <a:pt x="21" y="6"/>
                    <a:pt x="19" y="7"/>
                  </a:cubicBezTo>
                  <a:cubicBezTo>
                    <a:pt x="17" y="7"/>
                    <a:pt x="16" y="7"/>
                    <a:pt x="15" y="9"/>
                  </a:cubicBezTo>
                  <a:cubicBezTo>
                    <a:pt x="15" y="10"/>
                    <a:pt x="12" y="12"/>
                    <a:pt x="9" y="12"/>
                  </a:cubicBezTo>
                  <a:cubicBezTo>
                    <a:pt x="7" y="11"/>
                    <a:pt x="0" y="10"/>
                    <a:pt x="0" y="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19" name="Freeform 429">
              <a:extLst>
                <a:ext uri="{FF2B5EF4-FFF2-40B4-BE49-F238E27FC236}">
                  <a16:creationId xmlns:a16="http://schemas.microsoft.com/office/drawing/2014/main" id="{20FEB5DE-97B2-9650-F0BE-12789A804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7202" y="4342296"/>
              <a:ext cx="26639" cy="32693"/>
            </a:xfrm>
            <a:custGeom>
              <a:avLst/>
              <a:gdLst>
                <a:gd name="T0" fmla="*/ 1 w 8"/>
                <a:gd name="T1" fmla="*/ 0 h 10"/>
                <a:gd name="T2" fmla="*/ 2 w 8"/>
                <a:gd name="T3" fmla="*/ 5 h 10"/>
                <a:gd name="T4" fmla="*/ 6 w 8"/>
                <a:gd name="T5" fmla="*/ 10 h 10"/>
                <a:gd name="T6" fmla="*/ 8 w 8"/>
                <a:gd name="T7" fmla="*/ 8 h 10"/>
                <a:gd name="T8" fmla="*/ 6 w 8"/>
                <a:gd name="T9" fmla="*/ 5 h 10"/>
                <a:gd name="T10" fmla="*/ 3 w 8"/>
                <a:gd name="T11" fmla="*/ 2 h 10"/>
                <a:gd name="T12" fmla="*/ 1 w 8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1" y="0"/>
                  </a:moveTo>
                  <a:cubicBezTo>
                    <a:pt x="0" y="1"/>
                    <a:pt x="1" y="3"/>
                    <a:pt x="2" y="5"/>
                  </a:cubicBezTo>
                  <a:cubicBezTo>
                    <a:pt x="3" y="7"/>
                    <a:pt x="5" y="9"/>
                    <a:pt x="6" y="10"/>
                  </a:cubicBezTo>
                  <a:cubicBezTo>
                    <a:pt x="7" y="10"/>
                    <a:pt x="8" y="9"/>
                    <a:pt x="8" y="8"/>
                  </a:cubicBezTo>
                  <a:cubicBezTo>
                    <a:pt x="8" y="7"/>
                    <a:pt x="8" y="6"/>
                    <a:pt x="6" y="5"/>
                  </a:cubicBezTo>
                  <a:cubicBezTo>
                    <a:pt x="4" y="3"/>
                    <a:pt x="3" y="3"/>
                    <a:pt x="3" y="2"/>
                  </a:cubicBezTo>
                  <a:cubicBezTo>
                    <a:pt x="2" y="1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20" name="Freeform 430">
              <a:extLst>
                <a:ext uri="{FF2B5EF4-FFF2-40B4-BE49-F238E27FC236}">
                  <a16:creationId xmlns:a16="http://schemas.microsoft.com/office/drawing/2014/main" id="{35A3399C-DC13-5BFA-182A-ECC4ECAF2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1649" y="4417368"/>
              <a:ext cx="19374" cy="19374"/>
            </a:xfrm>
            <a:custGeom>
              <a:avLst/>
              <a:gdLst>
                <a:gd name="T0" fmla="*/ 6 w 6"/>
                <a:gd name="T1" fmla="*/ 4 h 6"/>
                <a:gd name="T2" fmla="*/ 3 w 6"/>
                <a:gd name="T3" fmla="*/ 1 h 6"/>
                <a:gd name="T4" fmla="*/ 0 w 6"/>
                <a:gd name="T5" fmla="*/ 1 h 6"/>
                <a:gd name="T6" fmla="*/ 2 w 6"/>
                <a:gd name="T7" fmla="*/ 3 h 6"/>
                <a:gd name="T8" fmla="*/ 6 w 6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4"/>
                  </a:moveTo>
                  <a:cubicBezTo>
                    <a:pt x="6" y="2"/>
                    <a:pt x="4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ubicBezTo>
                    <a:pt x="0" y="1"/>
                    <a:pt x="0" y="3"/>
                    <a:pt x="2" y="3"/>
                  </a:cubicBezTo>
                  <a:cubicBezTo>
                    <a:pt x="4" y="3"/>
                    <a:pt x="6" y="6"/>
                    <a:pt x="6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21" name="Freeform 431">
              <a:extLst>
                <a:ext uri="{FF2B5EF4-FFF2-40B4-BE49-F238E27FC236}">
                  <a16:creationId xmlns:a16="http://schemas.microsoft.com/office/drawing/2014/main" id="{AEF681EE-C7A9-AE8C-8EAD-F3354CD02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589" y="4388308"/>
              <a:ext cx="38747" cy="15741"/>
            </a:xfrm>
            <a:custGeom>
              <a:avLst/>
              <a:gdLst>
                <a:gd name="T0" fmla="*/ 11 w 12"/>
                <a:gd name="T1" fmla="*/ 5 h 5"/>
                <a:gd name="T2" fmla="*/ 3 w 12"/>
                <a:gd name="T3" fmla="*/ 0 h 5"/>
                <a:gd name="T4" fmla="*/ 3 w 12"/>
                <a:gd name="T5" fmla="*/ 1 h 5"/>
                <a:gd name="T6" fmla="*/ 11 w 12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5">
                  <a:moveTo>
                    <a:pt x="11" y="5"/>
                  </a:moveTo>
                  <a:cubicBezTo>
                    <a:pt x="12" y="5"/>
                    <a:pt x="5" y="0"/>
                    <a:pt x="3" y="0"/>
                  </a:cubicBezTo>
                  <a:cubicBezTo>
                    <a:pt x="0" y="0"/>
                    <a:pt x="3" y="1"/>
                    <a:pt x="3" y="1"/>
                  </a:cubicBezTo>
                  <a:cubicBezTo>
                    <a:pt x="4" y="2"/>
                    <a:pt x="9" y="4"/>
                    <a:pt x="11" y="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22" name="Freeform 432">
              <a:extLst>
                <a:ext uri="{FF2B5EF4-FFF2-40B4-BE49-F238E27FC236}">
                  <a16:creationId xmlns:a16="http://schemas.microsoft.com/office/drawing/2014/main" id="{23C40B95-60F8-6794-AE2A-2AD5D882E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5950" y="4365302"/>
              <a:ext cx="13319" cy="19374"/>
            </a:xfrm>
            <a:custGeom>
              <a:avLst/>
              <a:gdLst>
                <a:gd name="T0" fmla="*/ 4 w 4"/>
                <a:gd name="T1" fmla="*/ 5 h 6"/>
                <a:gd name="T2" fmla="*/ 0 w 4"/>
                <a:gd name="T3" fmla="*/ 1 h 6"/>
                <a:gd name="T4" fmla="*/ 4 w 4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4" y="5"/>
                  </a:moveTo>
                  <a:cubicBezTo>
                    <a:pt x="4" y="3"/>
                    <a:pt x="0" y="0"/>
                    <a:pt x="0" y="1"/>
                  </a:cubicBezTo>
                  <a:cubicBezTo>
                    <a:pt x="0" y="3"/>
                    <a:pt x="4" y="6"/>
                    <a:pt x="4" y="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23" name="Freeform 433">
              <a:extLst>
                <a:ext uri="{FF2B5EF4-FFF2-40B4-BE49-F238E27FC236}">
                  <a16:creationId xmlns:a16="http://schemas.microsoft.com/office/drawing/2014/main" id="{74B08953-69E4-CCF6-B1AE-9000E1133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9144" y="4620790"/>
              <a:ext cx="58121" cy="42380"/>
            </a:xfrm>
            <a:custGeom>
              <a:avLst/>
              <a:gdLst>
                <a:gd name="T0" fmla="*/ 16 w 18"/>
                <a:gd name="T1" fmla="*/ 12 h 13"/>
                <a:gd name="T2" fmla="*/ 2 w 18"/>
                <a:gd name="T3" fmla="*/ 0 h 13"/>
                <a:gd name="T4" fmla="*/ 16 w 18"/>
                <a:gd name="T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16" y="12"/>
                  </a:moveTo>
                  <a:cubicBezTo>
                    <a:pt x="18" y="13"/>
                    <a:pt x="4" y="0"/>
                    <a:pt x="2" y="0"/>
                  </a:cubicBezTo>
                  <a:cubicBezTo>
                    <a:pt x="0" y="0"/>
                    <a:pt x="8" y="9"/>
                    <a:pt x="16" y="1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24" name="Freeform 434">
              <a:extLst>
                <a:ext uri="{FF2B5EF4-FFF2-40B4-BE49-F238E27FC236}">
                  <a16:creationId xmlns:a16="http://schemas.microsoft.com/office/drawing/2014/main" id="{978C675A-C785-51CC-9BA0-60499F7FA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0501" y="4893231"/>
              <a:ext cx="42380" cy="52066"/>
            </a:xfrm>
            <a:custGeom>
              <a:avLst/>
              <a:gdLst>
                <a:gd name="T0" fmla="*/ 13 w 13"/>
                <a:gd name="T1" fmla="*/ 16 h 16"/>
                <a:gd name="T2" fmla="*/ 12 w 13"/>
                <a:gd name="T3" fmla="*/ 12 h 16"/>
                <a:gd name="T4" fmla="*/ 10 w 13"/>
                <a:gd name="T5" fmla="*/ 10 h 16"/>
                <a:gd name="T6" fmla="*/ 10 w 13"/>
                <a:gd name="T7" fmla="*/ 7 h 16"/>
                <a:gd name="T8" fmla="*/ 5 w 13"/>
                <a:gd name="T9" fmla="*/ 4 h 16"/>
                <a:gd name="T10" fmla="*/ 1 w 13"/>
                <a:gd name="T11" fmla="*/ 1 h 16"/>
                <a:gd name="T12" fmla="*/ 5 w 13"/>
                <a:gd name="T13" fmla="*/ 6 h 16"/>
                <a:gd name="T14" fmla="*/ 6 w 13"/>
                <a:gd name="T15" fmla="*/ 9 h 16"/>
                <a:gd name="T16" fmla="*/ 9 w 13"/>
                <a:gd name="T17" fmla="*/ 12 h 16"/>
                <a:gd name="T18" fmla="*/ 10 w 13"/>
                <a:gd name="T19" fmla="*/ 13 h 16"/>
                <a:gd name="T20" fmla="*/ 13 w 13"/>
                <a:gd name="T2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6">
                  <a:moveTo>
                    <a:pt x="13" y="16"/>
                  </a:moveTo>
                  <a:cubicBezTo>
                    <a:pt x="12" y="13"/>
                    <a:pt x="13" y="13"/>
                    <a:pt x="12" y="12"/>
                  </a:cubicBezTo>
                  <a:cubicBezTo>
                    <a:pt x="10" y="10"/>
                    <a:pt x="10" y="11"/>
                    <a:pt x="10" y="10"/>
                  </a:cubicBezTo>
                  <a:cubicBezTo>
                    <a:pt x="10" y="9"/>
                    <a:pt x="12" y="8"/>
                    <a:pt x="10" y="7"/>
                  </a:cubicBezTo>
                  <a:cubicBezTo>
                    <a:pt x="9" y="6"/>
                    <a:pt x="7" y="6"/>
                    <a:pt x="5" y="4"/>
                  </a:cubicBezTo>
                  <a:cubicBezTo>
                    <a:pt x="3" y="2"/>
                    <a:pt x="0" y="0"/>
                    <a:pt x="1" y="1"/>
                  </a:cubicBezTo>
                  <a:cubicBezTo>
                    <a:pt x="2" y="3"/>
                    <a:pt x="5" y="4"/>
                    <a:pt x="5" y="6"/>
                  </a:cubicBezTo>
                  <a:cubicBezTo>
                    <a:pt x="5" y="7"/>
                    <a:pt x="4" y="7"/>
                    <a:pt x="6" y="9"/>
                  </a:cubicBezTo>
                  <a:cubicBezTo>
                    <a:pt x="7" y="10"/>
                    <a:pt x="8" y="11"/>
                    <a:pt x="9" y="12"/>
                  </a:cubicBezTo>
                  <a:cubicBezTo>
                    <a:pt x="11" y="12"/>
                    <a:pt x="10" y="12"/>
                    <a:pt x="10" y="13"/>
                  </a:cubicBezTo>
                  <a:cubicBezTo>
                    <a:pt x="10" y="15"/>
                    <a:pt x="13" y="16"/>
                    <a:pt x="13" y="1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25" name="Freeform 435">
              <a:extLst>
                <a:ext uri="{FF2B5EF4-FFF2-40B4-BE49-F238E27FC236}">
                  <a16:creationId xmlns:a16="http://schemas.microsoft.com/office/drawing/2014/main" id="{D8E1F379-2423-969F-1158-8B1AF7B36D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3507" y="4941664"/>
              <a:ext cx="83549" cy="104133"/>
            </a:xfrm>
            <a:custGeom>
              <a:avLst/>
              <a:gdLst>
                <a:gd name="T0" fmla="*/ 6 w 26"/>
                <a:gd name="T1" fmla="*/ 1 h 32"/>
                <a:gd name="T2" fmla="*/ 5 w 26"/>
                <a:gd name="T3" fmla="*/ 9 h 32"/>
                <a:gd name="T4" fmla="*/ 4 w 26"/>
                <a:gd name="T5" fmla="*/ 14 h 32"/>
                <a:gd name="T6" fmla="*/ 1 w 26"/>
                <a:gd name="T7" fmla="*/ 15 h 32"/>
                <a:gd name="T8" fmla="*/ 1 w 26"/>
                <a:gd name="T9" fmla="*/ 19 h 32"/>
                <a:gd name="T10" fmla="*/ 8 w 26"/>
                <a:gd name="T11" fmla="*/ 23 h 32"/>
                <a:gd name="T12" fmla="*/ 6 w 26"/>
                <a:gd name="T13" fmla="*/ 28 h 32"/>
                <a:gd name="T14" fmla="*/ 6 w 26"/>
                <a:gd name="T15" fmla="*/ 31 h 32"/>
                <a:gd name="T16" fmla="*/ 10 w 26"/>
                <a:gd name="T17" fmla="*/ 31 h 32"/>
                <a:gd name="T18" fmla="*/ 16 w 26"/>
                <a:gd name="T19" fmla="*/ 23 h 32"/>
                <a:gd name="T20" fmla="*/ 18 w 26"/>
                <a:gd name="T21" fmla="*/ 20 h 32"/>
                <a:gd name="T22" fmla="*/ 18 w 26"/>
                <a:gd name="T23" fmla="*/ 17 h 32"/>
                <a:gd name="T24" fmla="*/ 20 w 26"/>
                <a:gd name="T25" fmla="*/ 15 h 32"/>
                <a:gd name="T26" fmla="*/ 23 w 26"/>
                <a:gd name="T27" fmla="*/ 15 h 32"/>
                <a:gd name="T28" fmla="*/ 25 w 26"/>
                <a:gd name="T29" fmla="*/ 12 h 32"/>
                <a:gd name="T30" fmla="*/ 25 w 26"/>
                <a:gd name="T31" fmla="*/ 7 h 32"/>
                <a:gd name="T32" fmla="*/ 25 w 26"/>
                <a:gd name="T33" fmla="*/ 6 h 32"/>
                <a:gd name="T34" fmla="*/ 21 w 26"/>
                <a:gd name="T35" fmla="*/ 8 h 32"/>
                <a:gd name="T36" fmla="*/ 18 w 26"/>
                <a:gd name="T37" fmla="*/ 8 h 32"/>
                <a:gd name="T38" fmla="*/ 12 w 26"/>
                <a:gd name="T39" fmla="*/ 5 h 32"/>
                <a:gd name="T40" fmla="*/ 10 w 26"/>
                <a:gd name="T41" fmla="*/ 1 h 32"/>
                <a:gd name="T42" fmla="*/ 9 w 26"/>
                <a:gd name="T43" fmla="*/ 1 h 32"/>
                <a:gd name="T44" fmla="*/ 8 w 26"/>
                <a:gd name="T45" fmla="*/ 3 h 32"/>
                <a:gd name="T46" fmla="*/ 6 w 26"/>
                <a:gd name="T47" fmla="*/ 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32">
                  <a:moveTo>
                    <a:pt x="6" y="1"/>
                  </a:moveTo>
                  <a:cubicBezTo>
                    <a:pt x="5" y="2"/>
                    <a:pt x="5" y="8"/>
                    <a:pt x="5" y="9"/>
                  </a:cubicBezTo>
                  <a:cubicBezTo>
                    <a:pt x="5" y="11"/>
                    <a:pt x="4" y="13"/>
                    <a:pt x="4" y="14"/>
                  </a:cubicBezTo>
                  <a:cubicBezTo>
                    <a:pt x="4" y="14"/>
                    <a:pt x="2" y="14"/>
                    <a:pt x="1" y="15"/>
                  </a:cubicBezTo>
                  <a:cubicBezTo>
                    <a:pt x="0" y="16"/>
                    <a:pt x="0" y="18"/>
                    <a:pt x="1" y="19"/>
                  </a:cubicBezTo>
                  <a:cubicBezTo>
                    <a:pt x="2" y="19"/>
                    <a:pt x="8" y="21"/>
                    <a:pt x="8" y="23"/>
                  </a:cubicBezTo>
                  <a:cubicBezTo>
                    <a:pt x="8" y="24"/>
                    <a:pt x="7" y="27"/>
                    <a:pt x="6" y="28"/>
                  </a:cubicBezTo>
                  <a:cubicBezTo>
                    <a:pt x="5" y="29"/>
                    <a:pt x="5" y="31"/>
                    <a:pt x="6" y="31"/>
                  </a:cubicBezTo>
                  <a:cubicBezTo>
                    <a:pt x="7" y="31"/>
                    <a:pt x="9" y="32"/>
                    <a:pt x="10" y="31"/>
                  </a:cubicBezTo>
                  <a:cubicBezTo>
                    <a:pt x="11" y="30"/>
                    <a:pt x="15" y="25"/>
                    <a:pt x="16" y="23"/>
                  </a:cubicBezTo>
                  <a:cubicBezTo>
                    <a:pt x="17" y="22"/>
                    <a:pt x="18" y="21"/>
                    <a:pt x="18" y="20"/>
                  </a:cubicBezTo>
                  <a:cubicBezTo>
                    <a:pt x="18" y="18"/>
                    <a:pt x="17" y="18"/>
                    <a:pt x="18" y="17"/>
                  </a:cubicBezTo>
                  <a:cubicBezTo>
                    <a:pt x="19" y="16"/>
                    <a:pt x="19" y="15"/>
                    <a:pt x="20" y="15"/>
                  </a:cubicBezTo>
                  <a:cubicBezTo>
                    <a:pt x="22" y="16"/>
                    <a:pt x="22" y="16"/>
                    <a:pt x="23" y="15"/>
                  </a:cubicBezTo>
                  <a:cubicBezTo>
                    <a:pt x="23" y="14"/>
                    <a:pt x="24" y="13"/>
                    <a:pt x="25" y="12"/>
                  </a:cubicBezTo>
                  <a:cubicBezTo>
                    <a:pt x="26" y="10"/>
                    <a:pt x="25" y="8"/>
                    <a:pt x="25" y="7"/>
                  </a:cubicBezTo>
                  <a:cubicBezTo>
                    <a:pt x="26" y="6"/>
                    <a:pt x="26" y="6"/>
                    <a:pt x="25" y="6"/>
                  </a:cubicBezTo>
                  <a:cubicBezTo>
                    <a:pt x="24" y="6"/>
                    <a:pt x="22" y="7"/>
                    <a:pt x="21" y="8"/>
                  </a:cubicBezTo>
                  <a:cubicBezTo>
                    <a:pt x="20" y="9"/>
                    <a:pt x="20" y="9"/>
                    <a:pt x="18" y="8"/>
                  </a:cubicBezTo>
                  <a:cubicBezTo>
                    <a:pt x="16" y="7"/>
                    <a:pt x="12" y="6"/>
                    <a:pt x="12" y="5"/>
                  </a:cubicBezTo>
                  <a:cubicBezTo>
                    <a:pt x="12" y="3"/>
                    <a:pt x="11" y="2"/>
                    <a:pt x="10" y="1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10" y="3"/>
                    <a:pt x="9" y="3"/>
                    <a:pt x="8" y="3"/>
                  </a:cubicBezTo>
                  <a:cubicBezTo>
                    <a:pt x="8" y="2"/>
                    <a:pt x="7" y="1"/>
                    <a:pt x="6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26" name="Freeform 436">
              <a:extLst>
                <a:ext uri="{FF2B5EF4-FFF2-40B4-BE49-F238E27FC236}">
                  <a16:creationId xmlns:a16="http://schemas.microsoft.com/office/drawing/2014/main" id="{4F18AB3C-8DB3-E4B8-7D16-328D2EFA3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1524" y="5022791"/>
              <a:ext cx="138038" cy="131982"/>
            </a:xfrm>
            <a:custGeom>
              <a:avLst/>
              <a:gdLst>
                <a:gd name="T0" fmla="*/ 37 w 43"/>
                <a:gd name="T1" fmla="*/ 4 h 41"/>
                <a:gd name="T2" fmla="*/ 36 w 43"/>
                <a:gd name="T3" fmla="*/ 2 h 41"/>
                <a:gd name="T4" fmla="*/ 34 w 43"/>
                <a:gd name="T5" fmla="*/ 1 h 41"/>
                <a:gd name="T6" fmla="*/ 31 w 43"/>
                <a:gd name="T7" fmla="*/ 4 h 41"/>
                <a:gd name="T8" fmla="*/ 30 w 43"/>
                <a:gd name="T9" fmla="*/ 7 h 41"/>
                <a:gd name="T10" fmla="*/ 26 w 43"/>
                <a:gd name="T11" fmla="*/ 13 h 41"/>
                <a:gd name="T12" fmla="*/ 20 w 43"/>
                <a:gd name="T13" fmla="*/ 18 h 41"/>
                <a:gd name="T14" fmla="*/ 14 w 43"/>
                <a:gd name="T15" fmla="*/ 22 h 41"/>
                <a:gd name="T16" fmla="*/ 11 w 43"/>
                <a:gd name="T17" fmla="*/ 24 h 41"/>
                <a:gd name="T18" fmla="*/ 6 w 43"/>
                <a:gd name="T19" fmla="*/ 29 h 41"/>
                <a:gd name="T20" fmla="*/ 3 w 43"/>
                <a:gd name="T21" fmla="*/ 30 h 41"/>
                <a:gd name="T22" fmla="*/ 2 w 43"/>
                <a:gd name="T23" fmla="*/ 34 h 41"/>
                <a:gd name="T24" fmla="*/ 2 w 43"/>
                <a:gd name="T25" fmla="*/ 36 h 41"/>
                <a:gd name="T26" fmla="*/ 1 w 43"/>
                <a:gd name="T27" fmla="*/ 38 h 41"/>
                <a:gd name="T28" fmla="*/ 6 w 43"/>
                <a:gd name="T29" fmla="*/ 39 h 41"/>
                <a:gd name="T30" fmla="*/ 11 w 43"/>
                <a:gd name="T31" fmla="*/ 41 h 41"/>
                <a:gd name="T32" fmla="*/ 20 w 43"/>
                <a:gd name="T33" fmla="*/ 39 h 41"/>
                <a:gd name="T34" fmla="*/ 25 w 43"/>
                <a:gd name="T35" fmla="*/ 31 h 41"/>
                <a:gd name="T36" fmla="*/ 29 w 43"/>
                <a:gd name="T37" fmla="*/ 24 h 41"/>
                <a:gd name="T38" fmla="*/ 33 w 43"/>
                <a:gd name="T39" fmla="*/ 22 h 41"/>
                <a:gd name="T40" fmla="*/ 37 w 43"/>
                <a:gd name="T41" fmla="*/ 21 h 41"/>
                <a:gd name="T42" fmla="*/ 35 w 43"/>
                <a:gd name="T43" fmla="*/ 18 h 41"/>
                <a:gd name="T44" fmla="*/ 40 w 43"/>
                <a:gd name="T45" fmla="*/ 13 h 41"/>
                <a:gd name="T46" fmla="*/ 43 w 43"/>
                <a:gd name="T47" fmla="*/ 7 h 41"/>
                <a:gd name="T48" fmla="*/ 43 w 43"/>
                <a:gd name="T49" fmla="*/ 4 h 41"/>
                <a:gd name="T50" fmla="*/ 42 w 43"/>
                <a:gd name="T51" fmla="*/ 3 h 41"/>
                <a:gd name="T52" fmla="*/ 42 w 43"/>
                <a:gd name="T53" fmla="*/ 2 h 41"/>
                <a:gd name="T54" fmla="*/ 39 w 43"/>
                <a:gd name="T55" fmla="*/ 4 h 41"/>
                <a:gd name="T56" fmla="*/ 37 w 43"/>
                <a:gd name="T57" fmla="*/ 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3" h="41">
                  <a:moveTo>
                    <a:pt x="37" y="4"/>
                  </a:moveTo>
                  <a:cubicBezTo>
                    <a:pt x="37" y="3"/>
                    <a:pt x="37" y="3"/>
                    <a:pt x="36" y="2"/>
                  </a:cubicBezTo>
                  <a:cubicBezTo>
                    <a:pt x="35" y="1"/>
                    <a:pt x="36" y="0"/>
                    <a:pt x="34" y="1"/>
                  </a:cubicBezTo>
                  <a:cubicBezTo>
                    <a:pt x="32" y="1"/>
                    <a:pt x="31" y="3"/>
                    <a:pt x="31" y="4"/>
                  </a:cubicBezTo>
                  <a:cubicBezTo>
                    <a:pt x="31" y="5"/>
                    <a:pt x="32" y="6"/>
                    <a:pt x="30" y="7"/>
                  </a:cubicBezTo>
                  <a:cubicBezTo>
                    <a:pt x="29" y="8"/>
                    <a:pt x="28" y="11"/>
                    <a:pt x="26" y="13"/>
                  </a:cubicBezTo>
                  <a:cubicBezTo>
                    <a:pt x="25" y="14"/>
                    <a:pt x="22" y="17"/>
                    <a:pt x="20" y="18"/>
                  </a:cubicBezTo>
                  <a:cubicBezTo>
                    <a:pt x="19" y="19"/>
                    <a:pt x="15" y="21"/>
                    <a:pt x="14" y="22"/>
                  </a:cubicBezTo>
                  <a:cubicBezTo>
                    <a:pt x="14" y="23"/>
                    <a:pt x="12" y="23"/>
                    <a:pt x="11" y="24"/>
                  </a:cubicBezTo>
                  <a:cubicBezTo>
                    <a:pt x="9" y="24"/>
                    <a:pt x="8" y="28"/>
                    <a:pt x="6" y="29"/>
                  </a:cubicBezTo>
                  <a:cubicBezTo>
                    <a:pt x="5" y="30"/>
                    <a:pt x="4" y="29"/>
                    <a:pt x="3" y="30"/>
                  </a:cubicBezTo>
                  <a:cubicBezTo>
                    <a:pt x="2" y="31"/>
                    <a:pt x="2" y="33"/>
                    <a:pt x="2" y="34"/>
                  </a:cubicBezTo>
                  <a:cubicBezTo>
                    <a:pt x="2" y="35"/>
                    <a:pt x="3" y="36"/>
                    <a:pt x="2" y="36"/>
                  </a:cubicBezTo>
                  <a:cubicBezTo>
                    <a:pt x="0" y="36"/>
                    <a:pt x="1" y="38"/>
                    <a:pt x="1" y="38"/>
                  </a:cubicBezTo>
                  <a:cubicBezTo>
                    <a:pt x="1" y="38"/>
                    <a:pt x="3" y="38"/>
                    <a:pt x="6" y="39"/>
                  </a:cubicBezTo>
                  <a:cubicBezTo>
                    <a:pt x="8" y="39"/>
                    <a:pt x="9" y="40"/>
                    <a:pt x="11" y="41"/>
                  </a:cubicBezTo>
                  <a:cubicBezTo>
                    <a:pt x="13" y="41"/>
                    <a:pt x="17" y="41"/>
                    <a:pt x="20" y="39"/>
                  </a:cubicBezTo>
                  <a:cubicBezTo>
                    <a:pt x="22" y="36"/>
                    <a:pt x="24" y="35"/>
                    <a:pt x="25" y="31"/>
                  </a:cubicBezTo>
                  <a:cubicBezTo>
                    <a:pt x="26" y="27"/>
                    <a:pt x="26" y="25"/>
                    <a:pt x="29" y="24"/>
                  </a:cubicBezTo>
                  <a:cubicBezTo>
                    <a:pt x="32" y="24"/>
                    <a:pt x="31" y="22"/>
                    <a:pt x="33" y="22"/>
                  </a:cubicBezTo>
                  <a:cubicBezTo>
                    <a:pt x="35" y="22"/>
                    <a:pt x="38" y="22"/>
                    <a:pt x="37" y="21"/>
                  </a:cubicBezTo>
                  <a:cubicBezTo>
                    <a:pt x="36" y="19"/>
                    <a:pt x="35" y="21"/>
                    <a:pt x="35" y="18"/>
                  </a:cubicBezTo>
                  <a:cubicBezTo>
                    <a:pt x="36" y="16"/>
                    <a:pt x="39" y="15"/>
                    <a:pt x="40" y="13"/>
                  </a:cubicBezTo>
                  <a:cubicBezTo>
                    <a:pt x="41" y="10"/>
                    <a:pt x="43" y="9"/>
                    <a:pt x="43" y="7"/>
                  </a:cubicBezTo>
                  <a:cubicBezTo>
                    <a:pt x="43" y="6"/>
                    <a:pt x="42" y="6"/>
                    <a:pt x="43" y="4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4"/>
                    <a:pt x="41" y="3"/>
                    <a:pt x="42" y="2"/>
                  </a:cubicBezTo>
                  <a:cubicBezTo>
                    <a:pt x="42" y="1"/>
                    <a:pt x="40" y="3"/>
                    <a:pt x="39" y="4"/>
                  </a:cubicBezTo>
                  <a:cubicBezTo>
                    <a:pt x="38" y="5"/>
                    <a:pt x="37" y="4"/>
                    <a:pt x="37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27" name="Freeform 437">
              <a:extLst>
                <a:ext uri="{FF2B5EF4-FFF2-40B4-BE49-F238E27FC236}">
                  <a16:creationId xmlns:a16="http://schemas.microsoft.com/office/drawing/2014/main" id="{C490EAC3-B40B-33B4-F100-9CD3248F5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3319" y="5154773"/>
              <a:ext cx="9687" cy="9687"/>
            </a:xfrm>
            <a:custGeom>
              <a:avLst/>
              <a:gdLst>
                <a:gd name="T0" fmla="*/ 3 w 3"/>
                <a:gd name="T1" fmla="*/ 3 h 3"/>
                <a:gd name="T2" fmla="*/ 1 w 3"/>
                <a:gd name="T3" fmla="*/ 0 h 3"/>
                <a:gd name="T4" fmla="*/ 0 w 3"/>
                <a:gd name="T5" fmla="*/ 3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1" y="2"/>
                    <a:pt x="1" y="0"/>
                    <a:pt x="1" y="0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3" y="3"/>
                  </a:ln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28" name="Freeform 438">
              <a:extLst>
                <a:ext uri="{FF2B5EF4-FFF2-40B4-BE49-F238E27FC236}">
                  <a16:creationId xmlns:a16="http://schemas.microsoft.com/office/drawing/2014/main" id="{C92E4FAF-8611-A2DF-64F7-0FA783B84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9207" y="5022791"/>
              <a:ext cx="69019" cy="64175"/>
            </a:xfrm>
            <a:custGeom>
              <a:avLst/>
              <a:gdLst>
                <a:gd name="T0" fmla="*/ 0 w 21"/>
                <a:gd name="T1" fmla="*/ 2 h 20"/>
                <a:gd name="T2" fmla="*/ 4 w 21"/>
                <a:gd name="T3" fmla="*/ 11 h 20"/>
                <a:gd name="T4" fmla="*/ 4 w 21"/>
                <a:gd name="T5" fmla="*/ 12 h 20"/>
                <a:gd name="T6" fmla="*/ 5 w 21"/>
                <a:gd name="T7" fmla="*/ 17 h 20"/>
                <a:gd name="T8" fmla="*/ 11 w 21"/>
                <a:gd name="T9" fmla="*/ 20 h 20"/>
                <a:gd name="T10" fmla="*/ 13 w 21"/>
                <a:gd name="T11" fmla="*/ 17 h 20"/>
                <a:gd name="T12" fmla="*/ 15 w 21"/>
                <a:gd name="T13" fmla="*/ 19 h 20"/>
                <a:gd name="T14" fmla="*/ 15 w 21"/>
                <a:gd name="T15" fmla="*/ 16 h 20"/>
                <a:gd name="T16" fmla="*/ 17 w 21"/>
                <a:gd name="T17" fmla="*/ 16 h 20"/>
                <a:gd name="T18" fmla="*/ 18 w 21"/>
                <a:gd name="T19" fmla="*/ 16 h 20"/>
                <a:gd name="T20" fmla="*/ 19 w 21"/>
                <a:gd name="T21" fmla="*/ 10 h 20"/>
                <a:gd name="T22" fmla="*/ 20 w 21"/>
                <a:gd name="T23" fmla="*/ 8 h 20"/>
                <a:gd name="T24" fmla="*/ 20 w 21"/>
                <a:gd name="T25" fmla="*/ 2 h 20"/>
                <a:gd name="T26" fmla="*/ 17 w 21"/>
                <a:gd name="T27" fmla="*/ 2 h 20"/>
                <a:gd name="T28" fmla="*/ 9 w 21"/>
                <a:gd name="T29" fmla="*/ 4 h 20"/>
                <a:gd name="T30" fmla="*/ 0 w 21"/>
                <a:gd name="T31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" h="20">
                  <a:moveTo>
                    <a:pt x="0" y="2"/>
                  </a:moveTo>
                  <a:cubicBezTo>
                    <a:pt x="0" y="3"/>
                    <a:pt x="4" y="10"/>
                    <a:pt x="4" y="11"/>
                  </a:cubicBezTo>
                  <a:cubicBezTo>
                    <a:pt x="5" y="13"/>
                    <a:pt x="4" y="12"/>
                    <a:pt x="4" y="12"/>
                  </a:cubicBezTo>
                  <a:cubicBezTo>
                    <a:pt x="3" y="13"/>
                    <a:pt x="4" y="16"/>
                    <a:pt x="5" y="17"/>
                  </a:cubicBezTo>
                  <a:cubicBezTo>
                    <a:pt x="7" y="18"/>
                    <a:pt x="10" y="20"/>
                    <a:pt x="11" y="20"/>
                  </a:cubicBezTo>
                  <a:cubicBezTo>
                    <a:pt x="13" y="20"/>
                    <a:pt x="12" y="18"/>
                    <a:pt x="13" y="17"/>
                  </a:cubicBezTo>
                  <a:cubicBezTo>
                    <a:pt x="14" y="17"/>
                    <a:pt x="15" y="19"/>
                    <a:pt x="15" y="19"/>
                  </a:cubicBezTo>
                  <a:cubicBezTo>
                    <a:pt x="15" y="18"/>
                    <a:pt x="15" y="17"/>
                    <a:pt x="15" y="16"/>
                  </a:cubicBezTo>
                  <a:cubicBezTo>
                    <a:pt x="15" y="15"/>
                    <a:pt x="16" y="16"/>
                    <a:pt x="17" y="16"/>
                  </a:cubicBezTo>
                  <a:cubicBezTo>
                    <a:pt x="18" y="17"/>
                    <a:pt x="18" y="18"/>
                    <a:pt x="18" y="16"/>
                  </a:cubicBezTo>
                  <a:cubicBezTo>
                    <a:pt x="18" y="13"/>
                    <a:pt x="18" y="11"/>
                    <a:pt x="19" y="10"/>
                  </a:cubicBezTo>
                  <a:cubicBezTo>
                    <a:pt x="20" y="9"/>
                    <a:pt x="20" y="10"/>
                    <a:pt x="20" y="8"/>
                  </a:cubicBezTo>
                  <a:cubicBezTo>
                    <a:pt x="20" y="7"/>
                    <a:pt x="21" y="3"/>
                    <a:pt x="20" y="2"/>
                  </a:cubicBezTo>
                  <a:cubicBezTo>
                    <a:pt x="18" y="1"/>
                    <a:pt x="18" y="2"/>
                    <a:pt x="17" y="2"/>
                  </a:cubicBezTo>
                  <a:cubicBezTo>
                    <a:pt x="15" y="3"/>
                    <a:pt x="11" y="4"/>
                    <a:pt x="9" y="4"/>
                  </a:cubicBezTo>
                  <a:cubicBezTo>
                    <a:pt x="7" y="3"/>
                    <a:pt x="1" y="0"/>
                    <a:pt x="0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29" name="Freeform 439">
              <a:extLst>
                <a:ext uri="{FF2B5EF4-FFF2-40B4-BE49-F238E27FC236}">
                  <a16:creationId xmlns:a16="http://schemas.microsoft.com/office/drawing/2014/main" id="{EF763C4C-910B-7A6F-9EB0-E096EF21A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4906" y="5005839"/>
              <a:ext cx="13319" cy="19374"/>
            </a:xfrm>
            <a:custGeom>
              <a:avLst/>
              <a:gdLst>
                <a:gd name="T0" fmla="*/ 3 w 4"/>
                <a:gd name="T1" fmla="*/ 5 h 6"/>
                <a:gd name="T2" fmla="*/ 1 w 4"/>
                <a:gd name="T3" fmla="*/ 0 h 6"/>
                <a:gd name="T4" fmla="*/ 3 w 4"/>
                <a:gd name="T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3" y="5"/>
                  </a:moveTo>
                  <a:cubicBezTo>
                    <a:pt x="3" y="6"/>
                    <a:pt x="0" y="0"/>
                    <a:pt x="1" y="0"/>
                  </a:cubicBezTo>
                  <a:cubicBezTo>
                    <a:pt x="2" y="0"/>
                    <a:pt x="4" y="1"/>
                    <a:pt x="3" y="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30" name="Freeform 440">
              <a:extLst>
                <a:ext uri="{FF2B5EF4-FFF2-40B4-BE49-F238E27FC236}">
                  <a16:creationId xmlns:a16="http://schemas.microsoft.com/office/drawing/2014/main" id="{F7154E04-4913-4AE2-4FE8-300BB384D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9833" y="5005839"/>
              <a:ext cx="9687" cy="7265"/>
            </a:xfrm>
            <a:custGeom>
              <a:avLst/>
              <a:gdLst>
                <a:gd name="T0" fmla="*/ 2 w 3"/>
                <a:gd name="T1" fmla="*/ 2 h 2"/>
                <a:gd name="T2" fmla="*/ 1 w 3"/>
                <a:gd name="T3" fmla="*/ 0 h 2"/>
                <a:gd name="T4" fmla="*/ 2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1" y="2"/>
                    <a:pt x="0" y="0"/>
                    <a:pt x="1" y="0"/>
                  </a:cubicBezTo>
                  <a:cubicBezTo>
                    <a:pt x="3" y="0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31" name="Freeform 441">
              <a:extLst>
                <a:ext uri="{FF2B5EF4-FFF2-40B4-BE49-F238E27FC236}">
                  <a16:creationId xmlns:a16="http://schemas.microsoft.com/office/drawing/2014/main" id="{E93E3BAA-741A-5281-2576-84F1EAF51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213" y="4069855"/>
              <a:ext cx="35115" cy="69018"/>
            </a:xfrm>
            <a:custGeom>
              <a:avLst/>
              <a:gdLst>
                <a:gd name="T0" fmla="*/ 2 w 11"/>
                <a:gd name="T1" fmla="*/ 1 h 21"/>
                <a:gd name="T2" fmla="*/ 1 w 11"/>
                <a:gd name="T3" fmla="*/ 1 h 21"/>
                <a:gd name="T4" fmla="*/ 1 w 11"/>
                <a:gd name="T5" fmla="*/ 7 h 21"/>
                <a:gd name="T6" fmla="*/ 0 w 11"/>
                <a:gd name="T7" fmla="*/ 12 h 21"/>
                <a:gd name="T8" fmla="*/ 1 w 11"/>
                <a:gd name="T9" fmla="*/ 19 h 21"/>
                <a:gd name="T10" fmla="*/ 6 w 11"/>
                <a:gd name="T11" fmla="*/ 20 h 21"/>
                <a:gd name="T12" fmla="*/ 11 w 11"/>
                <a:gd name="T13" fmla="*/ 16 h 21"/>
                <a:gd name="T14" fmla="*/ 10 w 11"/>
                <a:gd name="T15" fmla="*/ 11 h 21"/>
                <a:gd name="T16" fmla="*/ 6 w 11"/>
                <a:gd name="T17" fmla="*/ 4 h 21"/>
                <a:gd name="T18" fmla="*/ 2 w 11"/>
                <a:gd name="T19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1">
                  <a:moveTo>
                    <a:pt x="2" y="1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2"/>
                    <a:pt x="1" y="6"/>
                    <a:pt x="1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0" y="14"/>
                    <a:pt x="0" y="17"/>
                    <a:pt x="1" y="19"/>
                  </a:cubicBezTo>
                  <a:cubicBezTo>
                    <a:pt x="3" y="21"/>
                    <a:pt x="4" y="21"/>
                    <a:pt x="6" y="20"/>
                  </a:cubicBezTo>
                  <a:cubicBezTo>
                    <a:pt x="9" y="19"/>
                    <a:pt x="10" y="18"/>
                    <a:pt x="11" y="16"/>
                  </a:cubicBezTo>
                  <a:cubicBezTo>
                    <a:pt x="11" y="15"/>
                    <a:pt x="10" y="13"/>
                    <a:pt x="10" y="11"/>
                  </a:cubicBezTo>
                  <a:cubicBezTo>
                    <a:pt x="9" y="9"/>
                    <a:pt x="7" y="5"/>
                    <a:pt x="6" y="4"/>
                  </a:cubicBezTo>
                  <a:cubicBezTo>
                    <a:pt x="5" y="2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57" name="Freeform 467">
              <a:extLst>
                <a:ext uri="{FF2B5EF4-FFF2-40B4-BE49-F238E27FC236}">
                  <a16:creationId xmlns:a16="http://schemas.microsoft.com/office/drawing/2014/main" id="{4101B7FB-04DC-FB8C-80B0-BFA6BF0AC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5261" y="4566302"/>
              <a:ext cx="29061" cy="19374"/>
            </a:xfrm>
            <a:custGeom>
              <a:avLst/>
              <a:gdLst>
                <a:gd name="T0" fmla="*/ 8 w 9"/>
                <a:gd name="T1" fmla="*/ 4 h 6"/>
                <a:gd name="T2" fmla="*/ 5 w 9"/>
                <a:gd name="T3" fmla="*/ 1 h 6"/>
                <a:gd name="T4" fmla="*/ 1 w 9"/>
                <a:gd name="T5" fmla="*/ 4 h 6"/>
                <a:gd name="T6" fmla="*/ 8 w 9"/>
                <a:gd name="T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8" y="4"/>
                  </a:moveTo>
                  <a:cubicBezTo>
                    <a:pt x="9" y="2"/>
                    <a:pt x="7" y="0"/>
                    <a:pt x="5" y="1"/>
                  </a:cubicBezTo>
                  <a:cubicBezTo>
                    <a:pt x="3" y="1"/>
                    <a:pt x="0" y="3"/>
                    <a:pt x="1" y="4"/>
                  </a:cubicBezTo>
                  <a:cubicBezTo>
                    <a:pt x="3" y="5"/>
                    <a:pt x="8" y="6"/>
                    <a:pt x="8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58" name="Freeform 468">
              <a:extLst>
                <a:ext uri="{FF2B5EF4-FFF2-40B4-BE49-F238E27FC236}">
                  <a16:creationId xmlns:a16="http://schemas.microsoft.com/office/drawing/2014/main" id="{1C97A24D-30DA-80A6-5446-27D8E0727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689" y="4543296"/>
              <a:ext cx="29061" cy="19374"/>
            </a:xfrm>
            <a:custGeom>
              <a:avLst/>
              <a:gdLst>
                <a:gd name="T0" fmla="*/ 5 w 9"/>
                <a:gd name="T1" fmla="*/ 4 h 6"/>
                <a:gd name="T2" fmla="*/ 1 w 9"/>
                <a:gd name="T3" fmla="*/ 4 h 6"/>
                <a:gd name="T4" fmla="*/ 6 w 9"/>
                <a:gd name="T5" fmla="*/ 1 h 6"/>
                <a:gd name="T6" fmla="*/ 8 w 9"/>
                <a:gd name="T7" fmla="*/ 1 h 6"/>
                <a:gd name="T8" fmla="*/ 9 w 9"/>
                <a:gd name="T9" fmla="*/ 2 h 6"/>
                <a:gd name="T10" fmla="*/ 5 w 9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6">
                  <a:moveTo>
                    <a:pt x="5" y="4"/>
                  </a:moveTo>
                  <a:cubicBezTo>
                    <a:pt x="4" y="4"/>
                    <a:pt x="1" y="6"/>
                    <a:pt x="1" y="4"/>
                  </a:cubicBezTo>
                  <a:cubicBezTo>
                    <a:pt x="0" y="3"/>
                    <a:pt x="5" y="2"/>
                    <a:pt x="6" y="1"/>
                  </a:cubicBezTo>
                  <a:cubicBezTo>
                    <a:pt x="7" y="0"/>
                    <a:pt x="9" y="0"/>
                    <a:pt x="8" y="1"/>
                  </a:cubicBezTo>
                  <a:cubicBezTo>
                    <a:pt x="7" y="2"/>
                    <a:pt x="8" y="2"/>
                    <a:pt x="9" y="2"/>
                  </a:cubicBezTo>
                  <a:cubicBezTo>
                    <a:pt x="9" y="3"/>
                    <a:pt x="6" y="4"/>
                    <a:pt x="5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76" name="Freeform 591">
              <a:extLst>
                <a:ext uri="{FF2B5EF4-FFF2-40B4-BE49-F238E27FC236}">
                  <a16:creationId xmlns:a16="http://schemas.microsoft.com/office/drawing/2014/main" id="{B28B65DF-422D-E7D0-70BE-A78669AAD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7661" y="4280543"/>
              <a:ext cx="7265" cy="7265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0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2"/>
                    <a:pt x="0" y="1"/>
                    <a:pt x="0" y="0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77" name="Freeform 592">
              <a:extLst>
                <a:ext uri="{FF2B5EF4-FFF2-40B4-BE49-F238E27FC236}">
                  <a16:creationId xmlns:a16="http://schemas.microsoft.com/office/drawing/2014/main" id="{DC033E39-BF71-871D-9AE1-476827C27E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2860" y="4270856"/>
              <a:ext cx="6054" cy="9687"/>
            </a:xfrm>
            <a:custGeom>
              <a:avLst/>
              <a:gdLst>
                <a:gd name="T0" fmla="*/ 2 w 2"/>
                <a:gd name="T1" fmla="*/ 1 h 3"/>
                <a:gd name="T2" fmla="*/ 0 w 2"/>
                <a:gd name="T3" fmla="*/ 2 h 3"/>
                <a:gd name="T4" fmla="*/ 2 w 2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1"/>
                  </a:moveTo>
                  <a:cubicBezTo>
                    <a:pt x="2" y="2"/>
                    <a:pt x="0" y="3"/>
                    <a:pt x="0" y="2"/>
                  </a:cubicBezTo>
                  <a:cubicBezTo>
                    <a:pt x="0" y="0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7C9599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78" name="Freeform 593">
              <a:extLst>
                <a:ext uri="{FF2B5EF4-FFF2-40B4-BE49-F238E27FC236}">
                  <a16:creationId xmlns:a16="http://schemas.microsoft.com/office/drawing/2014/main" id="{6BA79570-68F5-5EB5-B721-BCE69B6DE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3904" y="4889078"/>
              <a:ext cx="23006" cy="15741"/>
            </a:xfrm>
            <a:custGeom>
              <a:avLst/>
              <a:gdLst>
                <a:gd name="T0" fmla="*/ 6 w 7"/>
                <a:gd name="T1" fmla="*/ 2 h 5"/>
                <a:gd name="T2" fmla="*/ 0 w 7"/>
                <a:gd name="T3" fmla="*/ 2 h 5"/>
                <a:gd name="T4" fmla="*/ 6 w 7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6" y="2"/>
                  </a:moveTo>
                  <a:cubicBezTo>
                    <a:pt x="7" y="0"/>
                    <a:pt x="0" y="1"/>
                    <a:pt x="0" y="2"/>
                  </a:cubicBezTo>
                  <a:cubicBezTo>
                    <a:pt x="1" y="3"/>
                    <a:pt x="5" y="5"/>
                    <a:pt x="6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09" name="Freeform 624">
              <a:extLst>
                <a:ext uri="{FF2B5EF4-FFF2-40B4-BE49-F238E27FC236}">
                  <a16:creationId xmlns:a16="http://schemas.microsoft.com/office/drawing/2014/main" id="{4B61BCB7-3932-570A-2995-1C12E76872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1419" y="4407682"/>
              <a:ext cx="32693" cy="25428"/>
            </a:xfrm>
            <a:custGeom>
              <a:avLst/>
              <a:gdLst>
                <a:gd name="T0" fmla="*/ 8 w 10"/>
                <a:gd name="T1" fmla="*/ 0 h 8"/>
                <a:gd name="T2" fmla="*/ 8 w 10"/>
                <a:gd name="T3" fmla="*/ 0 h 8"/>
                <a:gd name="T4" fmla="*/ 5 w 10"/>
                <a:gd name="T5" fmla="*/ 2 h 8"/>
                <a:gd name="T6" fmla="*/ 1 w 10"/>
                <a:gd name="T7" fmla="*/ 5 h 8"/>
                <a:gd name="T8" fmla="*/ 1 w 10"/>
                <a:gd name="T9" fmla="*/ 8 h 8"/>
                <a:gd name="T10" fmla="*/ 4 w 10"/>
                <a:gd name="T11" fmla="*/ 8 h 8"/>
                <a:gd name="T12" fmla="*/ 9 w 10"/>
                <a:gd name="T13" fmla="*/ 4 h 8"/>
                <a:gd name="T14" fmla="*/ 10 w 10"/>
                <a:gd name="T15" fmla="*/ 3 h 8"/>
                <a:gd name="T16" fmla="*/ 10 w 10"/>
                <a:gd name="T17" fmla="*/ 3 h 8"/>
                <a:gd name="T18" fmla="*/ 8 w 10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8"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7" y="1"/>
                    <a:pt x="6" y="1"/>
                    <a:pt x="5" y="2"/>
                  </a:cubicBezTo>
                  <a:cubicBezTo>
                    <a:pt x="4" y="3"/>
                    <a:pt x="1" y="4"/>
                    <a:pt x="1" y="5"/>
                  </a:cubicBezTo>
                  <a:cubicBezTo>
                    <a:pt x="0" y="6"/>
                    <a:pt x="0" y="8"/>
                    <a:pt x="1" y="8"/>
                  </a:cubicBezTo>
                  <a:cubicBezTo>
                    <a:pt x="2" y="8"/>
                    <a:pt x="4" y="8"/>
                    <a:pt x="4" y="8"/>
                  </a:cubicBezTo>
                  <a:cubicBezTo>
                    <a:pt x="5" y="7"/>
                    <a:pt x="7" y="4"/>
                    <a:pt x="9" y="4"/>
                  </a:cubicBezTo>
                  <a:cubicBezTo>
                    <a:pt x="9" y="4"/>
                    <a:pt x="9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10" name="Freeform 625">
              <a:extLst>
                <a:ext uri="{FF2B5EF4-FFF2-40B4-BE49-F238E27FC236}">
                  <a16:creationId xmlns:a16="http://schemas.microsoft.com/office/drawing/2014/main" id="{279ECBD9-E0CB-A284-BEB1-09E319C53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8058" y="4397995"/>
              <a:ext cx="41169" cy="19374"/>
            </a:xfrm>
            <a:custGeom>
              <a:avLst/>
              <a:gdLst>
                <a:gd name="T0" fmla="*/ 13 w 13"/>
                <a:gd name="T1" fmla="*/ 1 h 6"/>
                <a:gd name="T2" fmla="*/ 10 w 13"/>
                <a:gd name="T3" fmla="*/ 0 h 6"/>
                <a:gd name="T4" fmla="*/ 4 w 13"/>
                <a:gd name="T5" fmla="*/ 1 h 6"/>
                <a:gd name="T6" fmla="*/ 0 w 13"/>
                <a:gd name="T7" fmla="*/ 3 h 6"/>
                <a:gd name="T8" fmla="*/ 0 w 13"/>
                <a:gd name="T9" fmla="*/ 3 h 6"/>
                <a:gd name="T10" fmla="*/ 0 w 13"/>
                <a:gd name="T11" fmla="*/ 3 h 6"/>
                <a:gd name="T12" fmla="*/ 2 w 13"/>
                <a:gd name="T13" fmla="*/ 6 h 6"/>
                <a:gd name="T14" fmla="*/ 2 w 13"/>
                <a:gd name="T15" fmla="*/ 6 h 6"/>
                <a:gd name="T16" fmla="*/ 8 w 13"/>
                <a:gd name="T17" fmla="*/ 3 h 6"/>
                <a:gd name="T18" fmla="*/ 13 w 13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6">
                  <a:moveTo>
                    <a:pt x="13" y="1"/>
                  </a:moveTo>
                  <a:cubicBezTo>
                    <a:pt x="13" y="1"/>
                    <a:pt x="11" y="0"/>
                    <a:pt x="10" y="0"/>
                  </a:cubicBezTo>
                  <a:cubicBezTo>
                    <a:pt x="9" y="1"/>
                    <a:pt x="6" y="1"/>
                    <a:pt x="4" y="1"/>
                  </a:cubicBezTo>
                  <a:cubicBezTo>
                    <a:pt x="3" y="1"/>
                    <a:pt x="1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7" y="4"/>
                    <a:pt x="8" y="3"/>
                  </a:cubicBezTo>
                  <a:cubicBezTo>
                    <a:pt x="10" y="3"/>
                    <a:pt x="12" y="2"/>
                    <a:pt x="13" y="1"/>
                  </a:cubicBezTo>
                  <a:close/>
                </a:path>
              </a:pathLst>
            </a:custGeom>
            <a:solidFill>
              <a:srgbClr val="F2F2F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57" name="Freeform 672">
              <a:extLst>
                <a:ext uri="{FF2B5EF4-FFF2-40B4-BE49-F238E27FC236}">
                  <a16:creationId xmlns:a16="http://schemas.microsoft.com/office/drawing/2014/main" id="{CE75D8E1-7B76-27B9-B2EF-036A584874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4530" y="3415999"/>
              <a:ext cx="197370" cy="84759"/>
            </a:xfrm>
            <a:custGeom>
              <a:avLst/>
              <a:gdLst>
                <a:gd name="T0" fmla="*/ 61 w 61"/>
                <a:gd name="T1" fmla="*/ 6 h 26"/>
                <a:gd name="T2" fmla="*/ 57 w 61"/>
                <a:gd name="T3" fmla="*/ 5 h 26"/>
                <a:gd name="T4" fmla="*/ 48 w 61"/>
                <a:gd name="T5" fmla="*/ 3 h 26"/>
                <a:gd name="T6" fmla="*/ 37 w 61"/>
                <a:gd name="T7" fmla="*/ 2 h 26"/>
                <a:gd name="T8" fmla="*/ 29 w 61"/>
                <a:gd name="T9" fmla="*/ 1 h 26"/>
                <a:gd name="T10" fmla="*/ 25 w 61"/>
                <a:gd name="T11" fmla="*/ 2 h 26"/>
                <a:gd name="T12" fmla="*/ 24 w 61"/>
                <a:gd name="T13" fmla="*/ 5 h 26"/>
                <a:gd name="T14" fmla="*/ 17 w 61"/>
                <a:gd name="T15" fmla="*/ 4 h 26"/>
                <a:gd name="T16" fmla="*/ 13 w 61"/>
                <a:gd name="T17" fmla="*/ 4 h 26"/>
                <a:gd name="T18" fmla="*/ 12 w 61"/>
                <a:gd name="T19" fmla="*/ 6 h 26"/>
                <a:gd name="T20" fmla="*/ 9 w 61"/>
                <a:gd name="T21" fmla="*/ 9 h 26"/>
                <a:gd name="T22" fmla="*/ 7 w 61"/>
                <a:gd name="T23" fmla="*/ 12 h 26"/>
                <a:gd name="T24" fmla="*/ 12 w 61"/>
                <a:gd name="T25" fmla="*/ 14 h 26"/>
                <a:gd name="T26" fmla="*/ 14 w 61"/>
                <a:gd name="T27" fmla="*/ 12 h 26"/>
                <a:gd name="T28" fmla="*/ 17 w 61"/>
                <a:gd name="T29" fmla="*/ 14 h 26"/>
                <a:gd name="T30" fmla="*/ 21 w 61"/>
                <a:gd name="T31" fmla="*/ 17 h 26"/>
                <a:gd name="T32" fmla="*/ 18 w 61"/>
                <a:gd name="T33" fmla="*/ 18 h 26"/>
                <a:gd name="T34" fmla="*/ 15 w 61"/>
                <a:gd name="T35" fmla="*/ 21 h 26"/>
                <a:gd name="T36" fmla="*/ 12 w 61"/>
                <a:gd name="T37" fmla="*/ 19 h 26"/>
                <a:gd name="T38" fmla="*/ 11 w 61"/>
                <a:gd name="T39" fmla="*/ 22 h 26"/>
                <a:gd name="T40" fmla="*/ 8 w 61"/>
                <a:gd name="T41" fmla="*/ 23 h 26"/>
                <a:gd name="T42" fmla="*/ 4 w 61"/>
                <a:gd name="T43" fmla="*/ 20 h 26"/>
                <a:gd name="T44" fmla="*/ 1 w 61"/>
                <a:gd name="T45" fmla="*/ 23 h 26"/>
                <a:gd name="T46" fmla="*/ 4 w 61"/>
                <a:gd name="T47" fmla="*/ 24 h 26"/>
                <a:gd name="T48" fmla="*/ 10 w 61"/>
                <a:gd name="T49" fmla="*/ 25 h 26"/>
                <a:gd name="T50" fmla="*/ 13 w 61"/>
                <a:gd name="T51" fmla="*/ 24 h 26"/>
                <a:gd name="T52" fmla="*/ 15 w 61"/>
                <a:gd name="T53" fmla="*/ 25 h 26"/>
                <a:gd name="T54" fmla="*/ 18 w 61"/>
                <a:gd name="T55" fmla="*/ 26 h 26"/>
                <a:gd name="T56" fmla="*/ 20 w 61"/>
                <a:gd name="T57" fmla="*/ 26 h 26"/>
                <a:gd name="T58" fmla="*/ 23 w 61"/>
                <a:gd name="T59" fmla="*/ 26 h 26"/>
                <a:gd name="T60" fmla="*/ 26 w 61"/>
                <a:gd name="T61" fmla="*/ 25 h 26"/>
                <a:gd name="T62" fmla="*/ 26 w 61"/>
                <a:gd name="T63" fmla="*/ 25 h 26"/>
                <a:gd name="T64" fmla="*/ 27 w 61"/>
                <a:gd name="T65" fmla="*/ 24 h 26"/>
                <a:gd name="T66" fmla="*/ 28 w 61"/>
                <a:gd name="T67" fmla="*/ 21 h 26"/>
                <a:gd name="T68" fmla="*/ 32 w 61"/>
                <a:gd name="T69" fmla="*/ 19 h 26"/>
                <a:gd name="T70" fmla="*/ 34 w 61"/>
                <a:gd name="T71" fmla="*/ 19 h 26"/>
                <a:gd name="T72" fmla="*/ 36 w 61"/>
                <a:gd name="T73" fmla="*/ 18 h 26"/>
                <a:gd name="T74" fmla="*/ 37 w 61"/>
                <a:gd name="T75" fmla="*/ 19 h 26"/>
                <a:gd name="T76" fmla="*/ 39 w 61"/>
                <a:gd name="T77" fmla="*/ 18 h 26"/>
                <a:gd name="T78" fmla="*/ 41 w 61"/>
                <a:gd name="T79" fmla="*/ 18 h 26"/>
                <a:gd name="T80" fmla="*/ 43 w 61"/>
                <a:gd name="T81" fmla="*/ 15 h 26"/>
                <a:gd name="T82" fmla="*/ 49 w 61"/>
                <a:gd name="T83" fmla="*/ 14 h 26"/>
                <a:gd name="T84" fmla="*/ 51 w 61"/>
                <a:gd name="T85" fmla="*/ 13 h 26"/>
                <a:gd name="T86" fmla="*/ 56 w 61"/>
                <a:gd name="T87" fmla="*/ 10 h 26"/>
                <a:gd name="T88" fmla="*/ 61 w 61"/>
                <a:gd name="T89" fmla="*/ 8 h 26"/>
                <a:gd name="T90" fmla="*/ 61 w 61"/>
                <a:gd name="T91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1" h="26">
                  <a:moveTo>
                    <a:pt x="61" y="6"/>
                  </a:moveTo>
                  <a:cubicBezTo>
                    <a:pt x="61" y="6"/>
                    <a:pt x="58" y="5"/>
                    <a:pt x="57" y="5"/>
                  </a:cubicBezTo>
                  <a:cubicBezTo>
                    <a:pt x="57" y="5"/>
                    <a:pt x="50" y="3"/>
                    <a:pt x="48" y="3"/>
                  </a:cubicBezTo>
                  <a:cubicBezTo>
                    <a:pt x="46" y="2"/>
                    <a:pt x="38" y="2"/>
                    <a:pt x="37" y="2"/>
                  </a:cubicBezTo>
                  <a:cubicBezTo>
                    <a:pt x="35" y="3"/>
                    <a:pt x="31" y="1"/>
                    <a:pt x="29" y="1"/>
                  </a:cubicBezTo>
                  <a:cubicBezTo>
                    <a:pt x="28" y="0"/>
                    <a:pt x="26" y="1"/>
                    <a:pt x="25" y="2"/>
                  </a:cubicBezTo>
                  <a:cubicBezTo>
                    <a:pt x="24" y="2"/>
                    <a:pt x="24" y="5"/>
                    <a:pt x="24" y="5"/>
                  </a:cubicBezTo>
                  <a:cubicBezTo>
                    <a:pt x="23" y="6"/>
                    <a:pt x="18" y="4"/>
                    <a:pt x="17" y="4"/>
                  </a:cubicBezTo>
                  <a:cubicBezTo>
                    <a:pt x="15" y="4"/>
                    <a:pt x="14" y="3"/>
                    <a:pt x="13" y="4"/>
                  </a:cubicBezTo>
                  <a:cubicBezTo>
                    <a:pt x="12" y="5"/>
                    <a:pt x="12" y="6"/>
                    <a:pt x="12" y="6"/>
                  </a:cubicBezTo>
                  <a:cubicBezTo>
                    <a:pt x="12" y="6"/>
                    <a:pt x="10" y="8"/>
                    <a:pt x="9" y="9"/>
                  </a:cubicBezTo>
                  <a:cubicBezTo>
                    <a:pt x="8" y="10"/>
                    <a:pt x="7" y="11"/>
                    <a:pt x="7" y="12"/>
                  </a:cubicBezTo>
                  <a:cubicBezTo>
                    <a:pt x="7" y="13"/>
                    <a:pt x="9" y="13"/>
                    <a:pt x="12" y="14"/>
                  </a:cubicBezTo>
                  <a:cubicBezTo>
                    <a:pt x="14" y="15"/>
                    <a:pt x="13" y="13"/>
                    <a:pt x="14" y="12"/>
                  </a:cubicBezTo>
                  <a:cubicBezTo>
                    <a:pt x="15" y="12"/>
                    <a:pt x="16" y="13"/>
                    <a:pt x="17" y="14"/>
                  </a:cubicBezTo>
                  <a:cubicBezTo>
                    <a:pt x="18" y="15"/>
                    <a:pt x="20" y="16"/>
                    <a:pt x="21" y="17"/>
                  </a:cubicBezTo>
                  <a:cubicBezTo>
                    <a:pt x="22" y="18"/>
                    <a:pt x="19" y="18"/>
                    <a:pt x="18" y="18"/>
                  </a:cubicBezTo>
                  <a:cubicBezTo>
                    <a:pt x="17" y="19"/>
                    <a:pt x="17" y="20"/>
                    <a:pt x="15" y="21"/>
                  </a:cubicBezTo>
                  <a:cubicBezTo>
                    <a:pt x="13" y="21"/>
                    <a:pt x="13" y="20"/>
                    <a:pt x="12" y="19"/>
                  </a:cubicBezTo>
                  <a:cubicBezTo>
                    <a:pt x="11" y="19"/>
                    <a:pt x="11" y="21"/>
                    <a:pt x="11" y="22"/>
                  </a:cubicBezTo>
                  <a:cubicBezTo>
                    <a:pt x="11" y="22"/>
                    <a:pt x="9" y="23"/>
                    <a:pt x="8" y="23"/>
                  </a:cubicBezTo>
                  <a:cubicBezTo>
                    <a:pt x="7" y="23"/>
                    <a:pt x="6" y="21"/>
                    <a:pt x="4" y="20"/>
                  </a:cubicBezTo>
                  <a:cubicBezTo>
                    <a:pt x="3" y="20"/>
                    <a:pt x="1" y="22"/>
                    <a:pt x="1" y="23"/>
                  </a:cubicBezTo>
                  <a:cubicBezTo>
                    <a:pt x="0" y="24"/>
                    <a:pt x="2" y="24"/>
                    <a:pt x="4" y="24"/>
                  </a:cubicBezTo>
                  <a:cubicBezTo>
                    <a:pt x="7" y="25"/>
                    <a:pt x="8" y="24"/>
                    <a:pt x="10" y="25"/>
                  </a:cubicBezTo>
                  <a:cubicBezTo>
                    <a:pt x="12" y="26"/>
                    <a:pt x="12" y="24"/>
                    <a:pt x="13" y="24"/>
                  </a:cubicBezTo>
                  <a:cubicBezTo>
                    <a:pt x="14" y="24"/>
                    <a:pt x="14" y="25"/>
                    <a:pt x="15" y="25"/>
                  </a:cubicBezTo>
                  <a:cubicBezTo>
                    <a:pt x="15" y="25"/>
                    <a:pt x="17" y="26"/>
                    <a:pt x="18" y="26"/>
                  </a:cubicBezTo>
                  <a:cubicBezTo>
                    <a:pt x="18" y="26"/>
                    <a:pt x="19" y="26"/>
                    <a:pt x="20" y="26"/>
                  </a:cubicBezTo>
                  <a:cubicBezTo>
                    <a:pt x="21" y="26"/>
                    <a:pt x="22" y="26"/>
                    <a:pt x="23" y="26"/>
                  </a:cubicBezTo>
                  <a:cubicBezTo>
                    <a:pt x="24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4"/>
                    <a:pt x="27" y="24"/>
                  </a:cubicBezTo>
                  <a:cubicBezTo>
                    <a:pt x="27" y="23"/>
                    <a:pt x="27" y="22"/>
                    <a:pt x="28" y="21"/>
                  </a:cubicBezTo>
                  <a:cubicBezTo>
                    <a:pt x="29" y="21"/>
                    <a:pt x="31" y="19"/>
                    <a:pt x="32" y="19"/>
                  </a:cubicBezTo>
                  <a:cubicBezTo>
                    <a:pt x="32" y="18"/>
                    <a:pt x="33" y="19"/>
                    <a:pt x="34" y="19"/>
                  </a:cubicBezTo>
                  <a:cubicBezTo>
                    <a:pt x="35" y="19"/>
                    <a:pt x="35" y="18"/>
                    <a:pt x="36" y="18"/>
                  </a:cubicBezTo>
                  <a:cubicBezTo>
                    <a:pt x="37" y="18"/>
                    <a:pt x="37" y="19"/>
                    <a:pt x="37" y="19"/>
                  </a:cubicBezTo>
                  <a:cubicBezTo>
                    <a:pt x="37" y="19"/>
                    <a:pt x="38" y="19"/>
                    <a:pt x="39" y="18"/>
                  </a:cubicBezTo>
                  <a:cubicBezTo>
                    <a:pt x="40" y="18"/>
                    <a:pt x="40" y="18"/>
                    <a:pt x="41" y="18"/>
                  </a:cubicBezTo>
                  <a:cubicBezTo>
                    <a:pt x="41" y="18"/>
                    <a:pt x="42" y="17"/>
                    <a:pt x="43" y="15"/>
                  </a:cubicBezTo>
                  <a:cubicBezTo>
                    <a:pt x="44" y="14"/>
                    <a:pt x="49" y="14"/>
                    <a:pt x="49" y="14"/>
                  </a:cubicBezTo>
                  <a:cubicBezTo>
                    <a:pt x="50" y="14"/>
                    <a:pt x="51" y="14"/>
                    <a:pt x="51" y="13"/>
                  </a:cubicBezTo>
                  <a:cubicBezTo>
                    <a:pt x="52" y="12"/>
                    <a:pt x="55" y="11"/>
                    <a:pt x="56" y="10"/>
                  </a:cubicBezTo>
                  <a:cubicBezTo>
                    <a:pt x="57" y="9"/>
                    <a:pt x="60" y="8"/>
                    <a:pt x="61" y="8"/>
                  </a:cubicBezTo>
                  <a:cubicBezTo>
                    <a:pt x="61" y="8"/>
                    <a:pt x="61" y="7"/>
                    <a:pt x="61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58" name="Freeform 673">
              <a:extLst>
                <a:ext uri="{FF2B5EF4-FFF2-40B4-BE49-F238E27FC236}">
                  <a16:creationId xmlns:a16="http://schemas.microsoft.com/office/drawing/2014/main" id="{7D74A363-2B22-FD9F-5B9B-674645B6C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4780" y="3363932"/>
              <a:ext cx="311190" cy="185259"/>
            </a:xfrm>
            <a:custGeom>
              <a:avLst/>
              <a:gdLst>
                <a:gd name="T0" fmla="*/ 89 w 96"/>
                <a:gd name="T1" fmla="*/ 37 h 57"/>
                <a:gd name="T2" fmla="*/ 95 w 96"/>
                <a:gd name="T3" fmla="*/ 33 h 57"/>
                <a:gd name="T4" fmla="*/ 88 w 96"/>
                <a:gd name="T5" fmla="*/ 28 h 57"/>
                <a:gd name="T6" fmla="*/ 81 w 96"/>
                <a:gd name="T7" fmla="*/ 28 h 57"/>
                <a:gd name="T8" fmla="*/ 86 w 96"/>
                <a:gd name="T9" fmla="*/ 22 h 57"/>
                <a:gd name="T10" fmla="*/ 75 w 96"/>
                <a:gd name="T11" fmla="*/ 27 h 57"/>
                <a:gd name="T12" fmla="*/ 69 w 96"/>
                <a:gd name="T13" fmla="*/ 33 h 57"/>
                <a:gd name="T14" fmla="*/ 61 w 96"/>
                <a:gd name="T15" fmla="*/ 29 h 57"/>
                <a:gd name="T16" fmla="*/ 57 w 96"/>
                <a:gd name="T17" fmla="*/ 21 h 57"/>
                <a:gd name="T18" fmla="*/ 52 w 96"/>
                <a:gd name="T19" fmla="*/ 13 h 57"/>
                <a:gd name="T20" fmla="*/ 44 w 96"/>
                <a:gd name="T21" fmla="*/ 13 h 57"/>
                <a:gd name="T22" fmla="*/ 29 w 96"/>
                <a:gd name="T23" fmla="*/ 8 h 57"/>
                <a:gd name="T24" fmla="*/ 26 w 96"/>
                <a:gd name="T25" fmla="*/ 7 h 57"/>
                <a:gd name="T26" fmla="*/ 19 w 96"/>
                <a:gd name="T27" fmla="*/ 11 h 57"/>
                <a:gd name="T28" fmla="*/ 19 w 96"/>
                <a:gd name="T29" fmla="*/ 4 h 57"/>
                <a:gd name="T30" fmla="*/ 17 w 96"/>
                <a:gd name="T31" fmla="*/ 1 h 57"/>
                <a:gd name="T32" fmla="*/ 16 w 96"/>
                <a:gd name="T33" fmla="*/ 9 h 57"/>
                <a:gd name="T34" fmla="*/ 14 w 96"/>
                <a:gd name="T35" fmla="*/ 3 h 57"/>
                <a:gd name="T36" fmla="*/ 15 w 96"/>
                <a:gd name="T37" fmla="*/ 0 h 57"/>
                <a:gd name="T38" fmla="*/ 0 w 96"/>
                <a:gd name="T39" fmla="*/ 4 h 57"/>
                <a:gd name="T40" fmla="*/ 6 w 96"/>
                <a:gd name="T41" fmla="*/ 29 h 57"/>
                <a:gd name="T42" fmla="*/ 9 w 96"/>
                <a:gd name="T43" fmla="*/ 23 h 57"/>
                <a:gd name="T44" fmla="*/ 14 w 96"/>
                <a:gd name="T45" fmla="*/ 20 h 57"/>
                <a:gd name="T46" fmla="*/ 20 w 96"/>
                <a:gd name="T47" fmla="*/ 22 h 57"/>
                <a:gd name="T48" fmla="*/ 24 w 96"/>
                <a:gd name="T49" fmla="*/ 28 h 57"/>
                <a:gd name="T50" fmla="*/ 34 w 96"/>
                <a:gd name="T51" fmla="*/ 32 h 57"/>
                <a:gd name="T52" fmla="*/ 43 w 96"/>
                <a:gd name="T53" fmla="*/ 42 h 57"/>
                <a:gd name="T54" fmla="*/ 54 w 96"/>
                <a:gd name="T55" fmla="*/ 49 h 57"/>
                <a:gd name="T56" fmla="*/ 60 w 96"/>
                <a:gd name="T57" fmla="*/ 55 h 57"/>
                <a:gd name="T58" fmla="*/ 60 w 96"/>
                <a:gd name="T59" fmla="*/ 55 h 57"/>
                <a:gd name="T60" fmla="*/ 67 w 96"/>
                <a:gd name="T61" fmla="*/ 57 h 57"/>
                <a:gd name="T62" fmla="*/ 70 w 96"/>
                <a:gd name="T63" fmla="*/ 50 h 57"/>
                <a:gd name="T64" fmla="*/ 68 w 96"/>
                <a:gd name="T65" fmla="*/ 44 h 57"/>
                <a:gd name="T66" fmla="*/ 67 w 96"/>
                <a:gd name="T67" fmla="*/ 40 h 57"/>
                <a:gd name="T68" fmla="*/ 72 w 96"/>
                <a:gd name="T69" fmla="*/ 38 h 57"/>
                <a:gd name="T70" fmla="*/ 75 w 96"/>
                <a:gd name="T71" fmla="*/ 36 h 57"/>
                <a:gd name="T72" fmla="*/ 78 w 96"/>
                <a:gd name="T73" fmla="*/ 33 h 57"/>
                <a:gd name="T74" fmla="*/ 82 w 96"/>
                <a:gd name="T75" fmla="*/ 34 h 57"/>
                <a:gd name="T76" fmla="*/ 85 w 96"/>
                <a:gd name="T77" fmla="*/ 36 h 57"/>
                <a:gd name="T78" fmla="*/ 86 w 96"/>
                <a:gd name="T79" fmla="*/ 3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57">
                  <a:moveTo>
                    <a:pt x="86" y="35"/>
                  </a:moveTo>
                  <a:cubicBezTo>
                    <a:pt x="87" y="36"/>
                    <a:pt x="87" y="37"/>
                    <a:pt x="89" y="37"/>
                  </a:cubicBezTo>
                  <a:cubicBezTo>
                    <a:pt x="91" y="36"/>
                    <a:pt x="91" y="35"/>
                    <a:pt x="92" y="34"/>
                  </a:cubicBezTo>
                  <a:cubicBezTo>
                    <a:pt x="93" y="34"/>
                    <a:pt x="96" y="34"/>
                    <a:pt x="95" y="33"/>
                  </a:cubicBezTo>
                  <a:cubicBezTo>
                    <a:pt x="94" y="32"/>
                    <a:pt x="92" y="31"/>
                    <a:pt x="91" y="30"/>
                  </a:cubicBezTo>
                  <a:cubicBezTo>
                    <a:pt x="90" y="29"/>
                    <a:pt x="89" y="28"/>
                    <a:pt x="88" y="28"/>
                  </a:cubicBezTo>
                  <a:cubicBezTo>
                    <a:pt x="87" y="29"/>
                    <a:pt x="88" y="31"/>
                    <a:pt x="86" y="30"/>
                  </a:cubicBezTo>
                  <a:cubicBezTo>
                    <a:pt x="83" y="29"/>
                    <a:pt x="81" y="29"/>
                    <a:pt x="81" y="28"/>
                  </a:cubicBezTo>
                  <a:cubicBezTo>
                    <a:pt x="81" y="27"/>
                    <a:pt x="82" y="26"/>
                    <a:pt x="83" y="25"/>
                  </a:cubicBezTo>
                  <a:cubicBezTo>
                    <a:pt x="84" y="24"/>
                    <a:pt x="86" y="22"/>
                    <a:pt x="86" y="22"/>
                  </a:cubicBezTo>
                  <a:cubicBezTo>
                    <a:pt x="85" y="22"/>
                    <a:pt x="82" y="24"/>
                    <a:pt x="81" y="24"/>
                  </a:cubicBezTo>
                  <a:cubicBezTo>
                    <a:pt x="80" y="25"/>
                    <a:pt x="76" y="26"/>
                    <a:pt x="75" y="27"/>
                  </a:cubicBezTo>
                  <a:cubicBezTo>
                    <a:pt x="74" y="28"/>
                    <a:pt x="72" y="32"/>
                    <a:pt x="71" y="33"/>
                  </a:cubicBezTo>
                  <a:cubicBezTo>
                    <a:pt x="71" y="34"/>
                    <a:pt x="70" y="34"/>
                    <a:pt x="69" y="33"/>
                  </a:cubicBezTo>
                  <a:cubicBezTo>
                    <a:pt x="69" y="32"/>
                    <a:pt x="68" y="30"/>
                    <a:pt x="67" y="29"/>
                  </a:cubicBezTo>
                  <a:cubicBezTo>
                    <a:pt x="65" y="29"/>
                    <a:pt x="61" y="30"/>
                    <a:pt x="61" y="29"/>
                  </a:cubicBezTo>
                  <a:cubicBezTo>
                    <a:pt x="60" y="28"/>
                    <a:pt x="60" y="27"/>
                    <a:pt x="58" y="25"/>
                  </a:cubicBezTo>
                  <a:cubicBezTo>
                    <a:pt x="57" y="24"/>
                    <a:pt x="57" y="22"/>
                    <a:pt x="57" y="21"/>
                  </a:cubicBezTo>
                  <a:cubicBezTo>
                    <a:pt x="58" y="21"/>
                    <a:pt x="58" y="20"/>
                    <a:pt x="58" y="19"/>
                  </a:cubicBezTo>
                  <a:cubicBezTo>
                    <a:pt x="57" y="18"/>
                    <a:pt x="53" y="13"/>
                    <a:pt x="52" y="13"/>
                  </a:cubicBezTo>
                  <a:cubicBezTo>
                    <a:pt x="51" y="12"/>
                    <a:pt x="50" y="12"/>
                    <a:pt x="49" y="13"/>
                  </a:cubicBezTo>
                  <a:cubicBezTo>
                    <a:pt x="48" y="13"/>
                    <a:pt x="47" y="14"/>
                    <a:pt x="44" y="13"/>
                  </a:cubicBezTo>
                  <a:cubicBezTo>
                    <a:pt x="41" y="12"/>
                    <a:pt x="38" y="14"/>
                    <a:pt x="36" y="13"/>
                  </a:cubicBezTo>
                  <a:cubicBezTo>
                    <a:pt x="33" y="13"/>
                    <a:pt x="30" y="9"/>
                    <a:pt x="29" y="8"/>
                  </a:cubicBezTo>
                  <a:cubicBezTo>
                    <a:pt x="28" y="8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9"/>
                    <a:pt x="25" y="10"/>
                    <a:pt x="23" y="10"/>
                  </a:cubicBezTo>
                  <a:cubicBezTo>
                    <a:pt x="21" y="10"/>
                    <a:pt x="21" y="11"/>
                    <a:pt x="19" y="11"/>
                  </a:cubicBezTo>
                  <a:cubicBezTo>
                    <a:pt x="17" y="10"/>
                    <a:pt x="17" y="9"/>
                    <a:pt x="18" y="8"/>
                  </a:cubicBezTo>
                  <a:cubicBezTo>
                    <a:pt x="18" y="6"/>
                    <a:pt x="19" y="5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8" y="2"/>
                    <a:pt x="17" y="1"/>
                    <a:pt x="17" y="1"/>
                  </a:cubicBezTo>
                  <a:cubicBezTo>
                    <a:pt x="16" y="2"/>
                    <a:pt x="16" y="4"/>
                    <a:pt x="16" y="5"/>
                  </a:cubicBezTo>
                  <a:cubicBezTo>
                    <a:pt x="16" y="6"/>
                    <a:pt x="17" y="9"/>
                    <a:pt x="16" y="9"/>
                  </a:cubicBezTo>
                  <a:cubicBezTo>
                    <a:pt x="16" y="8"/>
                    <a:pt x="14" y="8"/>
                    <a:pt x="14" y="7"/>
                  </a:cubicBezTo>
                  <a:cubicBezTo>
                    <a:pt x="13" y="6"/>
                    <a:pt x="13" y="4"/>
                    <a:pt x="14" y="3"/>
                  </a:cubicBezTo>
                  <a:cubicBezTo>
                    <a:pt x="14" y="3"/>
                    <a:pt x="15" y="1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9"/>
                    <a:pt x="6" y="29"/>
                    <a:pt x="6" y="29"/>
                  </a:cubicBezTo>
                  <a:cubicBezTo>
                    <a:pt x="7" y="28"/>
                    <a:pt x="5" y="26"/>
                    <a:pt x="6" y="25"/>
                  </a:cubicBezTo>
                  <a:cubicBezTo>
                    <a:pt x="6" y="24"/>
                    <a:pt x="8" y="23"/>
                    <a:pt x="9" y="23"/>
                  </a:cubicBezTo>
                  <a:cubicBezTo>
                    <a:pt x="11" y="23"/>
                    <a:pt x="11" y="21"/>
                    <a:pt x="12" y="21"/>
                  </a:cubicBezTo>
                  <a:cubicBezTo>
                    <a:pt x="13" y="20"/>
                    <a:pt x="14" y="21"/>
                    <a:pt x="14" y="20"/>
                  </a:cubicBezTo>
                  <a:cubicBezTo>
                    <a:pt x="14" y="20"/>
                    <a:pt x="16" y="19"/>
                    <a:pt x="16" y="20"/>
                  </a:cubicBezTo>
                  <a:cubicBezTo>
                    <a:pt x="17" y="20"/>
                    <a:pt x="19" y="22"/>
                    <a:pt x="20" y="22"/>
                  </a:cubicBezTo>
                  <a:cubicBezTo>
                    <a:pt x="21" y="22"/>
                    <a:pt x="23" y="21"/>
                    <a:pt x="23" y="22"/>
                  </a:cubicBezTo>
                  <a:cubicBezTo>
                    <a:pt x="23" y="23"/>
                    <a:pt x="22" y="27"/>
                    <a:pt x="24" y="28"/>
                  </a:cubicBezTo>
                  <a:cubicBezTo>
                    <a:pt x="25" y="29"/>
                    <a:pt x="28" y="30"/>
                    <a:pt x="30" y="30"/>
                  </a:cubicBezTo>
                  <a:cubicBezTo>
                    <a:pt x="33" y="30"/>
                    <a:pt x="33" y="30"/>
                    <a:pt x="34" y="32"/>
                  </a:cubicBezTo>
                  <a:cubicBezTo>
                    <a:pt x="35" y="34"/>
                    <a:pt x="36" y="38"/>
                    <a:pt x="38" y="38"/>
                  </a:cubicBezTo>
                  <a:cubicBezTo>
                    <a:pt x="39" y="39"/>
                    <a:pt x="43" y="41"/>
                    <a:pt x="43" y="42"/>
                  </a:cubicBezTo>
                  <a:cubicBezTo>
                    <a:pt x="44" y="43"/>
                    <a:pt x="46" y="44"/>
                    <a:pt x="48" y="45"/>
                  </a:cubicBezTo>
                  <a:cubicBezTo>
                    <a:pt x="49" y="45"/>
                    <a:pt x="52" y="48"/>
                    <a:pt x="54" y="49"/>
                  </a:cubicBezTo>
                  <a:cubicBezTo>
                    <a:pt x="56" y="50"/>
                    <a:pt x="59" y="50"/>
                    <a:pt x="60" y="51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2" y="54"/>
                    <a:pt x="62" y="56"/>
                    <a:pt x="63" y="56"/>
                  </a:cubicBezTo>
                  <a:cubicBezTo>
                    <a:pt x="64" y="56"/>
                    <a:pt x="66" y="56"/>
                    <a:pt x="67" y="57"/>
                  </a:cubicBezTo>
                  <a:cubicBezTo>
                    <a:pt x="67" y="57"/>
                    <a:pt x="66" y="55"/>
                    <a:pt x="67" y="54"/>
                  </a:cubicBezTo>
                  <a:cubicBezTo>
                    <a:pt x="67" y="52"/>
                    <a:pt x="71" y="52"/>
                    <a:pt x="70" y="50"/>
                  </a:cubicBezTo>
                  <a:cubicBezTo>
                    <a:pt x="69" y="48"/>
                    <a:pt x="68" y="48"/>
                    <a:pt x="68" y="47"/>
                  </a:cubicBezTo>
                  <a:cubicBezTo>
                    <a:pt x="68" y="46"/>
                    <a:pt x="69" y="45"/>
                    <a:pt x="68" y="44"/>
                  </a:cubicBezTo>
                  <a:cubicBezTo>
                    <a:pt x="67" y="44"/>
                    <a:pt x="64" y="43"/>
                    <a:pt x="65" y="42"/>
                  </a:cubicBezTo>
                  <a:cubicBezTo>
                    <a:pt x="65" y="41"/>
                    <a:pt x="65" y="40"/>
                    <a:pt x="67" y="40"/>
                  </a:cubicBezTo>
                  <a:cubicBezTo>
                    <a:pt x="68" y="41"/>
                    <a:pt x="70" y="40"/>
                    <a:pt x="71" y="40"/>
                  </a:cubicBezTo>
                  <a:cubicBezTo>
                    <a:pt x="71" y="40"/>
                    <a:pt x="73" y="38"/>
                    <a:pt x="72" y="38"/>
                  </a:cubicBezTo>
                  <a:cubicBezTo>
                    <a:pt x="72" y="37"/>
                    <a:pt x="71" y="36"/>
                    <a:pt x="72" y="36"/>
                  </a:cubicBezTo>
                  <a:cubicBezTo>
                    <a:pt x="73" y="36"/>
                    <a:pt x="74" y="36"/>
                    <a:pt x="75" y="36"/>
                  </a:cubicBezTo>
                  <a:cubicBezTo>
                    <a:pt x="75" y="36"/>
                    <a:pt x="74" y="32"/>
                    <a:pt x="75" y="33"/>
                  </a:cubicBezTo>
                  <a:cubicBezTo>
                    <a:pt x="77" y="33"/>
                    <a:pt x="77" y="34"/>
                    <a:pt x="78" y="33"/>
                  </a:cubicBezTo>
                  <a:cubicBezTo>
                    <a:pt x="79" y="33"/>
                    <a:pt x="82" y="31"/>
                    <a:pt x="82" y="32"/>
                  </a:cubicBezTo>
                  <a:cubicBezTo>
                    <a:pt x="83" y="32"/>
                    <a:pt x="83" y="33"/>
                    <a:pt x="82" y="34"/>
                  </a:cubicBezTo>
                  <a:cubicBezTo>
                    <a:pt x="82" y="34"/>
                    <a:pt x="82" y="37"/>
                    <a:pt x="82" y="37"/>
                  </a:cubicBezTo>
                  <a:cubicBezTo>
                    <a:pt x="82" y="38"/>
                    <a:pt x="84" y="35"/>
                    <a:pt x="85" y="36"/>
                  </a:cubicBezTo>
                  <a:cubicBezTo>
                    <a:pt x="85" y="37"/>
                    <a:pt x="85" y="37"/>
                    <a:pt x="85" y="38"/>
                  </a:cubicBezTo>
                  <a:cubicBezTo>
                    <a:pt x="85" y="37"/>
                    <a:pt x="85" y="35"/>
                    <a:pt x="86" y="3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59" name="Freeform 674">
              <a:extLst>
                <a:ext uri="{FF2B5EF4-FFF2-40B4-BE49-F238E27FC236}">
                  <a16:creationId xmlns:a16="http://schemas.microsoft.com/office/drawing/2014/main" id="{09B0D361-56AC-9371-5503-C9A4B48D0A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9227" y="3572198"/>
              <a:ext cx="2422" cy="2422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60" name="Freeform 675">
              <a:extLst>
                <a:ext uri="{FF2B5EF4-FFF2-40B4-BE49-F238E27FC236}">
                  <a16:creationId xmlns:a16="http://schemas.microsoft.com/office/drawing/2014/main" id="{13F8776A-6DD6-D636-79F8-E6185567D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4238" y="3425685"/>
              <a:ext cx="255491" cy="156199"/>
            </a:xfrm>
            <a:custGeom>
              <a:avLst/>
              <a:gdLst>
                <a:gd name="T0" fmla="*/ 79 w 79"/>
                <a:gd name="T1" fmla="*/ 32 h 48"/>
                <a:gd name="T2" fmla="*/ 73 w 79"/>
                <a:gd name="T3" fmla="*/ 30 h 48"/>
                <a:gd name="T4" fmla="*/ 67 w 79"/>
                <a:gd name="T5" fmla="*/ 26 h 48"/>
                <a:gd name="T6" fmla="*/ 62 w 79"/>
                <a:gd name="T7" fmla="*/ 23 h 48"/>
                <a:gd name="T8" fmla="*/ 57 w 79"/>
                <a:gd name="T9" fmla="*/ 19 h 48"/>
                <a:gd name="T10" fmla="*/ 53 w 79"/>
                <a:gd name="T11" fmla="*/ 13 h 48"/>
                <a:gd name="T12" fmla="*/ 49 w 79"/>
                <a:gd name="T13" fmla="*/ 11 h 48"/>
                <a:gd name="T14" fmla="*/ 43 w 79"/>
                <a:gd name="T15" fmla="*/ 9 h 48"/>
                <a:gd name="T16" fmla="*/ 42 w 79"/>
                <a:gd name="T17" fmla="*/ 3 h 48"/>
                <a:gd name="T18" fmla="*/ 39 w 79"/>
                <a:gd name="T19" fmla="*/ 3 h 48"/>
                <a:gd name="T20" fmla="*/ 35 w 79"/>
                <a:gd name="T21" fmla="*/ 1 h 48"/>
                <a:gd name="T22" fmla="*/ 33 w 79"/>
                <a:gd name="T23" fmla="*/ 1 h 48"/>
                <a:gd name="T24" fmla="*/ 31 w 79"/>
                <a:gd name="T25" fmla="*/ 2 h 48"/>
                <a:gd name="T26" fmla="*/ 28 w 79"/>
                <a:gd name="T27" fmla="*/ 4 h 48"/>
                <a:gd name="T28" fmla="*/ 25 w 79"/>
                <a:gd name="T29" fmla="*/ 6 h 48"/>
                <a:gd name="T30" fmla="*/ 25 w 79"/>
                <a:gd name="T31" fmla="*/ 10 h 48"/>
                <a:gd name="T32" fmla="*/ 19 w 79"/>
                <a:gd name="T33" fmla="*/ 10 h 48"/>
                <a:gd name="T34" fmla="*/ 17 w 79"/>
                <a:gd name="T35" fmla="*/ 10 h 48"/>
                <a:gd name="T36" fmla="*/ 8 w 79"/>
                <a:gd name="T37" fmla="*/ 3 h 48"/>
                <a:gd name="T38" fmla="*/ 0 w 79"/>
                <a:gd name="T39" fmla="*/ 6 h 48"/>
                <a:gd name="T40" fmla="*/ 3 w 79"/>
                <a:gd name="T41" fmla="*/ 12 h 48"/>
                <a:gd name="T42" fmla="*/ 2 w 79"/>
                <a:gd name="T43" fmla="*/ 14 h 48"/>
                <a:gd name="T44" fmla="*/ 1 w 79"/>
                <a:gd name="T45" fmla="*/ 17 h 48"/>
                <a:gd name="T46" fmla="*/ 5 w 79"/>
                <a:gd name="T47" fmla="*/ 19 h 48"/>
                <a:gd name="T48" fmla="*/ 6 w 79"/>
                <a:gd name="T49" fmla="*/ 22 h 48"/>
                <a:gd name="T50" fmla="*/ 8 w 79"/>
                <a:gd name="T51" fmla="*/ 26 h 48"/>
                <a:gd name="T52" fmla="*/ 7 w 79"/>
                <a:gd name="T53" fmla="*/ 28 h 48"/>
                <a:gd name="T54" fmla="*/ 7 w 79"/>
                <a:gd name="T55" fmla="*/ 35 h 48"/>
                <a:gd name="T56" fmla="*/ 7 w 79"/>
                <a:gd name="T57" fmla="*/ 35 h 48"/>
                <a:gd name="T58" fmla="*/ 10 w 79"/>
                <a:gd name="T59" fmla="*/ 35 h 48"/>
                <a:gd name="T60" fmla="*/ 15 w 79"/>
                <a:gd name="T61" fmla="*/ 31 h 48"/>
                <a:gd name="T62" fmla="*/ 21 w 79"/>
                <a:gd name="T63" fmla="*/ 30 h 48"/>
                <a:gd name="T64" fmla="*/ 25 w 79"/>
                <a:gd name="T65" fmla="*/ 30 h 48"/>
                <a:gd name="T66" fmla="*/ 30 w 79"/>
                <a:gd name="T67" fmla="*/ 32 h 48"/>
                <a:gd name="T68" fmla="*/ 36 w 79"/>
                <a:gd name="T69" fmla="*/ 34 h 48"/>
                <a:gd name="T70" fmla="*/ 39 w 79"/>
                <a:gd name="T71" fmla="*/ 36 h 48"/>
                <a:gd name="T72" fmla="*/ 44 w 79"/>
                <a:gd name="T73" fmla="*/ 40 h 48"/>
                <a:gd name="T74" fmla="*/ 48 w 79"/>
                <a:gd name="T75" fmla="*/ 40 h 48"/>
                <a:gd name="T76" fmla="*/ 48 w 79"/>
                <a:gd name="T77" fmla="*/ 45 h 48"/>
                <a:gd name="T78" fmla="*/ 49 w 79"/>
                <a:gd name="T79" fmla="*/ 46 h 48"/>
                <a:gd name="T80" fmla="*/ 52 w 79"/>
                <a:gd name="T81" fmla="*/ 48 h 48"/>
                <a:gd name="T82" fmla="*/ 58 w 79"/>
                <a:gd name="T83" fmla="*/ 48 h 48"/>
                <a:gd name="T84" fmla="*/ 61 w 79"/>
                <a:gd name="T85" fmla="*/ 45 h 48"/>
                <a:gd name="T86" fmla="*/ 65 w 79"/>
                <a:gd name="T87" fmla="*/ 44 h 48"/>
                <a:gd name="T88" fmla="*/ 68 w 79"/>
                <a:gd name="T89" fmla="*/ 41 h 48"/>
                <a:gd name="T90" fmla="*/ 69 w 79"/>
                <a:gd name="T91" fmla="*/ 37 h 48"/>
                <a:gd name="T92" fmla="*/ 72 w 79"/>
                <a:gd name="T93" fmla="*/ 37 h 48"/>
                <a:gd name="T94" fmla="*/ 74 w 79"/>
                <a:gd name="T95" fmla="*/ 34 h 48"/>
                <a:gd name="T96" fmla="*/ 76 w 79"/>
                <a:gd name="T97" fmla="*/ 35 h 48"/>
                <a:gd name="T98" fmla="*/ 79 w 79"/>
                <a:gd name="T99" fmla="*/ 36 h 48"/>
                <a:gd name="T100" fmla="*/ 79 w 79"/>
                <a:gd name="T101" fmla="*/ 36 h 48"/>
                <a:gd name="T102" fmla="*/ 79 w 79"/>
                <a:gd name="T103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" h="48">
                  <a:moveTo>
                    <a:pt x="79" y="32"/>
                  </a:moveTo>
                  <a:cubicBezTo>
                    <a:pt x="78" y="31"/>
                    <a:pt x="75" y="31"/>
                    <a:pt x="73" y="30"/>
                  </a:cubicBezTo>
                  <a:cubicBezTo>
                    <a:pt x="71" y="29"/>
                    <a:pt x="68" y="26"/>
                    <a:pt x="67" y="26"/>
                  </a:cubicBezTo>
                  <a:cubicBezTo>
                    <a:pt x="65" y="25"/>
                    <a:pt x="63" y="24"/>
                    <a:pt x="62" y="23"/>
                  </a:cubicBezTo>
                  <a:cubicBezTo>
                    <a:pt x="62" y="22"/>
                    <a:pt x="58" y="20"/>
                    <a:pt x="57" y="19"/>
                  </a:cubicBezTo>
                  <a:cubicBezTo>
                    <a:pt x="55" y="19"/>
                    <a:pt x="54" y="15"/>
                    <a:pt x="53" y="13"/>
                  </a:cubicBezTo>
                  <a:cubicBezTo>
                    <a:pt x="52" y="11"/>
                    <a:pt x="52" y="11"/>
                    <a:pt x="49" y="11"/>
                  </a:cubicBezTo>
                  <a:cubicBezTo>
                    <a:pt x="47" y="11"/>
                    <a:pt x="44" y="10"/>
                    <a:pt x="43" y="9"/>
                  </a:cubicBezTo>
                  <a:cubicBezTo>
                    <a:pt x="41" y="8"/>
                    <a:pt x="42" y="4"/>
                    <a:pt x="42" y="3"/>
                  </a:cubicBezTo>
                  <a:cubicBezTo>
                    <a:pt x="42" y="2"/>
                    <a:pt x="40" y="3"/>
                    <a:pt x="39" y="3"/>
                  </a:cubicBezTo>
                  <a:cubicBezTo>
                    <a:pt x="38" y="3"/>
                    <a:pt x="36" y="1"/>
                    <a:pt x="35" y="1"/>
                  </a:cubicBezTo>
                  <a:cubicBezTo>
                    <a:pt x="35" y="0"/>
                    <a:pt x="33" y="1"/>
                    <a:pt x="33" y="1"/>
                  </a:cubicBezTo>
                  <a:cubicBezTo>
                    <a:pt x="33" y="2"/>
                    <a:pt x="32" y="1"/>
                    <a:pt x="31" y="2"/>
                  </a:cubicBezTo>
                  <a:cubicBezTo>
                    <a:pt x="30" y="2"/>
                    <a:pt x="30" y="4"/>
                    <a:pt x="28" y="4"/>
                  </a:cubicBezTo>
                  <a:cubicBezTo>
                    <a:pt x="27" y="4"/>
                    <a:pt x="25" y="5"/>
                    <a:pt x="25" y="6"/>
                  </a:cubicBezTo>
                  <a:cubicBezTo>
                    <a:pt x="24" y="7"/>
                    <a:pt x="26" y="9"/>
                    <a:pt x="25" y="10"/>
                  </a:cubicBezTo>
                  <a:cubicBezTo>
                    <a:pt x="25" y="10"/>
                    <a:pt x="19" y="10"/>
                    <a:pt x="19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5" y="8"/>
                    <a:pt x="12" y="2"/>
                    <a:pt x="8" y="3"/>
                  </a:cubicBezTo>
                  <a:cubicBezTo>
                    <a:pt x="5" y="3"/>
                    <a:pt x="1" y="5"/>
                    <a:pt x="0" y="6"/>
                  </a:cubicBezTo>
                  <a:cubicBezTo>
                    <a:pt x="0" y="8"/>
                    <a:pt x="3" y="11"/>
                    <a:pt x="3" y="12"/>
                  </a:cubicBezTo>
                  <a:cubicBezTo>
                    <a:pt x="3" y="14"/>
                    <a:pt x="2" y="14"/>
                    <a:pt x="2" y="14"/>
                  </a:cubicBezTo>
                  <a:cubicBezTo>
                    <a:pt x="1" y="15"/>
                    <a:pt x="0" y="16"/>
                    <a:pt x="1" y="17"/>
                  </a:cubicBezTo>
                  <a:cubicBezTo>
                    <a:pt x="1" y="18"/>
                    <a:pt x="3" y="18"/>
                    <a:pt x="5" y="19"/>
                  </a:cubicBezTo>
                  <a:cubicBezTo>
                    <a:pt x="7" y="19"/>
                    <a:pt x="6" y="21"/>
                    <a:pt x="6" y="22"/>
                  </a:cubicBezTo>
                  <a:cubicBezTo>
                    <a:pt x="5" y="23"/>
                    <a:pt x="7" y="24"/>
                    <a:pt x="8" y="26"/>
                  </a:cubicBezTo>
                  <a:cubicBezTo>
                    <a:pt x="8" y="27"/>
                    <a:pt x="7" y="27"/>
                    <a:pt x="7" y="28"/>
                  </a:cubicBezTo>
                  <a:cubicBezTo>
                    <a:pt x="7" y="29"/>
                    <a:pt x="7" y="32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5"/>
                    <a:pt x="10" y="35"/>
                    <a:pt x="10" y="35"/>
                  </a:cubicBezTo>
                  <a:cubicBezTo>
                    <a:pt x="11" y="35"/>
                    <a:pt x="14" y="31"/>
                    <a:pt x="15" y="31"/>
                  </a:cubicBezTo>
                  <a:cubicBezTo>
                    <a:pt x="15" y="30"/>
                    <a:pt x="19" y="30"/>
                    <a:pt x="21" y="30"/>
                  </a:cubicBezTo>
                  <a:cubicBezTo>
                    <a:pt x="22" y="29"/>
                    <a:pt x="23" y="29"/>
                    <a:pt x="25" y="30"/>
                  </a:cubicBezTo>
                  <a:cubicBezTo>
                    <a:pt x="27" y="30"/>
                    <a:pt x="26" y="32"/>
                    <a:pt x="30" y="32"/>
                  </a:cubicBezTo>
                  <a:cubicBezTo>
                    <a:pt x="33" y="32"/>
                    <a:pt x="33" y="33"/>
                    <a:pt x="36" y="34"/>
                  </a:cubicBezTo>
                  <a:cubicBezTo>
                    <a:pt x="38" y="34"/>
                    <a:pt x="38" y="35"/>
                    <a:pt x="39" y="36"/>
                  </a:cubicBezTo>
                  <a:cubicBezTo>
                    <a:pt x="40" y="37"/>
                    <a:pt x="44" y="40"/>
                    <a:pt x="44" y="40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48" y="40"/>
                    <a:pt x="48" y="43"/>
                    <a:pt x="48" y="45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51" y="47"/>
                    <a:pt x="52" y="48"/>
                  </a:cubicBezTo>
                  <a:cubicBezTo>
                    <a:pt x="53" y="48"/>
                    <a:pt x="57" y="48"/>
                    <a:pt x="58" y="48"/>
                  </a:cubicBezTo>
                  <a:cubicBezTo>
                    <a:pt x="59" y="48"/>
                    <a:pt x="60" y="45"/>
                    <a:pt x="61" y="45"/>
                  </a:cubicBezTo>
                  <a:cubicBezTo>
                    <a:pt x="62" y="44"/>
                    <a:pt x="63" y="44"/>
                    <a:pt x="65" y="44"/>
                  </a:cubicBezTo>
                  <a:cubicBezTo>
                    <a:pt x="66" y="43"/>
                    <a:pt x="67" y="42"/>
                    <a:pt x="68" y="41"/>
                  </a:cubicBezTo>
                  <a:cubicBezTo>
                    <a:pt x="68" y="40"/>
                    <a:pt x="69" y="37"/>
                    <a:pt x="69" y="37"/>
                  </a:cubicBezTo>
                  <a:cubicBezTo>
                    <a:pt x="70" y="36"/>
                    <a:pt x="72" y="37"/>
                    <a:pt x="72" y="37"/>
                  </a:cubicBezTo>
                  <a:cubicBezTo>
                    <a:pt x="73" y="37"/>
                    <a:pt x="73" y="35"/>
                    <a:pt x="74" y="34"/>
                  </a:cubicBezTo>
                  <a:cubicBezTo>
                    <a:pt x="74" y="34"/>
                    <a:pt x="76" y="34"/>
                    <a:pt x="76" y="35"/>
                  </a:cubicBezTo>
                  <a:cubicBezTo>
                    <a:pt x="77" y="35"/>
                    <a:pt x="78" y="36"/>
                    <a:pt x="79" y="36"/>
                  </a:cubicBezTo>
                  <a:cubicBezTo>
                    <a:pt x="79" y="36"/>
                    <a:pt x="79" y="36"/>
                    <a:pt x="79" y="36"/>
                  </a:cubicBezTo>
                  <a:lnTo>
                    <a:pt x="79" y="32"/>
                  </a:ln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61" name="Freeform 676">
              <a:extLst>
                <a:ext uri="{FF2B5EF4-FFF2-40B4-BE49-F238E27FC236}">
                  <a16:creationId xmlns:a16="http://schemas.microsoft.com/office/drawing/2014/main" id="{5450A067-B700-2FEE-0DAB-285448D2F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1837" y="3464433"/>
              <a:ext cx="142881" cy="94446"/>
            </a:xfrm>
            <a:custGeom>
              <a:avLst/>
              <a:gdLst>
                <a:gd name="T0" fmla="*/ 33 w 44"/>
                <a:gd name="T1" fmla="*/ 11 h 29"/>
                <a:gd name="T2" fmla="*/ 30 w 44"/>
                <a:gd name="T3" fmla="*/ 11 h 29"/>
                <a:gd name="T4" fmla="*/ 28 w 44"/>
                <a:gd name="T5" fmla="*/ 11 h 29"/>
                <a:gd name="T6" fmla="*/ 25 w 44"/>
                <a:gd name="T7" fmla="*/ 10 h 29"/>
                <a:gd name="T8" fmla="*/ 23 w 44"/>
                <a:gd name="T9" fmla="*/ 9 h 29"/>
                <a:gd name="T10" fmla="*/ 20 w 44"/>
                <a:gd name="T11" fmla="*/ 10 h 29"/>
                <a:gd name="T12" fmla="*/ 14 w 44"/>
                <a:gd name="T13" fmla="*/ 9 h 29"/>
                <a:gd name="T14" fmla="*/ 11 w 44"/>
                <a:gd name="T15" fmla="*/ 8 h 29"/>
                <a:gd name="T16" fmla="*/ 14 w 44"/>
                <a:gd name="T17" fmla="*/ 5 h 29"/>
                <a:gd name="T18" fmla="*/ 18 w 44"/>
                <a:gd name="T19" fmla="*/ 8 h 29"/>
                <a:gd name="T20" fmla="*/ 21 w 44"/>
                <a:gd name="T21" fmla="*/ 7 h 29"/>
                <a:gd name="T22" fmla="*/ 21 w 44"/>
                <a:gd name="T23" fmla="*/ 5 h 29"/>
                <a:gd name="T24" fmla="*/ 18 w 44"/>
                <a:gd name="T25" fmla="*/ 6 h 29"/>
                <a:gd name="T26" fmla="*/ 18 w 44"/>
                <a:gd name="T27" fmla="*/ 3 h 29"/>
                <a:gd name="T28" fmla="*/ 18 w 44"/>
                <a:gd name="T29" fmla="*/ 1 h 29"/>
                <a:gd name="T30" fmla="*/ 14 w 44"/>
                <a:gd name="T31" fmla="*/ 2 h 29"/>
                <a:gd name="T32" fmla="*/ 11 w 44"/>
                <a:gd name="T33" fmla="*/ 2 h 29"/>
                <a:gd name="T34" fmla="*/ 11 w 44"/>
                <a:gd name="T35" fmla="*/ 5 h 29"/>
                <a:gd name="T36" fmla="*/ 8 w 44"/>
                <a:gd name="T37" fmla="*/ 5 h 29"/>
                <a:gd name="T38" fmla="*/ 8 w 44"/>
                <a:gd name="T39" fmla="*/ 7 h 29"/>
                <a:gd name="T40" fmla="*/ 7 w 44"/>
                <a:gd name="T41" fmla="*/ 9 h 29"/>
                <a:gd name="T42" fmla="*/ 3 w 44"/>
                <a:gd name="T43" fmla="*/ 9 h 29"/>
                <a:gd name="T44" fmla="*/ 1 w 44"/>
                <a:gd name="T45" fmla="*/ 11 h 29"/>
                <a:gd name="T46" fmla="*/ 4 w 44"/>
                <a:gd name="T47" fmla="*/ 13 h 29"/>
                <a:gd name="T48" fmla="*/ 4 w 44"/>
                <a:gd name="T49" fmla="*/ 16 h 29"/>
                <a:gd name="T50" fmla="*/ 6 w 44"/>
                <a:gd name="T51" fmla="*/ 19 h 29"/>
                <a:gd name="T52" fmla="*/ 3 w 44"/>
                <a:gd name="T53" fmla="*/ 23 h 29"/>
                <a:gd name="T54" fmla="*/ 3 w 44"/>
                <a:gd name="T55" fmla="*/ 26 h 29"/>
                <a:gd name="T56" fmla="*/ 4 w 44"/>
                <a:gd name="T57" fmla="*/ 26 h 29"/>
                <a:gd name="T58" fmla="*/ 9 w 44"/>
                <a:gd name="T59" fmla="*/ 24 h 29"/>
                <a:gd name="T60" fmla="*/ 11 w 44"/>
                <a:gd name="T61" fmla="*/ 26 h 29"/>
                <a:gd name="T62" fmla="*/ 13 w 44"/>
                <a:gd name="T63" fmla="*/ 22 h 29"/>
                <a:gd name="T64" fmla="*/ 16 w 44"/>
                <a:gd name="T65" fmla="*/ 21 h 29"/>
                <a:gd name="T66" fmla="*/ 20 w 44"/>
                <a:gd name="T67" fmla="*/ 16 h 29"/>
                <a:gd name="T68" fmla="*/ 24 w 44"/>
                <a:gd name="T69" fmla="*/ 21 h 29"/>
                <a:gd name="T70" fmla="*/ 23 w 44"/>
                <a:gd name="T71" fmla="*/ 27 h 29"/>
                <a:gd name="T72" fmla="*/ 27 w 44"/>
                <a:gd name="T73" fmla="*/ 27 h 29"/>
                <a:gd name="T74" fmla="*/ 34 w 44"/>
                <a:gd name="T75" fmla="*/ 23 h 29"/>
                <a:gd name="T76" fmla="*/ 36 w 44"/>
                <a:gd name="T77" fmla="*/ 24 h 29"/>
                <a:gd name="T78" fmla="*/ 40 w 44"/>
                <a:gd name="T79" fmla="*/ 23 h 29"/>
                <a:gd name="T80" fmla="*/ 43 w 44"/>
                <a:gd name="T81" fmla="*/ 23 h 29"/>
                <a:gd name="T82" fmla="*/ 42 w 44"/>
                <a:gd name="T83" fmla="*/ 21 h 29"/>
                <a:gd name="T84" fmla="*/ 41 w 44"/>
                <a:gd name="T85" fmla="*/ 16 h 29"/>
                <a:gd name="T86" fmla="*/ 39 w 44"/>
                <a:gd name="T87" fmla="*/ 16 h 29"/>
                <a:gd name="T88" fmla="*/ 35 w 44"/>
                <a:gd name="T89" fmla="*/ 13 h 29"/>
                <a:gd name="T90" fmla="*/ 36 w 44"/>
                <a:gd name="T91" fmla="*/ 10 h 29"/>
                <a:gd name="T92" fmla="*/ 36 w 44"/>
                <a:gd name="T93" fmla="*/ 10 h 29"/>
                <a:gd name="T94" fmla="*/ 33 w 44"/>
                <a:gd name="T95" fmla="*/ 1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4" h="29">
                  <a:moveTo>
                    <a:pt x="33" y="11"/>
                  </a:moveTo>
                  <a:cubicBezTo>
                    <a:pt x="32" y="11"/>
                    <a:pt x="31" y="11"/>
                    <a:pt x="30" y="11"/>
                  </a:cubicBezTo>
                  <a:cubicBezTo>
                    <a:pt x="29" y="11"/>
                    <a:pt x="28" y="11"/>
                    <a:pt x="28" y="11"/>
                  </a:cubicBezTo>
                  <a:cubicBezTo>
                    <a:pt x="27" y="11"/>
                    <a:pt x="25" y="10"/>
                    <a:pt x="25" y="10"/>
                  </a:cubicBezTo>
                  <a:cubicBezTo>
                    <a:pt x="24" y="10"/>
                    <a:pt x="24" y="9"/>
                    <a:pt x="23" y="9"/>
                  </a:cubicBezTo>
                  <a:cubicBezTo>
                    <a:pt x="22" y="9"/>
                    <a:pt x="22" y="11"/>
                    <a:pt x="20" y="10"/>
                  </a:cubicBezTo>
                  <a:cubicBezTo>
                    <a:pt x="18" y="9"/>
                    <a:pt x="17" y="10"/>
                    <a:pt x="14" y="9"/>
                  </a:cubicBezTo>
                  <a:cubicBezTo>
                    <a:pt x="12" y="9"/>
                    <a:pt x="10" y="9"/>
                    <a:pt x="11" y="8"/>
                  </a:cubicBezTo>
                  <a:cubicBezTo>
                    <a:pt x="11" y="7"/>
                    <a:pt x="13" y="5"/>
                    <a:pt x="14" y="5"/>
                  </a:cubicBezTo>
                  <a:cubicBezTo>
                    <a:pt x="16" y="6"/>
                    <a:pt x="17" y="8"/>
                    <a:pt x="18" y="8"/>
                  </a:cubicBezTo>
                  <a:cubicBezTo>
                    <a:pt x="19" y="8"/>
                    <a:pt x="21" y="7"/>
                    <a:pt x="21" y="7"/>
                  </a:cubicBezTo>
                  <a:cubicBezTo>
                    <a:pt x="21" y="6"/>
                    <a:pt x="21" y="6"/>
                    <a:pt x="21" y="5"/>
                  </a:cubicBezTo>
                  <a:cubicBezTo>
                    <a:pt x="20" y="4"/>
                    <a:pt x="18" y="7"/>
                    <a:pt x="18" y="6"/>
                  </a:cubicBezTo>
                  <a:cubicBezTo>
                    <a:pt x="18" y="6"/>
                    <a:pt x="18" y="3"/>
                    <a:pt x="18" y="3"/>
                  </a:cubicBezTo>
                  <a:cubicBezTo>
                    <a:pt x="19" y="2"/>
                    <a:pt x="19" y="1"/>
                    <a:pt x="18" y="1"/>
                  </a:cubicBezTo>
                  <a:cubicBezTo>
                    <a:pt x="18" y="0"/>
                    <a:pt x="15" y="2"/>
                    <a:pt x="14" y="2"/>
                  </a:cubicBezTo>
                  <a:cubicBezTo>
                    <a:pt x="13" y="3"/>
                    <a:pt x="13" y="2"/>
                    <a:pt x="11" y="2"/>
                  </a:cubicBezTo>
                  <a:cubicBezTo>
                    <a:pt x="10" y="1"/>
                    <a:pt x="11" y="5"/>
                    <a:pt x="11" y="5"/>
                  </a:cubicBezTo>
                  <a:cubicBezTo>
                    <a:pt x="10" y="5"/>
                    <a:pt x="9" y="5"/>
                    <a:pt x="8" y="5"/>
                  </a:cubicBezTo>
                  <a:cubicBezTo>
                    <a:pt x="7" y="5"/>
                    <a:pt x="8" y="6"/>
                    <a:pt x="8" y="7"/>
                  </a:cubicBezTo>
                  <a:cubicBezTo>
                    <a:pt x="9" y="7"/>
                    <a:pt x="7" y="9"/>
                    <a:pt x="7" y="9"/>
                  </a:cubicBezTo>
                  <a:cubicBezTo>
                    <a:pt x="6" y="9"/>
                    <a:pt x="4" y="10"/>
                    <a:pt x="3" y="9"/>
                  </a:cubicBezTo>
                  <a:cubicBezTo>
                    <a:pt x="1" y="9"/>
                    <a:pt x="1" y="10"/>
                    <a:pt x="1" y="11"/>
                  </a:cubicBezTo>
                  <a:cubicBezTo>
                    <a:pt x="0" y="12"/>
                    <a:pt x="3" y="13"/>
                    <a:pt x="4" y="13"/>
                  </a:cubicBezTo>
                  <a:cubicBezTo>
                    <a:pt x="5" y="14"/>
                    <a:pt x="4" y="15"/>
                    <a:pt x="4" y="16"/>
                  </a:cubicBezTo>
                  <a:cubicBezTo>
                    <a:pt x="4" y="17"/>
                    <a:pt x="5" y="17"/>
                    <a:pt x="6" y="19"/>
                  </a:cubicBezTo>
                  <a:cubicBezTo>
                    <a:pt x="7" y="21"/>
                    <a:pt x="3" y="21"/>
                    <a:pt x="3" y="23"/>
                  </a:cubicBezTo>
                  <a:cubicBezTo>
                    <a:pt x="2" y="24"/>
                    <a:pt x="3" y="26"/>
                    <a:pt x="3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5" y="27"/>
                    <a:pt x="8" y="25"/>
                    <a:pt x="9" y="24"/>
                  </a:cubicBezTo>
                  <a:cubicBezTo>
                    <a:pt x="9" y="24"/>
                    <a:pt x="11" y="25"/>
                    <a:pt x="11" y="26"/>
                  </a:cubicBezTo>
                  <a:cubicBezTo>
                    <a:pt x="12" y="26"/>
                    <a:pt x="12" y="22"/>
                    <a:pt x="13" y="22"/>
                  </a:cubicBezTo>
                  <a:cubicBezTo>
                    <a:pt x="14" y="22"/>
                    <a:pt x="16" y="22"/>
                    <a:pt x="16" y="21"/>
                  </a:cubicBezTo>
                  <a:cubicBezTo>
                    <a:pt x="17" y="21"/>
                    <a:pt x="19" y="17"/>
                    <a:pt x="20" y="16"/>
                  </a:cubicBezTo>
                  <a:cubicBezTo>
                    <a:pt x="20" y="16"/>
                    <a:pt x="23" y="19"/>
                    <a:pt x="24" y="21"/>
                  </a:cubicBezTo>
                  <a:cubicBezTo>
                    <a:pt x="25" y="23"/>
                    <a:pt x="23" y="25"/>
                    <a:pt x="23" y="27"/>
                  </a:cubicBezTo>
                  <a:cubicBezTo>
                    <a:pt x="24" y="29"/>
                    <a:pt x="26" y="28"/>
                    <a:pt x="27" y="27"/>
                  </a:cubicBezTo>
                  <a:cubicBezTo>
                    <a:pt x="28" y="27"/>
                    <a:pt x="32" y="23"/>
                    <a:pt x="34" y="23"/>
                  </a:cubicBezTo>
                  <a:cubicBezTo>
                    <a:pt x="35" y="23"/>
                    <a:pt x="36" y="24"/>
                    <a:pt x="36" y="24"/>
                  </a:cubicBezTo>
                  <a:cubicBezTo>
                    <a:pt x="37" y="25"/>
                    <a:pt x="39" y="24"/>
                    <a:pt x="40" y="23"/>
                  </a:cubicBezTo>
                  <a:cubicBezTo>
                    <a:pt x="41" y="23"/>
                    <a:pt x="42" y="23"/>
                    <a:pt x="43" y="23"/>
                  </a:cubicBezTo>
                  <a:cubicBezTo>
                    <a:pt x="44" y="23"/>
                    <a:pt x="43" y="22"/>
                    <a:pt x="42" y="21"/>
                  </a:cubicBezTo>
                  <a:cubicBezTo>
                    <a:pt x="42" y="20"/>
                    <a:pt x="41" y="18"/>
                    <a:pt x="41" y="16"/>
                  </a:cubicBezTo>
                  <a:cubicBezTo>
                    <a:pt x="41" y="15"/>
                    <a:pt x="40" y="16"/>
                    <a:pt x="39" y="16"/>
                  </a:cubicBezTo>
                  <a:cubicBezTo>
                    <a:pt x="38" y="16"/>
                    <a:pt x="35" y="14"/>
                    <a:pt x="35" y="13"/>
                  </a:cubicBezTo>
                  <a:cubicBezTo>
                    <a:pt x="35" y="12"/>
                    <a:pt x="35" y="11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4" y="10"/>
                    <a:pt x="33" y="1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62" name="Freeform 677">
              <a:extLst>
                <a:ext uri="{FF2B5EF4-FFF2-40B4-BE49-F238E27FC236}">
                  <a16:creationId xmlns:a16="http://schemas.microsoft.com/office/drawing/2014/main" id="{358F8007-2933-DD2D-7D06-EBAA40A01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5595" y="3549192"/>
              <a:ext cx="297871" cy="261543"/>
            </a:xfrm>
            <a:custGeom>
              <a:avLst/>
              <a:gdLst>
                <a:gd name="T0" fmla="*/ 11 w 92"/>
                <a:gd name="T1" fmla="*/ 60 h 81"/>
                <a:gd name="T2" fmla="*/ 5 w 92"/>
                <a:gd name="T3" fmla="*/ 67 h 81"/>
                <a:gd name="T4" fmla="*/ 5 w 92"/>
                <a:gd name="T5" fmla="*/ 73 h 81"/>
                <a:gd name="T6" fmla="*/ 19 w 92"/>
                <a:gd name="T7" fmla="*/ 71 h 81"/>
                <a:gd name="T8" fmla="*/ 32 w 92"/>
                <a:gd name="T9" fmla="*/ 71 h 81"/>
                <a:gd name="T10" fmla="*/ 35 w 92"/>
                <a:gd name="T11" fmla="*/ 76 h 81"/>
                <a:gd name="T12" fmla="*/ 38 w 92"/>
                <a:gd name="T13" fmla="*/ 80 h 81"/>
                <a:gd name="T14" fmla="*/ 40 w 92"/>
                <a:gd name="T15" fmla="*/ 80 h 81"/>
                <a:gd name="T16" fmla="*/ 41 w 92"/>
                <a:gd name="T17" fmla="*/ 81 h 81"/>
                <a:gd name="T18" fmla="*/ 48 w 92"/>
                <a:gd name="T19" fmla="*/ 78 h 81"/>
                <a:gd name="T20" fmla="*/ 54 w 92"/>
                <a:gd name="T21" fmla="*/ 77 h 81"/>
                <a:gd name="T22" fmla="*/ 53 w 92"/>
                <a:gd name="T23" fmla="*/ 70 h 81"/>
                <a:gd name="T24" fmla="*/ 50 w 92"/>
                <a:gd name="T25" fmla="*/ 64 h 81"/>
                <a:gd name="T26" fmla="*/ 52 w 92"/>
                <a:gd name="T27" fmla="*/ 57 h 81"/>
                <a:gd name="T28" fmla="*/ 58 w 92"/>
                <a:gd name="T29" fmla="*/ 57 h 81"/>
                <a:gd name="T30" fmla="*/ 63 w 92"/>
                <a:gd name="T31" fmla="*/ 52 h 81"/>
                <a:gd name="T32" fmla="*/ 69 w 92"/>
                <a:gd name="T33" fmla="*/ 45 h 81"/>
                <a:gd name="T34" fmla="*/ 73 w 92"/>
                <a:gd name="T35" fmla="*/ 40 h 81"/>
                <a:gd name="T36" fmla="*/ 76 w 92"/>
                <a:gd name="T37" fmla="*/ 32 h 81"/>
                <a:gd name="T38" fmla="*/ 75 w 92"/>
                <a:gd name="T39" fmla="*/ 27 h 81"/>
                <a:gd name="T40" fmla="*/ 73 w 92"/>
                <a:gd name="T41" fmla="*/ 16 h 81"/>
                <a:gd name="T42" fmla="*/ 82 w 92"/>
                <a:gd name="T43" fmla="*/ 16 h 81"/>
                <a:gd name="T44" fmla="*/ 89 w 92"/>
                <a:gd name="T45" fmla="*/ 14 h 81"/>
                <a:gd name="T46" fmla="*/ 86 w 92"/>
                <a:gd name="T47" fmla="*/ 8 h 81"/>
                <a:gd name="T48" fmla="*/ 78 w 92"/>
                <a:gd name="T49" fmla="*/ 0 h 81"/>
                <a:gd name="T50" fmla="*/ 68 w 92"/>
                <a:gd name="T51" fmla="*/ 0 h 81"/>
                <a:gd name="T52" fmla="*/ 58 w 92"/>
                <a:gd name="T53" fmla="*/ 6 h 81"/>
                <a:gd name="T54" fmla="*/ 56 w 92"/>
                <a:gd name="T55" fmla="*/ 15 h 81"/>
                <a:gd name="T56" fmla="*/ 51 w 92"/>
                <a:gd name="T57" fmla="*/ 20 h 81"/>
                <a:gd name="T58" fmla="*/ 48 w 92"/>
                <a:gd name="T59" fmla="*/ 26 h 81"/>
                <a:gd name="T60" fmla="*/ 43 w 92"/>
                <a:gd name="T61" fmla="*/ 33 h 81"/>
                <a:gd name="T62" fmla="*/ 38 w 92"/>
                <a:gd name="T63" fmla="*/ 35 h 81"/>
                <a:gd name="T64" fmla="*/ 31 w 92"/>
                <a:gd name="T65" fmla="*/ 38 h 81"/>
                <a:gd name="T66" fmla="*/ 26 w 92"/>
                <a:gd name="T67" fmla="*/ 46 h 81"/>
                <a:gd name="T68" fmla="*/ 8 w 92"/>
                <a:gd name="T69" fmla="*/ 47 h 81"/>
                <a:gd name="T70" fmla="*/ 4 w 92"/>
                <a:gd name="T71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2" h="81">
                  <a:moveTo>
                    <a:pt x="9" y="56"/>
                  </a:moveTo>
                  <a:cubicBezTo>
                    <a:pt x="9" y="57"/>
                    <a:pt x="10" y="59"/>
                    <a:pt x="11" y="60"/>
                  </a:cubicBezTo>
                  <a:cubicBezTo>
                    <a:pt x="13" y="62"/>
                    <a:pt x="13" y="64"/>
                    <a:pt x="12" y="64"/>
                  </a:cubicBezTo>
                  <a:cubicBezTo>
                    <a:pt x="10" y="64"/>
                    <a:pt x="6" y="66"/>
                    <a:pt x="5" y="67"/>
                  </a:cubicBezTo>
                  <a:cubicBezTo>
                    <a:pt x="4" y="68"/>
                    <a:pt x="3" y="70"/>
                    <a:pt x="3" y="73"/>
                  </a:cubicBezTo>
                  <a:cubicBezTo>
                    <a:pt x="4" y="73"/>
                    <a:pt x="4" y="73"/>
                    <a:pt x="5" y="73"/>
                  </a:cubicBezTo>
                  <a:cubicBezTo>
                    <a:pt x="8" y="73"/>
                    <a:pt x="15" y="71"/>
                    <a:pt x="16" y="71"/>
                  </a:cubicBezTo>
                  <a:cubicBezTo>
                    <a:pt x="16" y="70"/>
                    <a:pt x="17" y="71"/>
                    <a:pt x="19" y="71"/>
                  </a:cubicBezTo>
                  <a:cubicBezTo>
                    <a:pt x="21" y="71"/>
                    <a:pt x="26" y="72"/>
                    <a:pt x="28" y="71"/>
                  </a:cubicBezTo>
                  <a:cubicBezTo>
                    <a:pt x="30" y="71"/>
                    <a:pt x="31" y="70"/>
                    <a:pt x="32" y="71"/>
                  </a:cubicBezTo>
                  <a:cubicBezTo>
                    <a:pt x="32" y="72"/>
                    <a:pt x="32" y="74"/>
                    <a:pt x="33" y="74"/>
                  </a:cubicBezTo>
                  <a:cubicBezTo>
                    <a:pt x="34" y="74"/>
                    <a:pt x="35" y="75"/>
                    <a:pt x="35" y="76"/>
                  </a:cubicBezTo>
                  <a:cubicBezTo>
                    <a:pt x="35" y="77"/>
                    <a:pt x="36" y="79"/>
                    <a:pt x="37" y="80"/>
                  </a:cubicBezTo>
                  <a:cubicBezTo>
                    <a:pt x="38" y="81"/>
                    <a:pt x="38" y="80"/>
                    <a:pt x="38" y="80"/>
                  </a:cubicBezTo>
                  <a:cubicBezTo>
                    <a:pt x="38" y="79"/>
                    <a:pt x="38" y="78"/>
                    <a:pt x="39" y="79"/>
                  </a:cubicBezTo>
                  <a:cubicBezTo>
                    <a:pt x="40" y="80"/>
                    <a:pt x="39" y="79"/>
                    <a:pt x="40" y="80"/>
                  </a:cubicBezTo>
                  <a:cubicBezTo>
                    <a:pt x="40" y="81"/>
                    <a:pt x="40" y="81"/>
                    <a:pt x="41" y="81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2" y="80"/>
                    <a:pt x="43" y="79"/>
                    <a:pt x="45" y="78"/>
                  </a:cubicBezTo>
                  <a:cubicBezTo>
                    <a:pt x="46" y="77"/>
                    <a:pt x="48" y="78"/>
                    <a:pt x="48" y="78"/>
                  </a:cubicBezTo>
                  <a:cubicBezTo>
                    <a:pt x="49" y="79"/>
                    <a:pt x="51" y="78"/>
                    <a:pt x="52" y="77"/>
                  </a:cubicBezTo>
                  <a:cubicBezTo>
                    <a:pt x="53" y="77"/>
                    <a:pt x="53" y="76"/>
                    <a:pt x="54" y="77"/>
                  </a:cubicBezTo>
                  <a:cubicBezTo>
                    <a:pt x="56" y="78"/>
                    <a:pt x="55" y="76"/>
                    <a:pt x="55" y="74"/>
                  </a:cubicBezTo>
                  <a:cubicBezTo>
                    <a:pt x="55" y="73"/>
                    <a:pt x="54" y="70"/>
                    <a:pt x="53" y="70"/>
                  </a:cubicBezTo>
                  <a:cubicBezTo>
                    <a:pt x="51" y="69"/>
                    <a:pt x="51" y="67"/>
                    <a:pt x="51" y="66"/>
                  </a:cubicBezTo>
                  <a:cubicBezTo>
                    <a:pt x="51" y="65"/>
                    <a:pt x="51" y="65"/>
                    <a:pt x="50" y="64"/>
                  </a:cubicBezTo>
                  <a:cubicBezTo>
                    <a:pt x="48" y="63"/>
                    <a:pt x="47" y="62"/>
                    <a:pt x="48" y="61"/>
                  </a:cubicBezTo>
                  <a:cubicBezTo>
                    <a:pt x="49" y="60"/>
                    <a:pt x="52" y="57"/>
                    <a:pt x="52" y="57"/>
                  </a:cubicBezTo>
                  <a:cubicBezTo>
                    <a:pt x="53" y="56"/>
                    <a:pt x="54" y="57"/>
                    <a:pt x="55" y="58"/>
                  </a:cubicBezTo>
                  <a:cubicBezTo>
                    <a:pt x="56" y="59"/>
                    <a:pt x="57" y="57"/>
                    <a:pt x="58" y="57"/>
                  </a:cubicBezTo>
                  <a:cubicBezTo>
                    <a:pt x="59" y="57"/>
                    <a:pt x="60" y="57"/>
                    <a:pt x="61" y="56"/>
                  </a:cubicBezTo>
                  <a:cubicBezTo>
                    <a:pt x="62" y="55"/>
                    <a:pt x="62" y="53"/>
                    <a:pt x="63" y="52"/>
                  </a:cubicBezTo>
                  <a:cubicBezTo>
                    <a:pt x="63" y="50"/>
                    <a:pt x="65" y="50"/>
                    <a:pt x="67" y="49"/>
                  </a:cubicBezTo>
                  <a:cubicBezTo>
                    <a:pt x="68" y="49"/>
                    <a:pt x="69" y="46"/>
                    <a:pt x="69" y="45"/>
                  </a:cubicBezTo>
                  <a:cubicBezTo>
                    <a:pt x="69" y="44"/>
                    <a:pt x="71" y="43"/>
                    <a:pt x="72" y="43"/>
                  </a:cubicBezTo>
                  <a:cubicBezTo>
                    <a:pt x="74" y="43"/>
                    <a:pt x="73" y="42"/>
                    <a:pt x="73" y="40"/>
                  </a:cubicBezTo>
                  <a:cubicBezTo>
                    <a:pt x="74" y="39"/>
                    <a:pt x="76" y="38"/>
                    <a:pt x="77" y="38"/>
                  </a:cubicBezTo>
                  <a:cubicBezTo>
                    <a:pt x="78" y="37"/>
                    <a:pt x="76" y="34"/>
                    <a:pt x="76" y="32"/>
                  </a:cubicBezTo>
                  <a:cubicBezTo>
                    <a:pt x="76" y="31"/>
                    <a:pt x="79" y="30"/>
                    <a:pt x="80" y="30"/>
                  </a:cubicBezTo>
                  <a:cubicBezTo>
                    <a:pt x="80" y="30"/>
                    <a:pt x="77" y="27"/>
                    <a:pt x="75" y="27"/>
                  </a:cubicBezTo>
                  <a:cubicBezTo>
                    <a:pt x="74" y="26"/>
                    <a:pt x="74" y="24"/>
                    <a:pt x="73" y="23"/>
                  </a:cubicBezTo>
                  <a:cubicBezTo>
                    <a:pt x="73" y="21"/>
                    <a:pt x="73" y="18"/>
                    <a:pt x="73" y="16"/>
                  </a:cubicBezTo>
                  <a:cubicBezTo>
                    <a:pt x="72" y="14"/>
                    <a:pt x="75" y="14"/>
                    <a:pt x="76" y="14"/>
                  </a:cubicBezTo>
                  <a:cubicBezTo>
                    <a:pt x="78" y="14"/>
                    <a:pt x="79" y="15"/>
                    <a:pt x="82" y="16"/>
                  </a:cubicBezTo>
                  <a:cubicBezTo>
                    <a:pt x="84" y="16"/>
                    <a:pt x="84" y="15"/>
                    <a:pt x="85" y="15"/>
                  </a:cubicBezTo>
                  <a:cubicBezTo>
                    <a:pt x="86" y="14"/>
                    <a:pt x="88" y="14"/>
                    <a:pt x="89" y="14"/>
                  </a:cubicBezTo>
                  <a:cubicBezTo>
                    <a:pt x="91" y="14"/>
                    <a:pt x="92" y="11"/>
                    <a:pt x="92" y="11"/>
                  </a:cubicBezTo>
                  <a:cubicBezTo>
                    <a:pt x="90" y="9"/>
                    <a:pt x="87" y="8"/>
                    <a:pt x="86" y="8"/>
                  </a:cubicBezTo>
                  <a:cubicBezTo>
                    <a:pt x="85" y="7"/>
                    <a:pt x="84" y="5"/>
                    <a:pt x="84" y="3"/>
                  </a:cubicBezTo>
                  <a:cubicBezTo>
                    <a:pt x="84" y="2"/>
                    <a:pt x="79" y="0"/>
                    <a:pt x="78" y="0"/>
                  </a:cubicBezTo>
                  <a:cubicBezTo>
                    <a:pt x="77" y="0"/>
                    <a:pt x="73" y="1"/>
                    <a:pt x="73" y="1"/>
                  </a:cubicBezTo>
                  <a:cubicBezTo>
                    <a:pt x="72" y="1"/>
                    <a:pt x="71" y="0"/>
                    <a:pt x="68" y="0"/>
                  </a:cubicBezTo>
                  <a:cubicBezTo>
                    <a:pt x="66" y="1"/>
                    <a:pt x="64" y="2"/>
                    <a:pt x="63" y="3"/>
                  </a:cubicBezTo>
                  <a:cubicBezTo>
                    <a:pt x="61" y="4"/>
                    <a:pt x="58" y="5"/>
                    <a:pt x="58" y="6"/>
                  </a:cubicBezTo>
                  <a:cubicBezTo>
                    <a:pt x="58" y="7"/>
                    <a:pt x="61" y="9"/>
                    <a:pt x="60" y="11"/>
                  </a:cubicBezTo>
                  <a:cubicBezTo>
                    <a:pt x="60" y="13"/>
                    <a:pt x="57" y="14"/>
                    <a:pt x="56" y="15"/>
                  </a:cubicBezTo>
                  <a:cubicBezTo>
                    <a:pt x="56" y="16"/>
                    <a:pt x="57" y="18"/>
                    <a:pt x="56" y="19"/>
                  </a:cubicBezTo>
                  <a:cubicBezTo>
                    <a:pt x="54" y="20"/>
                    <a:pt x="52" y="19"/>
                    <a:pt x="51" y="20"/>
                  </a:cubicBezTo>
                  <a:cubicBezTo>
                    <a:pt x="49" y="20"/>
                    <a:pt x="52" y="22"/>
                    <a:pt x="53" y="23"/>
                  </a:cubicBezTo>
                  <a:cubicBezTo>
                    <a:pt x="53" y="24"/>
                    <a:pt x="49" y="25"/>
                    <a:pt x="48" y="26"/>
                  </a:cubicBezTo>
                  <a:cubicBezTo>
                    <a:pt x="47" y="28"/>
                    <a:pt x="46" y="33"/>
                    <a:pt x="46" y="33"/>
                  </a:cubicBezTo>
                  <a:cubicBezTo>
                    <a:pt x="45" y="34"/>
                    <a:pt x="44" y="33"/>
                    <a:pt x="43" y="33"/>
                  </a:cubicBezTo>
                  <a:cubicBezTo>
                    <a:pt x="42" y="33"/>
                    <a:pt x="41" y="33"/>
                    <a:pt x="40" y="34"/>
                  </a:cubicBezTo>
                  <a:cubicBezTo>
                    <a:pt x="39" y="35"/>
                    <a:pt x="39" y="35"/>
                    <a:pt x="38" y="35"/>
                  </a:cubicBezTo>
                  <a:cubicBezTo>
                    <a:pt x="37" y="36"/>
                    <a:pt x="35" y="36"/>
                    <a:pt x="34" y="36"/>
                  </a:cubicBezTo>
                  <a:cubicBezTo>
                    <a:pt x="33" y="36"/>
                    <a:pt x="32" y="36"/>
                    <a:pt x="31" y="38"/>
                  </a:cubicBezTo>
                  <a:cubicBezTo>
                    <a:pt x="31" y="39"/>
                    <a:pt x="31" y="40"/>
                    <a:pt x="30" y="43"/>
                  </a:cubicBezTo>
                  <a:cubicBezTo>
                    <a:pt x="30" y="45"/>
                    <a:pt x="28" y="44"/>
                    <a:pt x="26" y="46"/>
                  </a:cubicBezTo>
                  <a:cubicBezTo>
                    <a:pt x="24" y="47"/>
                    <a:pt x="21" y="46"/>
                    <a:pt x="18" y="47"/>
                  </a:cubicBezTo>
                  <a:cubicBezTo>
                    <a:pt x="16" y="47"/>
                    <a:pt x="10" y="47"/>
                    <a:pt x="8" y="47"/>
                  </a:cubicBezTo>
                  <a:cubicBezTo>
                    <a:pt x="6" y="47"/>
                    <a:pt x="0" y="44"/>
                    <a:pt x="0" y="44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4" y="50"/>
                    <a:pt x="9" y="54"/>
                    <a:pt x="9" y="5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63" name="Freeform 678">
              <a:extLst>
                <a:ext uri="{FF2B5EF4-FFF2-40B4-BE49-F238E27FC236}">
                  <a16:creationId xmlns:a16="http://schemas.microsoft.com/office/drawing/2014/main" id="{30604C54-5ED8-0BA1-14AA-30F3293AE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5908" y="3516499"/>
              <a:ext cx="265177" cy="185259"/>
            </a:xfrm>
            <a:custGeom>
              <a:avLst/>
              <a:gdLst>
                <a:gd name="T0" fmla="*/ 79 w 82"/>
                <a:gd name="T1" fmla="*/ 7 h 57"/>
                <a:gd name="T2" fmla="*/ 75 w 82"/>
                <a:gd name="T3" fmla="*/ 8 h 57"/>
                <a:gd name="T4" fmla="*/ 73 w 82"/>
                <a:gd name="T5" fmla="*/ 7 h 57"/>
                <a:gd name="T6" fmla="*/ 66 w 82"/>
                <a:gd name="T7" fmla="*/ 11 h 57"/>
                <a:gd name="T8" fmla="*/ 62 w 82"/>
                <a:gd name="T9" fmla="*/ 11 h 57"/>
                <a:gd name="T10" fmla="*/ 63 w 82"/>
                <a:gd name="T11" fmla="*/ 5 h 57"/>
                <a:gd name="T12" fmla="*/ 59 w 82"/>
                <a:gd name="T13" fmla="*/ 0 h 57"/>
                <a:gd name="T14" fmla="*/ 55 w 82"/>
                <a:gd name="T15" fmla="*/ 5 h 57"/>
                <a:gd name="T16" fmla="*/ 52 w 82"/>
                <a:gd name="T17" fmla="*/ 6 h 57"/>
                <a:gd name="T18" fmla="*/ 50 w 82"/>
                <a:gd name="T19" fmla="*/ 10 h 57"/>
                <a:gd name="T20" fmla="*/ 48 w 82"/>
                <a:gd name="T21" fmla="*/ 8 h 57"/>
                <a:gd name="T22" fmla="*/ 43 w 82"/>
                <a:gd name="T23" fmla="*/ 10 h 57"/>
                <a:gd name="T24" fmla="*/ 38 w 82"/>
                <a:gd name="T25" fmla="*/ 9 h 57"/>
                <a:gd name="T26" fmla="*/ 35 w 82"/>
                <a:gd name="T27" fmla="*/ 8 h 57"/>
                <a:gd name="T28" fmla="*/ 32 w 82"/>
                <a:gd name="T29" fmla="*/ 7 h 57"/>
                <a:gd name="T30" fmla="*/ 30 w 82"/>
                <a:gd name="T31" fmla="*/ 6 h 57"/>
                <a:gd name="T32" fmla="*/ 28 w 82"/>
                <a:gd name="T33" fmla="*/ 9 h 57"/>
                <a:gd name="T34" fmla="*/ 25 w 82"/>
                <a:gd name="T35" fmla="*/ 9 h 57"/>
                <a:gd name="T36" fmla="*/ 24 w 82"/>
                <a:gd name="T37" fmla="*/ 13 h 57"/>
                <a:gd name="T38" fmla="*/ 21 w 82"/>
                <a:gd name="T39" fmla="*/ 16 h 57"/>
                <a:gd name="T40" fmla="*/ 17 w 82"/>
                <a:gd name="T41" fmla="*/ 17 h 57"/>
                <a:gd name="T42" fmla="*/ 14 w 82"/>
                <a:gd name="T43" fmla="*/ 20 h 57"/>
                <a:gd name="T44" fmla="*/ 8 w 82"/>
                <a:gd name="T45" fmla="*/ 20 h 57"/>
                <a:gd name="T46" fmla="*/ 4 w 82"/>
                <a:gd name="T47" fmla="*/ 17 h 57"/>
                <a:gd name="T48" fmla="*/ 4 w 82"/>
                <a:gd name="T49" fmla="*/ 18 h 57"/>
                <a:gd name="T50" fmla="*/ 1 w 82"/>
                <a:gd name="T51" fmla="*/ 28 h 57"/>
                <a:gd name="T52" fmla="*/ 2 w 82"/>
                <a:gd name="T53" fmla="*/ 32 h 57"/>
                <a:gd name="T54" fmla="*/ 1 w 82"/>
                <a:gd name="T55" fmla="*/ 35 h 57"/>
                <a:gd name="T56" fmla="*/ 1 w 82"/>
                <a:gd name="T57" fmla="*/ 38 h 57"/>
                <a:gd name="T58" fmla="*/ 2 w 82"/>
                <a:gd name="T59" fmla="*/ 43 h 57"/>
                <a:gd name="T60" fmla="*/ 6 w 82"/>
                <a:gd name="T61" fmla="*/ 44 h 57"/>
                <a:gd name="T62" fmla="*/ 8 w 82"/>
                <a:gd name="T63" fmla="*/ 48 h 57"/>
                <a:gd name="T64" fmla="*/ 3 w 82"/>
                <a:gd name="T65" fmla="*/ 54 h 57"/>
                <a:gd name="T66" fmla="*/ 11 w 82"/>
                <a:gd name="T67" fmla="*/ 57 h 57"/>
                <a:gd name="T68" fmla="*/ 21 w 82"/>
                <a:gd name="T69" fmla="*/ 57 h 57"/>
                <a:gd name="T70" fmla="*/ 29 w 82"/>
                <a:gd name="T71" fmla="*/ 56 h 57"/>
                <a:gd name="T72" fmla="*/ 33 w 82"/>
                <a:gd name="T73" fmla="*/ 53 h 57"/>
                <a:gd name="T74" fmla="*/ 34 w 82"/>
                <a:gd name="T75" fmla="*/ 48 h 57"/>
                <a:gd name="T76" fmla="*/ 37 w 82"/>
                <a:gd name="T77" fmla="*/ 46 h 57"/>
                <a:gd name="T78" fmla="*/ 41 w 82"/>
                <a:gd name="T79" fmla="*/ 45 h 57"/>
                <a:gd name="T80" fmla="*/ 43 w 82"/>
                <a:gd name="T81" fmla="*/ 44 h 57"/>
                <a:gd name="T82" fmla="*/ 46 w 82"/>
                <a:gd name="T83" fmla="*/ 43 h 57"/>
                <a:gd name="T84" fmla="*/ 49 w 82"/>
                <a:gd name="T85" fmla="*/ 43 h 57"/>
                <a:gd name="T86" fmla="*/ 51 w 82"/>
                <a:gd name="T87" fmla="*/ 36 h 57"/>
                <a:gd name="T88" fmla="*/ 56 w 82"/>
                <a:gd name="T89" fmla="*/ 33 h 57"/>
                <a:gd name="T90" fmla="*/ 54 w 82"/>
                <a:gd name="T91" fmla="*/ 30 h 57"/>
                <a:gd name="T92" fmla="*/ 59 w 82"/>
                <a:gd name="T93" fmla="*/ 29 h 57"/>
                <a:gd name="T94" fmla="*/ 59 w 82"/>
                <a:gd name="T95" fmla="*/ 25 h 57"/>
                <a:gd name="T96" fmla="*/ 63 w 82"/>
                <a:gd name="T97" fmla="*/ 21 h 57"/>
                <a:gd name="T98" fmla="*/ 61 w 82"/>
                <a:gd name="T99" fmla="*/ 16 h 57"/>
                <a:gd name="T100" fmla="*/ 66 w 82"/>
                <a:gd name="T101" fmla="*/ 13 h 57"/>
                <a:gd name="T102" fmla="*/ 71 w 82"/>
                <a:gd name="T103" fmla="*/ 10 h 57"/>
                <a:gd name="T104" fmla="*/ 76 w 82"/>
                <a:gd name="T105" fmla="*/ 11 h 57"/>
                <a:gd name="T106" fmla="*/ 81 w 82"/>
                <a:gd name="T107" fmla="*/ 10 h 57"/>
                <a:gd name="T108" fmla="*/ 82 w 82"/>
                <a:gd name="T109" fmla="*/ 7 h 57"/>
                <a:gd name="T110" fmla="*/ 79 w 82"/>
                <a:gd name="T111" fmla="*/ 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2" h="57">
                  <a:moveTo>
                    <a:pt x="79" y="7"/>
                  </a:moveTo>
                  <a:cubicBezTo>
                    <a:pt x="78" y="8"/>
                    <a:pt x="76" y="9"/>
                    <a:pt x="75" y="8"/>
                  </a:cubicBezTo>
                  <a:cubicBezTo>
                    <a:pt x="75" y="8"/>
                    <a:pt x="74" y="7"/>
                    <a:pt x="73" y="7"/>
                  </a:cubicBezTo>
                  <a:cubicBezTo>
                    <a:pt x="71" y="7"/>
                    <a:pt x="67" y="11"/>
                    <a:pt x="66" y="11"/>
                  </a:cubicBezTo>
                  <a:cubicBezTo>
                    <a:pt x="65" y="12"/>
                    <a:pt x="63" y="13"/>
                    <a:pt x="62" y="11"/>
                  </a:cubicBezTo>
                  <a:cubicBezTo>
                    <a:pt x="62" y="9"/>
                    <a:pt x="64" y="7"/>
                    <a:pt x="63" y="5"/>
                  </a:cubicBezTo>
                  <a:cubicBezTo>
                    <a:pt x="62" y="3"/>
                    <a:pt x="59" y="0"/>
                    <a:pt x="59" y="0"/>
                  </a:cubicBezTo>
                  <a:cubicBezTo>
                    <a:pt x="58" y="1"/>
                    <a:pt x="56" y="5"/>
                    <a:pt x="55" y="5"/>
                  </a:cubicBezTo>
                  <a:cubicBezTo>
                    <a:pt x="55" y="6"/>
                    <a:pt x="53" y="6"/>
                    <a:pt x="52" y="6"/>
                  </a:cubicBezTo>
                  <a:cubicBezTo>
                    <a:pt x="51" y="6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7" y="9"/>
                    <a:pt x="44" y="11"/>
                    <a:pt x="43" y="10"/>
                  </a:cubicBezTo>
                  <a:cubicBezTo>
                    <a:pt x="42" y="10"/>
                    <a:pt x="40" y="9"/>
                    <a:pt x="38" y="9"/>
                  </a:cubicBezTo>
                  <a:cubicBezTo>
                    <a:pt x="37" y="9"/>
                    <a:pt x="37" y="7"/>
                    <a:pt x="35" y="8"/>
                  </a:cubicBezTo>
                  <a:cubicBezTo>
                    <a:pt x="34" y="8"/>
                    <a:pt x="33" y="7"/>
                    <a:pt x="32" y="7"/>
                  </a:cubicBezTo>
                  <a:cubicBezTo>
                    <a:pt x="32" y="6"/>
                    <a:pt x="30" y="6"/>
                    <a:pt x="30" y="6"/>
                  </a:cubicBezTo>
                  <a:cubicBezTo>
                    <a:pt x="29" y="7"/>
                    <a:pt x="29" y="9"/>
                    <a:pt x="28" y="9"/>
                  </a:cubicBezTo>
                  <a:cubicBezTo>
                    <a:pt x="28" y="9"/>
                    <a:pt x="26" y="8"/>
                    <a:pt x="25" y="9"/>
                  </a:cubicBezTo>
                  <a:cubicBezTo>
                    <a:pt x="25" y="9"/>
                    <a:pt x="24" y="12"/>
                    <a:pt x="24" y="13"/>
                  </a:cubicBezTo>
                  <a:cubicBezTo>
                    <a:pt x="23" y="14"/>
                    <a:pt x="22" y="15"/>
                    <a:pt x="21" y="16"/>
                  </a:cubicBezTo>
                  <a:cubicBezTo>
                    <a:pt x="19" y="16"/>
                    <a:pt x="18" y="16"/>
                    <a:pt x="17" y="17"/>
                  </a:cubicBezTo>
                  <a:cubicBezTo>
                    <a:pt x="16" y="17"/>
                    <a:pt x="15" y="20"/>
                    <a:pt x="14" y="20"/>
                  </a:cubicBezTo>
                  <a:cubicBezTo>
                    <a:pt x="13" y="20"/>
                    <a:pt x="9" y="20"/>
                    <a:pt x="8" y="20"/>
                  </a:cubicBezTo>
                  <a:cubicBezTo>
                    <a:pt x="7" y="19"/>
                    <a:pt x="4" y="18"/>
                    <a:pt x="4" y="17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21"/>
                    <a:pt x="3" y="25"/>
                    <a:pt x="1" y="28"/>
                  </a:cubicBezTo>
                  <a:cubicBezTo>
                    <a:pt x="0" y="30"/>
                    <a:pt x="0" y="30"/>
                    <a:pt x="2" y="32"/>
                  </a:cubicBezTo>
                  <a:cubicBezTo>
                    <a:pt x="4" y="33"/>
                    <a:pt x="1" y="34"/>
                    <a:pt x="1" y="35"/>
                  </a:cubicBezTo>
                  <a:cubicBezTo>
                    <a:pt x="1" y="35"/>
                    <a:pt x="1" y="38"/>
                    <a:pt x="1" y="38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3" y="44"/>
                    <a:pt x="6" y="44"/>
                  </a:cubicBezTo>
                  <a:cubicBezTo>
                    <a:pt x="8" y="44"/>
                    <a:pt x="8" y="48"/>
                    <a:pt x="8" y="48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9" y="57"/>
                    <a:pt x="11" y="57"/>
                  </a:cubicBezTo>
                  <a:cubicBezTo>
                    <a:pt x="13" y="57"/>
                    <a:pt x="19" y="57"/>
                    <a:pt x="21" y="57"/>
                  </a:cubicBezTo>
                  <a:cubicBezTo>
                    <a:pt x="24" y="56"/>
                    <a:pt x="27" y="57"/>
                    <a:pt x="29" y="56"/>
                  </a:cubicBezTo>
                  <a:cubicBezTo>
                    <a:pt x="31" y="54"/>
                    <a:pt x="33" y="55"/>
                    <a:pt x="33" y="53"/>
                  </a:cubicBezTo>
                  <a:cubicBezTo>
                    <a:pt x="34" y="50"/>
                    <a:pt x="34" y="49"/>
                    <a:pt x="34" y="48"/>
                  </a:cubicBezTo>
                  <a:cubicBezTo>
                    <a:pt x="35" y="46"/>
                    <a:pt x="36" y="46"/>
                    <a:pt x="37" y="46"/>
                  </a:cubicBezTo>
                  <a:cubicBezTo>
                    <a:pt x="38" y="46"/>
                    <a:pt x="40" y="46"/>
                    <a:pt x="41" y="45"/>
                  </a:cubicBezTo>
                  <a:cubicBezTo>
                    <a:pt x="42" y="45"/>
                    <a:pt x="42" y="45"/>
                    <a:pt x="43" y="44"/>
                  </a:cubicBezTo>
                  <a:cubicBezTo>
                    <a:pt x="44" y="43"/>
                    <a:pt x="45" y="43"/>
                    <a:pt x="46" y="43"/>
                  </a:cubicBezTo>
                  <a:cubicBezTo>
                    <a:pt x="47" y="43"/>
                    <a:pt x="48" y="44"/>
                    <a:pt x="49" y="43"/>
                  </a:cubicBezTo>
                  <a:cubicBezTo>
                    <a:pt x="49" y="43"/>
                    <a:pt x="50" y="38"/>
                    <a:pt x="51" y="36"/>
                  </a:cubicBezTo>
                  <a:cubicBezTo>
                    <a:pt x="52" y="35"/>
                    <a:pt x="56" y="34"/>
                    <a:pt x="56" y="33"/>
                  </a:cubicBezTo>
                  <a:cubicBezTo>
                    <a:pt x="55" y="32"/>
                    <a:pt x="52" y="30"/>
                    <a:pt x="54" y="30"/>
                  </a:cubicBezTo>
                  <a:cubicBezTo>
                    <a:pt x="55" y="29"/>
                    <a:pt x="57" y="30"/>
                    <a:pt x="59" y="29"/>
                  </a:cubicBezTo>
                  <a:cubicBezTo>
                    <a:pt x="60" y="28"/>
                    <a:pt x="59" y="26"/>
                    <a:pt x="59" y="25"/>
                  </a:cubicBezTo>
                  <a:cubicBezTo>
                    <a:pt x="60" y="24"/>
                    <a:pt x="63" y="23"/>
                    <a:pt x="63" y="21"/>
                  </a:cubicBezTo>
                  <a:cubicBezTo>
                    <a:pt x="64" y="19"/>
                    <a:pt x="61" y="17"/>
                    <a:pt x="61" y="16"/>
                  </a:cubicBezTo>
                  <a:cubicBezTo>
                    <a:pt x="61" y="15"/>
                    <a:pt x="64" y="14"/>
                    <a:pt x="66" y="13"/>
                  </a:cubicBezTo>
                  <a:cubicBezTo>
                    <a:pt x="67" y="12"/>
                    <a:pt x="69" y="11"/>
                    <a:pt x="71" y="10"/>
                  </a:cubicBezTo>
                  <a:cubicBezTo>
                    <a:pt x="74" y="10"/>
                    <a:pt x="75" y="11"/>
                    <a:pt x="76" y="11"/>
                  </a:cubicBezTo>
                  <a:cubicBezTo>
                    <a:pt x="76" y="11"/>
                    <a:pt x="80" y="10"/>
                    <a:pt x="81" y="10"/>
                  </a:cubicBezTo>
                  <a:cubicBezTo>
                    <a:pt x="81" y="9"/>
                    <a:pt x="82" y="8"/>
                    <a:pt x="82" y="7"/>
                  </a:cubicBezTo>
                  <a:cubicBezTo>
                    <a:pt x="81" y="7"/>
                    <a:pt x="80" y="7"/>
                    <a:pt x="79" y="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64" name="Freeform 679">
              <a:extLst>
                <a:ext uri="{FF2B5EF4-FFF2-40B4-BE49-F238E27FC236}">
                  <a16:creationId xmlns:a16="http://schemas.microsoft.com/office/drawing/2014/main" id="{3A6F872F-869C-22E0-028C-FB9975FF1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0480" y="3361511"/>
              <a:ext cx="9687" cy="12108"/>
            </a:xfrm>
            <a:custGeom>
              <a:avLst/>
              <a:gdLst>
                <a:gd name="T0" fmla="*/ 2 w 3"/>
                <a:gd name="T1" fmla="*/ 2 h 4"/>
                <a:gd name="T2" fmla="*/ 0 w 3"/>
                <a:gd name="T3" fmla="*/ 1 h 4"/>
                <a:gd name="T4" fmla="*/ 0 w 3"/>
                <a:gd name="T5" fmla="*/ 2 h 4"/>
                <a:gd name="T6" fmla="*/ 2 w 3"/>
                <a:gd name="T7" fmla="*/ 4 h 4"/>
                <a:gd name="T8" fmla="*/ 2 w 3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2" y="2"/>
                  </a:moveTo>
                  <a:cubicBezTo>
                    <a:pt x="1" y="1"/>
                    <a:pt x="0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3" y="3"/>
                    <a:pt x="3" y="2"/>
                    <a:pt x="2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65" name="Freeform 680">
              <a:extLst>
                <a:ext uri="{FF2B5EF4-FFF2-40B4-BE49-F238E27FC236}">
                  <a16:creationId xmlns:a16="http://schemas.microsoft.com/office/drawing/2014/main" id="{1A299431-C59C-7694-7813-DE78AC991C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0417" y="3131450"/>
              <a:ext cx="731357" cy="342669"/>
            </a:xfrm>
            <a:custGeom>
              <a:avLst/>
              <a:gdLst>
                <a:gd name="T0" fmla="*/ 215 w 226"/>
                <a:gd name="T1" fmla="*/ 41 h 106"/>
                <a:gd name="T2" fmla="*/ 204 w 226"/>
                <a:gd name="T3" fmla="*/ 34 h 106"/>
                <a:gd name="T4" fmla="*/ 190 w 226"/>
                <a:gd name="T5" fmla="*/ 35 h 106"/>
                <a:gd name="T6" fmla="*/ 171 w 226"/>
                <a:gd name="T7" fmla="*/ 9 h 106"/>
                <a:gd name="T8" fmla="*/ 153 w 226"/>
                <a:gd name="T9" fmla="*/ 15 h 106"/>
                <a:gd name="T10" fmla="*/ 150 w 226"/>
                <a:gd name="T11" fmla="*/ 10 h 106"/>
                <a:gd name="T12" fmla="*/ 143 w 226"/>
                <a:gd name="T13" fmla="*/ 10 h 106"/>
                <a:gd name="T14" fmla="*/ 137 w 226"/>
                <a:gd name="T15" fmla="*/ 1 h 106"/>
                <a:gd name="T16" fmla="*/ 114 w 226"/>
                <a:gd name="T17" fmla="*/ 6 h 106"/>
                <a:gd name="T18" fmla="*/ 88 w 226"/>
                <a:gd name="T19" fmla="*/ 11 h 106"/>
                <a:gd name="T20" fmla="*/ 82 w 226"/>
                <a:gd name="T21" fmla="*/ 20 h 106"/>
                <a:gd name="T22" fmla="*/ 79 w 226"/>
                <a:gd name="T23" fmla="*/ 27 h 106"/>
                <a:gd name="T24" fmla="*/ 77 w 226"/>
                <a:gd name="T25" fmla="*/ 35 h 106"/>
                <a:gd name="T26" fmla="*/ 67 w 226"/>
                <a:gd name="T27" fmla="*/ 32 h 106"/>
                <a:gd name="T28" fmla="*/ 54 w 226"/>
                <a:gd name="T29" fmla="*/ 36 h 106"/>
                <a:gd name="T30" fmla="*/ 44 w 226"/>
                <a:gd name="T31" fmla="*/ 32 h 106"/>
                <a:gd name="T32" fmla="*/ 30 w 226"/>
                <a:gd name="T33" fmla="*/ 30 h 106"/>
                <a:gd name="T34" fmla="*/ 18 w 226"/>
                <a:gd name="T35" fmla="*/ 32 h 106"/>
                <a:gd name="T36" fmla="*/ 12 w 226"/>
                <a:gd name="T37" fmla="*/ 42 h 106"/>
                <a:gd name="T38" fmla="*/ 3 w 226"/>
                <a:gd name="T39" fmla="*/ 43 h 106"/>
                <a:gd name="T40" fmla="*/ 5 w 226"/>
                <a:gd name="T41" fmla="*/ 53 h 106"/>
                <a:gd name="T42" fmla="*/ 15 w 226"/>
                <a:gd name="T43" fmla="*/ 63 h 106"/>
                <a:gd name="T44" fmla="*/ 18 w 226"/>
                <a:gd name="T45" fmla="*/ 65 h 106"/>
                <a:gd name="T46" fmla="*/ 33 w 226"/>
                <a:gd name="T47" fmla="*/ 63 h 106"/>
                <a:gd name="T48" fmla="*/ 40 w 226"/>
                <a:gd name="T49" fmla="*/ 69 h 106"/>
                <a:gd name="T50" fmla="*/ 36 w 226"/>
                <a:gd name="T51" fmla="*/ 74 h 106"/>
                <a:gd name="T52" fmla="*/ 27 w 226"/>
                <a:gd name="T53" fmla="*/ 79 h 106"/>
                <a:gd name="T54" fmla="*/ 25 w 226"/>
                <a:gd name="T55" fmla="*/ 81 h 106"/>
                <a:gd name="T56" fmla="*/ 30 w 226"/>
                <a:gd name="T57" fmla="*/ 88 h 106"/>
                <a:gd name="T58" fmla="*/ 35 w 226"/>
                <a:gd name="T59" fmla="*/ 96 h 106"/>
                <a:gd name="T60" fmla="*/ 52 w 226"/>
                <a:gd name="T61" fmla="*/ 101 h 106"/>
                <a:gd name="T62" fmla="*/ 68 w 226"/>
                <a:gd name="T63" fmla="*/ 72 h 106"/>
                <a:gd name="T64" fmla="*/ 70 w 226"/>
                <a:gd name="T65" fmla="*/ 71 h 106"/>
                <a:gd name="T66" fmla="*/ 75 w 226"/>
                <a:gd name="T67" fmla="*/ 70 h 106"/>
                <a:gd name="T68" fmla="*/ 80 w 226"/>
                <a:gd name="T69" fmla="*/ 76 h 106"/>
                <a:gd name="T70" fmla="*/ 90 w 226"/>
                <a:gd name="T71" fmla="*/ 85 h 106"/>
                <a:gd name="T72" fmla="*/ 106 w 226"/>
                <a:gd name="T73" fmla="*/ 85 h 106"/>
                <a:gd name="T74" fmla="*/ 112 w 226"/>
                <a:gd name="T75" fmla="*/ 97 h 106"/>
                <a:gd name="T76" fmla="*/ 123 w 226"/>
                <a:gd name="T77" fmla="*/ 105 h 106"/>
                <a:gd name="T78" fmla="*/ 135 w 226"/>
                <a:gd name="T79" fmla="*/ 96 h 106"/>
                <a:gd name="T80" fmla="*/ 145 w 226"/>
                <a:gd name="T81" fmla="*/ 92 h 106"/>
                <a:gd name="T82" fmla="*/ 157 w 226"/>
                <a:gd name="T83" fmla="*/ 89 h 106"/>
                <a:gd name="T84" fmla="*/ 185 w 226"/>
                <a:gd name="T85" fmla="*/ 93 h 106"/>
                <a:gd name="T86" fmla="*/ 189 w 226"/>
                <a:gd name="T87" fmla="*/ 92 h 106"/>
                <a:gd name="T88" fmla="*/ 189 w 226"/>
                <a:gd name="T89" fmla="*/ 77 h 106"/>
                <a:gd name="T90" fmla="*/ 199 w 226"/>
                <a:gd name="T91" fmla="*/ 75 h 106"/>
                <a:gd name="T92" fmla="*/ 203 w 226"/>
                <a:gd name="T93" fmla="*/ 66 h 106"/>
                <a:gd name="T94" fmla="*/ 212 w 226"/>
                <a:gd name="T95" fmla="*/ 62 h 106"/>
                <a:gd name="T96" fmla="*/ 218 w 226"/>
                <a:gd name="T97" fmla="*/ 58 h 106"/>
                <a:gd name="T98" fmla="*/ 225 w 226"/>
                <a:gd name="T99" fmla="*/ 48 h 106"/>
                <a:gd name="T100" fmla="*/ 164 w 226"/>
                <a:gd name="T101" fmla="*/ 65 h 106"/>
                <a:gd name="T102" fmla="*/ 156 w 226"/>
                <a:gd name="T103" fmla="*/ 75 h 106"/>
                <a:gd name="T104" fmla="*/ 158 w 226"/>
                <a:gd name="T105" fmla="*/ 66 h 106"/>
                <a:gd name="T106" fmla="*/ 164 w 226"/>
                <a:gd name="T107" fmla="*/ 65 h 106"/>
                <a:gd name="T108" fmla="*/ 173 w 226"/>
                <a:gd name="T109" fmla="*/ 65 h 106"/>
                <a:gd name="T110" fmla="*/ 183 w 226"/>
                <a:gd name="T111" fmla="*/ 6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6" h="106">
                  <a:moveTo>
                    <a:pt x="224" y="44"/>
                  </a:moveTo>
                  <a:cubicBezTo>
                    <a:pt x="224" y="43"/>
                    <a:pt x="221" y="44"/>
                    <a:pt x="219" y="44"/>
                  </a:cubicBezTo>
                  <a:cubicBezTo>
                    <a:pt x="216" y="44"/>
                    <a:pt x="216" y="42"/>
                    <a:pt x="215" y="41"/>
                  </a:cubicBezTo>
                  <a:cubicBezTo>
                    <a:pt x="215" y="40"/>
                    <a:pt x="214" y="40"/>
                    <a:pt x="213" y="40"/>
                  </a:cubicBezTo>
                  <a:cubicBezTo>
                    <a:pt x="212" y="39"/>
                    <a:pt x="211" y="37"/>
                    <a:pt x="209" y="35"/>
                  </a:cubicBezTo>
                  <a:cubicBezTo>
                    <a:pt x="208" y="33"/>
                    <a:pt x="206" y="34"/>
                    <a:pt x="204" y="34"/>
                  </a:cubicBezTo>
                  <a:cubicBezTo>
                    <a:pt x="203" y="35"/>
                    <a:pt x="200" y="36"/>
                    <a:pt x="198" y="35"/>
                  </a:cubicBezTo>
                  <a:cubicBezTo>
                    <a:pt x="195" y="34"/>
                    <a:pt x="194" y="32"/>
                    <a:pt x="193" y="32"/>
                  </a:cubicBezTo>
                  <a:cubicBezTo>
                    <a:pt x="192" y="31"/>
                    <a:pt x="191" y="35"/>
                    <a:pt x="190" y="35"/>
                  </a:cubicBezTo>
                  <a:cubicBezTo>
                    <a:pt x="188" y="36"/>
                    <a:pt x="181" y="23"/>
                    <a:pt x="179" y="19"/>
                  </a:cubicBezTo>
                  <a:cubicBezTo>
                    <a:pt x="177" y="15"/>
                    <a:pt x="173" y="13"/>
                    <a:pt x="171" y="13"/>
                  </a:cubicBezTo>
                  <a:cubicBezTo>
                    <a:pt x="170" y="12"/>
                    <a:pt x="170" y="10"/>
                    <a:pt x="171" y="9"/>
                  </a:cubicBezTo>
                  <a:cubicBezTo>
                    <a:pt x="172" y="8"/>
                    <a:pt x="168" y="9"/>
                    <a:pt x="166" y="10"/>
                  </a:cubicBezTo>
                  <a:cubicBezTo>
                    <a:pt x="165" y="11"/>
                    <a:pt x="159" y="14"/>
                    <a:pt x="158" y="14"/>
                  </a:cubicBezTo>
                  <a:cubicBezTo>
                    <a:pt x="157" y="14"/>
                    <a:pt x="155" y="15"/>
                    <a:pt x="153" y="15"/>
                  </a:cubicBezTo>
                  <a:cubicBezTo>
                    <a:pt x="152" y="15"/>
                    <a:pt x="152" y="14"/>
                    <a:pt x="153" y="13"/>
                  </a:cubicBezTo>
                  <a:cubicBezTo>
                    <a:pt x="153" y="12"/>
                    <a:pt x="154" y="11"/>
                    <a:pt x="153" y="11"/>
                  </a:cubicBezTo>
                  <a:cubicBezTo>
                    <a:pt x="153" y="11"/>
                    <a:pt x="151" y="11"/>
                    <a:pt x="150" y="10"/>
                  </a:cubicBezTo>
                  <a:cubicBezTo>
                    <a:pt x="149" y="10"/>
                    <a:pt x="149" y="10"/>
                    <a:pt x="148" y="11"/>
                  </a:cubicBezTo>
                  <a:cubicBezTo>
                    <a:pt x="148" y="12"/>
                    <a:pt x="148" y="10"/>
                    <a:pt x="147" y="9"/>
                  </a:cubicBezTo>
                  <a:cubicBezTo>
                    <a:pt x="146" y="9"/>
                    <a:pt x="145" y="9"/>
                    <a:pt x="143" y="10"/>
                  </a:cubicBezTo>
                  <a:cubicBezTo>
                    <a:pt x="142" y="11"/>
                    <a:pt x="141" y="10"/>
                    <a:pt x="140" y="9"/>
                  </a:cubicBezTo>
                  <a:cubicBezTo>
                    <a:pt x="139" y="9"/>
                    <a:pt x="140" y="7"/>
                    <a:pt x="140" y="5"/>
                  </a:cubicBezTo>
                  <a:cubicBezTo>
                    <a:pt x="140" y="4"/>
                    <a:pt x="138" y="2"/>
                    <a:pt x="137" y="1"/>
                  </a:cubicBezTo>
                  <a:cubicBezTo>
                    <a:pt x="136" y="1"/>
                    <a:pt x="135" y="1"/>
                    <a:pt x="133" y="1"/>
                  </a:cubicBezTo>
                  <a:cubicBezTo>
                    <a:pt x="131" y="0"/>
                    <a:pt x="128" y="1"/>
                    <a:pt x="125" y="2"/>
                  </a:cubicBezTo>
                  <a:cubicBezTo>
                    <a:pt x="123" y="4"/>
                    <a:pt x="117" y="5"/>
                    <a:pt x="114" y="6"/>
                  </a:cubicBezTo>
                  <a:cubicBezTo>
                    <a:pt x="112" y="6"/>
                    <a:pt x="109" y="6"/>
                    <a:pt x="107" y="7"/>
                  </a:cubicBezTo>
                  <a:cubicBezTo>
                    <a:pt x="106" y="8"/>
                    <a:pt x="103" y="8"/>
                    <a:pt x="100" y="9"/>
                  </a:cubicBezTo>
                  <a:cubicBezTo>
                    <a:pt x="97" y="10"/>
                    <a:pt x="90" y="11"/>
                    <a:pt x="88" y="11"/>
                  </a:cubicBezTo>
                  <a:cubicBezTo>
                    <a:pt x="86" y="11"/>
                    <a:pt x="84" y="10"/>
                    <a:pt x="84" y="12"/>
                  </a:cubicBezTo>
                  <a:cubicBezTo>
                    <a:pt x="84" y="14"/>
                    <a:pt x="86" y="16"/>
                    <a:pt x="89" y="17"/>
                  </a:cubicBezTo>
                  <a:cubicBezTo>
                    <a:pt x="91" y="19"/>
                    <a:pt x="85" y="19"/>
                    <a:pt x="82" y="20"/>
                  </a:cubicBezTo>
                  <a:cubicBezTo>
                    <a:pt x="80" y="21"/>
                    <a:pt x="82" y="21"/>
                    <a:pt x="83" y="22"/>
                  </a:cubicBezTo>
                  <a:cubicBezTo>
                    <a:pt x="84" y="23"/>
                    <a:pt x="83" y="24"/>
                    <a:pt x="81" y="25"/>
                  </a:cubicBezTo>
                  <a:cubicBezTo>
                    <a:pt x="79" y="26"/>
                    <a:pt x="79" y="26"/>
                    <a:pt x="79" y="27"/>
                  </a:cubicBezTo>
                  <a:cubicBezTo>
                    <a:pt x="80" y="28"/>
                    <a:pt x="85" y="29"/>
                    <a:pt x="86" y="31"/>
                  </a:cubicBezTo>
                  <a:cubicBezTo>
                    <a:pt x="87" y="32"/>
                    <a:pt x="85" y="34"/>
                    <a:pt x="84" y="35"/>
                  </a:cubicBezTo>
                  <a:cubicBezTo>
                    <a:pt x="83" y="36"/>
                    <a:pt x="79" y="35"/>
                    <a:pt x="77" y="35"/>
                  </a:cubicBezTo>
                  <a:cubicBezTo>
                    <a:pt x="76" y="35"/>
                    <a:pt x="76" y="37"/>
                    <a:pt x="75" y="37"/>
                  </a:cubicBezTo>
                  <a:cubicBezTo>
                    <a:pt x="75" y="37"/>
                    <a:pt x="73" y="36"/>
                    <a:pt x="71" y="35"/>
                  </a:cubicBezTo>
                  <a:cubicBezTo>
                    <a:pt x="70" y="35"/>
                    <a:pt x="68" y="33"/>
                    <a:pt x="67" y="32"/>
                  </a:cubicBezTo>
                  <a:cubicBezTo>
                    <a:pt x="66" y="32"/>
                    <a:pt x="65" y="33"/>
                    <a:pt x="64" y="34"/>
                  </a:cubicBezTo>
                  <a:cubicBezTo>
                    <a:pt x="62" y="34"/>
                    <a:pt x="60" y="33"/>
                    <a:pt x="59" y="33"/>
                  </a:cubicBezTo>
                  <a:cubicBezTo>
                    <a:pt x="57" y="33"/>
                    <a:pt x="55" y="35"/>
                    <a:pt x="54" y="36"/>
                  </a:cubicBezTo>
                  <a:cubicBezTo>
                    <a:pt x="53" y="37"/>
                    <a:pt x="50" y="34"/>
                    <a:pt x="48" y="34"/>
                  </a:cubicBezTo>
                  <a:cubicBezTo>
                    <a:pt x="47" y="33"/>
                    <a:pt x="47" y="35"/>
                    <a:pt x="47" y="36"/>
                  </a:cubicBezTo>
                  <a:cubicBezTo>
                    <a:pt x="46" y="36"/>
                    <a:pt x="45" y="34"/>
                    <a:pt x="44" y="32"/>
                  </a:cubicBezTo>
                  <a:cubicBezTo>
                    <a:pt x="42" y="30"/>
                    <a:pt x="39" y="29"/>
                    <a:pt x="37" y="29"/>
                  </a:cubicBezTo>
                  <a:cubicBezTo>
                    <a:pt x="35" y="29"/>
                    <a:pt x="35" y="28"/>
                    <a:pt x="34" y="28"/>
                  </a:cubicBezTo>
                  <a:cubicBezTo>
                    <a:pt x="32" y="27"/>
                    <a:pt x="31" y="29"/>
                    <a:pt x="30" y="30"/>
                  </a:cubicBezTo>
                  <a:cubicBezTo>
                    <a:pt x="28" y="30"/>
                    <a:pt x="28" y="28"/>
                    <a:pt x="26" y="28"/>
                  </a:cubicBezTo>
                  <a:cubicBezTo>
                    <a:pt x="25" y="28"/>
                    <a:pt x="23" y="30"/>
                    <a:pt x="22" y="31"/>
                  </a:cubicBezTo>
                  <a:cubicBezTo>
                    <a:pt x="21" y="31"/>
                    <a:pt x="19" y="32"/>
                    <a:pt x="18" y="32"/>
                  </a:cubicBezTo>
                  <a:cubicBezTo>
                    <a:pt x="17" y="33"/>
                    <a:pt x="16" y="35"/>
                    <a:pt x="15" y="35"/>
                  </a:cubicBezTo>
                  <a:cubicBezTo>
                    <a:pt x="13" y="36"/>
                    <a:pt x="14" y="39"/>
                    <a:pt x="14" y="40"/>
                  </a:cubicBezTo>
                  <a:cubicBezTo>
                    <a:pt x="15" y="41"/>
                    <a:pt x="13" y="41"/>
                    <a:pt x="12" y="42"/>
                  </a:cubicBezTo>
                  <a:cubicBezTo>
                    <a:pt x="11" y="42"/>
                    <a:pt x="8" y="37"/>
                    <a:pt x="8" y="37"/>
                  </a:cubicBezTo>
                  <a:cubicBezTo>
                    <a:pt x="7" y="37"/>
                    <a:pt x="7" y="38"/>
                    <a:pt x="6" y="39"/>
                  </a:cubicBezTo>
                  <a:cubicBezTo>
                    <a:pt x="6" y="40"/>
                    <a:pt x="4" y="42"/>
                    <a:pt x="3" y="43"/>
                  </a:cubicBezTo>
                  <a:cubicBezTo>
                    <a:pt x="2" y="44"/>
                    <a:pt x="3" y="44"/>
                    <a:pt x="5" y="46"/>
                  </a:cubicBezTo>
                  <a:cubicBezTo>
                    <a:pt x="6" y="47"/>
                    <a:pt x="3" y="48"/>
                    <a:pt x="2" y="50"/>
                  </a:cubicBezTo>
                  <a:cubicBezTo>
                    <a:pt x="0" y="51"/>
                    <a:pt x="3" y="52"/>
                    <a:pt x="5" y="53"/>
                  </a:cubicBezTo>
                  <a:cubicBezTo>
                    <a:pt x="6" y="54"/>
                    <a:pt x="5" y="54"/>
                    <a:pt x="5" y="55"/>
                  </a:cubicBezTo>
                  <a:cubicBezTo>
                    <a:pt x="6" y="57"/>
                    <a:pt x="9" y="56"/>
                    <a:pt x="11" y="57"/>
                  </a:cubicBezTo>
                  <a:cubicBezTo>
                    <a:pt x="13" y="58"/>
                    <a:pt x="14" y="61"/>
                    <a:pt x="15" y="63"/>
                  </a:cubicBezTo>
                  <a:cubicBezTo>
                    <a:pt x="16" y="64"/>
                    <a:pt x="14" y="63"/>
                    <a:pt x="13" y="64"/>
                  </a:cubicBezTo>
                  <a:cubicBezTo>
                    <a:pt x="12" y="64"/>
                    <a:pt x="15" y="65"/>
                    <a:pt x="16" y="66"/>
                  </a:cubicBezTo>
                  <a:cubicBezTo>
                    <a:pt x="17" y="66"/>
                    <a:pt x="18" y="65"/>
                    <a:pt x="18" y="65"/>
                  </a:cubicBezTo>
                  <a:cubicBezTo>
                    <a:pt x="19" y="64"/>
                    <a:pt x="19" y="65"/>
                    <a:pt x="21" y="64"/>
                  </a:cubicBezTo>
                  <a:cubicBezTo>
                    <a:pt x="23" y="64"/>
                    <a:pt x="26" y="61"/>
                    <a:pt x="28" y="61"/>
                  </a:cubicBezTo>
                  <a:cubicBezTo>
                    <a:pt x="30" y="61"/>
                    <a:pt x="32" y="63"/>
                    <a:pt x="33" y="63"/>
                  </a:cubicBezTo>
                  <a:cubicBezTo>
                    <a:pt x="34" y="63"/>
                    <a:pt x="35" y="62"/>
                    <a:pt x="36" y="62"/>
                  </a:cubicBezTo>
                  <a:cubicBezTo>
                    <a:pt x="37" y="62"/>
                    <a:pt x="38" y="63"/>
                    <a:pt x="39" y="65"/>
                  </a:cubicBezTo>
                  <a:cubicBezTo>
                    <a:pt x="40" y="66"/>
                    <a:pt x="40" y="67"/>
                    <a:pt x="40" y="69"/>
                  </a:cubicBezTo>
                  <a:cubicBezTo>
                    <a:pt x="40" y="71"/>
                    <a:pt x="38" y="71"/>
                    <a:pt x="38" y="71"/>
                  </a:cubicBezTo>
                  <a:cubicBezTo>
                    <a:pt x="37" y="72"/>
                    <a:pt x="40" y="72"/>
                    <a:pt x="39" y="73"/>
                  </a:cubicBezTo>
                  <a:cubicBezTo>
                    <a:pt x="38" y="74"/>
                    <a:pt x="38" y="74"/>
                    <a:pt x="36" y="74"/>
                  </a:cubicBezTo>
                  <a:cubicBezTo>
                    <a:pt x="35" y="74"/>
                    <a:pt x="32" y="73"/>
                    <a:pt x="30" y="73"/>
                  </a:cubicBezTo>
                  <a:cubicBezTo>
                    <a:pt x="28" y="73"/>
                    <a:pt x="27" y="75"/>
                    <a:pt x="27" y="76"/>
                  </a:cubicBezTo>
                  <a:cubicBezTo>
                    <a:pt x="27" y="77"/>
                    <a:pt x="27" y="78"/>
                    <a:pt x="27" y="79"/>
                  </a:cubicBezTo>
                  <a:cubicBezTo>
                    <a:pt x="27" y="80"/>
                    <a:pt x="25" y="78"/>
                    <a:pt x="24" y="78"/>
                  </a:cubicBezTo>
                  <a:cubicBezTo>
                    <a:pt x="23" y="78"/>
                    <a:pt x="23" y="79"/>
                    <a:pt x="23" y="79"/>
                  </a:cubicBezTo>
                  <a:cubicBezTo>
                    <a:pt x="23" y="80"/>
                    <a:pt x="25" y="80"/>
                    <a:pt x="25" y="81"/>
                  </a:cubicBezTo>
                  <a:cubicBezTo>
                    <a:pt x="26" y="81"/>
                    <a:pt x="26" y="83"/>
                    <a:pt x="27" y="85"/>
                  </a:cubicBezTo>
                  <a:cubicBezTo>
                    <a:pt x="29" y="86"/>
                    <a:pt x="28" y="88"/>
                    <a:pt x="28" y="88"/>
                  </a:cubicBezTo>
                  <a:cubicBezTo>
                    <a:pt x="28" y="89"/>
                    <a:pt x="29" y="88"/>
                    <a:pt x="30" y="88"/>
                  </a:cubicBezTo>
                  <a:cubicBezTo>
                    <a:pt x="30" y="88"/>
                    <a:pt x="31" y="89"/>
                    <a:pt x="32" y="91"/>
                  </a:cubicBezTo>
                  <a:cubicBezTo>
                    <a:pt x="34" y="92"/>
                    <a:pt x="35" y="91"/>
                    <a:pt x="36" y="92"/>
                  </a:cubicBezTo>
                  <a:cubicBezTo>
                    <a:pt x="36" y="93"/>
                    <a:pt x="35" y="94"/>
                    <a:pt x="35" y="96"/>
                  </a:cubicBezTo>
                  <a:cubicBezTo>
                    <a:pt x="34" y="96"/>
                    <a:pt x="35" y="97"/>
                    <a:pt x="35" y="97"/>
                  </a:cubicBezTo>
                  <a:cubicBezTo>
                    <a:pt x="36" y="96"/>
                    <a:pt x="40" y="94"/>
                    <a:pt x="43" y="94"/>
                  </a:cubicBezTo>
                  <a:cubicBezTo>
                    <a:pt x="47" y="93"/>
                    <a:pt x="50" y="99"/>
                    <a:pt x="52" y="101"/>
                  </a:cubicBezTo>
                  <a:cubicBezTo>
                    <a:pt x="54" y="101"/>
                    <a:pt x="54" y="101"/>
                    <a:pt x="54" y="101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68" y="72"/>
                    <a:pt x="68" y="72"/>
                    <a:pt x="68" y="72"/>
                  </a:cubicBezTo>
                  <a:cubicBezTo>
                    <a:pt x="68" y="72"/>
                    <a:pt x="69" y="72"/>
                    <a:pt x="69" y="72"/>
                  </a:cubicBezTo>
                  <a:cubicBezTo>
                    <a:pt x="69" y="72"/>
                    <a:pt x="69" y="72"/>
                    <a:pt x="69" y="72"/>
                  </a:cubicBezTo>
                  <a:cubicBezTo>
                    <a:pt x="69" y="71"/>
                    <a:pt x="70" y="71"/>
                    <a:pt x="70" y="71"/>
                  </a:cubicBezTo>
                  <a:cubicBezTo>
                    <a:pt x="70" y="70"/>
                    <a:pt x="70" y="69"/>
                    <a:pt x="71" y="69"/>
                  </a:cubicBezTo>
                  <a:cubicBezTo>
                    <a:pt x="72" y="69"/>
                    <a:pt x="72" y="70"/>
                    <a:pt x="73" y="70"/>
                  </a:cubicBezTo>
                  <a:cubicBezTo>
                    <a:pt x="74" y="71"/>
                    <a:pt x="75" y="71"/>
                    <a:pt x="75" y="70"/>
                  </a:cubicBezTo>
                  <a:cubicBezTo>
                    <a:pt x="76" y="70"/>
                    <a:pt x="75" y="68"/>
                    <a:pt x="77" y="68"/>
                  </a:cubicBezTo>
                  <a:cubicBezTo>
                    <a:pt x="79" y="68"/>
                    <a:pt x="79" y="71"/>
                    <a:pt x="79" y="71"/>
                  </a:cubicBezTo>
                  <a:cubicBezTo>
                    <a:pt x="79" y="72"/>
                    <a:pt x="80" y="74"/>
                    <a:pt x="80" y="76"/>
                  </a:cubicBezTo>
                  <a:cubicBezTo>
                    <a:pt x="81" y="77"/>
                    <a:pt x="81" y="78"/>
                    <a:pt x="80" y="79"/>
                  </a:cubicBezTo>
                  <a:cubicBezTo>
                    <a:pt x="80" y="79"/>
                    <a:pt x="82" y="80"/>
                    <a:pt x="83" y="80"/>
                  </a:cubicBezTo>
                  <a:cubicBezTo>
                    <a:pt x="84" y="81"/>
                    <a:pt x="87" y="85"/>
                    <a:pt x="90" y="85"/>
                  </a:cubicBezTo>
                  <a:cubicBezTo>
                    <a:pt x="92" y="86"/>
                    <a:pt x="95" y="84"/>
                    <a:pt x="98" y="85"/>
                  </a:cubicBezTo>
                  <a:cubicBezTo>
                    <a:pt x="101" y="86"/>
                    <a:pt x="102" y="85"/>
                    <a:pt x="103" y="85"/>
                  </a:cubicBezTo>
                  <a:cubicBezTo>
                    <a:pt x="104" y="84"/>
                    <a:pt x="105" y="84"/>
                    <a:pt x="106" y="85"/>
                  </a:cubicBezTo>
                  <a:cubicBezTo>
                    <a:pt x="107" y="85"/>
                    <a:pt x="111" y="90"/>
                    <a:pt x="112" y="91"/>
                  </a:cubicBezTo>
                  <a:cubicBezTo>
                    <a:pt x="112" y="92"/>
                    <a:pt x="112" y="93"/>
                    <a:pt x="111" y="93"/>
                  </a:cubicBezTo>
                  <a:cubicBezTo>
                    <a:pt x="111" y="94"/>
                    <a:pt x="111" y="96"/>
                    <a:pt x="112" y="97"/>
                  </a:cubicBezTo>
                  <a:cubicBezTo>
                    <a:pt x="114" y="99"/>
                    <a:pt x="114" y="100"/>
                    <a:pt x="115" y="101"/>
                  </a:cubicBezTo>
                  <a:cubicBezTo>
                    <a:pt x="115" y="102"/>
                    <a:pt x="119" y="101"/>
                    <a:pt x="121" y="101"/>
                  </a:cubicBezTo>
                  <a:cubicBezTo>
                    <a:pt x="122" y="102"/>
                    <a:pt x="123" y="104"/>
                    <a:pt x="123" y="105"/>
                  </a:cubicBezTo>
                  <a:cubicBezTo>
                    <a:pt x="124" y="106"/>
                    <a:pt x="125" y="106"/>
                    <a:pt x="125" y="105"/>
                  </a:cubicBezTo>
                  <a:cubicBezTo>
                    <a:pt x="126" y="104"/>
                    <a:pt x="128" y="100"/>
                    <a:pt x="129" y="99"/>
                  </a:cubicBezTo>
                  <a:cubicBezTo>
                    <a:pt x="130" y="98"/>
                    <a:pt x="134" y="97"/>
                    <a:pt x="135" y="96"/>
                  </a:cubicBezTo>
                  <a:cubicBezTo>
                    <a:pt x="136" y="96"/>
                    <a:pt x="139" y="94"/>
                    <a:pt x="140" y="94"/>
                  </a:cubicBezTo>
                  <a:cubicBezTo>
                    <a:pt x="140" y="94"/>
                    <a:pt x="140" y="93"/>
                    <a:pt x="141" y="92"/>
                  </a:cubicBezTo>
                  <a:cubicBezTo>
                    <a:pt x="142" y="91"/>
                    <a:pt x="143" y="92"/>
                    <a:pt x="145" y="92"/>
                  </a:cubicBezTo>
                  <a:cubicBezTo>
                    <a:pt x="146" y="92"/>
                    <a:pt x="151" y="94"/>
                    <a:pt x="152" y="93"/>
                  </a:cubicBezTo>
                  <a:cubicBezTo>
                    <a:pt x="152" y="93"/>
                    <a:pt x="152" y="90"/>
                    <a:pt x="153" y="90"/>
                  </a:cubicBezTo>
                  <a:cubicBezTo>
                    <a:pt x="154" y="89"/>
                    <a:pt x="156" y="88"/>
                    <a:pt x="157" y="89"/>
                  </a:cubicBezTo>
                  <a:cubicBezTo>
                    <a:pt x="159" y="89"/>
                    <a:pt x="163" y="91"/>
                    <a:pt x="165" y="90"/>
                  </a:cubicBezTo>
                  <a:cubicBezTo>
                    <a:pt x="166" y="90"/>
                    <a:pt x="174" y="90"/>
                    <a:pt x="176" y="91"/>
                  </a:cubicBezTo>
                  <a:cubicBezTo>
                    <a:pt x="178" y="91"/>
                    <a:pt x="185" y="93"/>
                    <a:pt x="185" y="93"/>
                  </a:cubicBezTo>
                  <a:cubicBezTo>
                    <a:pt x="186" y="93"/>
                    <a:pt x="189" y="94"/>
                    <a:pt x="189" y="94"/>
                  </a:cubicBezTo>
                  <a:cubicBezTo>
                    <a:pt x="189" y="94"/>
                    <a:pt x="189" y="94"/>
                    <a:pt x="189" y="94"/>
                  </a:cubicBezTo>
                  <a:cubicBezTo>
                    <a:pt x="189" y="94"/>
                    <a:pt x="189" y="93"/>
                    <a:pt x="189" y="92"/>
                  </a:cubicBezTo>
                  <a:cubicBezTo>
                    <a:pt x="189" y="91"/>
                    <a:pt x="192" y="89"/>
                    <a:pt x="193" y="88"/>
                  </a:cubicBezTo>
                  <a:cubicBezTo>
                    <a:pt x="193" y="87"/>
                    <a:pt x="190" y="83"/>
                    <a:pt x="190" y="82"/>
                  </a:cubicBezTo>
                  <a:cubicBezTo>
                    <a:pt x="190" y="80"/>
                    <a:pt x="189" y="77"/>
                    <a:pt x="189" y="77"/>
                  </a:cubicBezTo>
                  <a:cubicBezTo>
                    <a:pt x="188" y="76"/>
                    <a:pt x="187" y="76"/>
                    <a:pt x="187" y="76"/>
                  </a:cubicBezTo>
                  <a:cubicBezTo>
                    <a:pt x="188" y="76"/>
                    <a:pt x="195" y="74"/>
                    <a:pt x="196" y="74"/>
                  </a:cubicBezTo>
                  <a:cubicBezTo>
                    <a:pt x="197" y="74"/>
                    <a:pt x="198" y="75"/>
                    <a:pt x="199" y="75"/>
                  </a:cubicBezTo>
                  <a:cubicBezTo>
                    <a:pt x="200" y="76"/>
                    <a:pt x="203" y="75"/>
                    <a:pt x="203" y="74"/>
                  </a:cubicBezTo>
                  <a:cubicBezTo>
                    <a:pt x="203" y="74"/>
                    <a:pt x="201" y="73"/>
                    <a:pt x="201" y="72"/>
                  </a:cubicBezTo>
                  <a:cubicBezTo>
                    <a:pt x="201" y="71"/>
                    <a:pt x="202" y="67"/>
                    <a:pt x="203" y="66"/>
                  </a:cubicBezTo>
                  <a:cubicBezTo>
                    <a:pt x="204" y="64"/>
                    <a:pt x="204" y="61"/>
                    <a:pt x="205" y="60"/>
                  </a:cubicBezTo>
                  <a:cubicBezTo>
                    <a:pt x="206" y="60"/>
                    <a:pt x="207" y="62"/>
                    <a:pt x="209" y="62"/>
                  </a:cubicBezTo>
                  <a:cubicBezTo>
                    <a:pt x="210" y="63"/>
                    <a:pt x="211" y="62"/>
                    <a:pt x="212" y="62"/>
                  </a:cubicBezTo>
                  <a:cubicBezTo>
                    <a:pt x="213" y="62"/>
                    <a:pt x="214" y="63"/>
                    <a:pt x="214" y="63"/>
                  </a:cubicBezTo>
                  <a:cubicBezTo>
                    <a:pt x="215" y="63"/>
                    <a:pt x="217" y="62"/>
                    <a:pt x="218" y="61"/>
                  </a:cubicBezTo>
                  <a:cubicBezTo>
                    <a:pt x="219" y="60"/>
                    <a:pt x="220" y="59"/>
                    <a:pt x="218" y="58"/>
                  </a:cubicBezTo>
                  <a:cubicBezTo>
                    <a:pt x="217" y="57"/>
                    <a:pt x="217" y="56"/>
                    <a:pt x="218" y="54"/>
                  </a:cubicBezTo>
                  <a:cubicBezTo>
                    <a:pt x="219" y="52"/>
                    <a:pt x="221" y="53"/>
                    <a:pt x="223" y="52"/>
                  </a:cubicBezTo>
                  <a:cubicBezTo>
                    <a:pt x="224" y="51"/>
                    <a:pt x="224" y="48"/>
                    <a:pt x="225" y="48"/>
                  </a:cubicBezTo>
                  <a:cubicBezTo>
                    <a:pt x="226" y="47"/>
                    <a:pt x="226" y="47"/>
                    <a:pt x="226" y="47"/>
                  </a:cubicBezTo>
                  <a:cubicBezTo>
                    <a:pt x="224" y="46"/>
                    <a:pt x="224" y="44"/>
                    <a:pt x="224" y="44"/>
                  </a:cubicBezTo>
                  <a:close/>
                  <a:moveTo>
                    <a:pt x="164" y="65"/>
                  </a:moveTo>
                  <a:cubicBezTo>
                    <a:pt x="162" y="65"/>
                    <a:pt x="160" y="68"/>
                    <a:pt x="158" y="69"/>
                  </a:cubicBezTo>
                  <a:cubicBezTo>
                    <a:pt x="157" y="69"/>
                    <a:pt x="157" y="71"/>
                    <a:pt x="156" y="72"/>
                  </a:cubicBezTo>
                  <a:cubicBezTo>
                    <a:pt x="155" y="74"/>
                    <a:pt x="156" y="73"/>
                    <a:pt x="156" y="75"/>
                  </a:cubicBezTo>
                  <a:cubicBezTo>
                    <a:pt x="156" y="76"/>
                    <a:pt x="156" y="75"/>
                    <a:pt x="154" y="74"/>
                  </a:cubicBezTo>
                  <a:cubicBezTo>
                    <a:pt x="153" y="72"/>
                    <a:pt x="153" y="70"/>
                    <a:pt x="154" y="69"/>
                  </a:cubicBezTo>
                  <a:cubicBezTo>
                    <a:pt x="154" y="68"/>
                    <a:pt x="156" y="66"/>
                    <a:pt x="158" y="66"/>
                  </a:cubicBezTo>
                  <a:cubicBezTo>
                    <a:pt x="159" y="65"/>
                    <a:pt x="162" y="64"/>
                    <a:pt x="163" y="64"/>
                  </a:cubicBezTo>
                  <a:cubicBezTo>
                    <a:pt x="164" y="64"/>
                    <a:pt x="167" y="64"/>
                    <a:pt x="169" y="65"/>
                  </a:cubicBezTo>
                  <a:cubicBezTo>
                    <a:pt x="169" y="65"/>
                    <a:pt x="166" y="65"/>
                    <a:pt x="164" y="65"/>
                  </a:cubicBezTo>
                  <a:close/>
                  <a:moveTo>
                    <a:pt x="183" y="66"/>
                  </a:moveTo>
                  <a:cubicBezTo>
                    <a:pt x="183" y="67"/>
                    <a:pt x="180" y="67"/>
                    <a:pt x="178" y="67"/>
                  </a:cubicBezTo>
                  <a:cubicBezTo>
                    <a:pt x="175" y="66"/>
                    <a:pt x="174" y="66"/>
                    <a:pt x="173" y="65"/>
                  </a:cubicBezTo>
                  <a:cubicBezTo>
                    <a:pt x="173" y="65"/>
                    <a:pt x="178" y="65"/>
                    <a:pt x="179" y="65"/>
                  </a:cubicBezTo>
                  <a:cubicBezTo>
                    <a:pt x="179" y="66"/>
                    <a:pt x="181" y="65"/>
                    <a:pt x="182" y="65"/>
                  </a:cubicBezTo>
                  <a:cubicBezTo>
                    <a:pt x="183" y="65"/>
                    <a:pt x="183" y="64"/>
                    <a:pt x="183" y="64"/>
                  </a:cubicBezTo>
                  <a:cubicBezTo>
                    <a:pt x="184" y="64"/>
                    <a:pt x="184" y="66"/>
                    <a:pt x="183" y="6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66" name="Freeform 681">
              <a:extLst>
                <a:ext uri="{FF2B5EF4-FFF2-40B4-BE49-F238E27FC236}">
                  <a16:creationId xmlns:a16="http://schemas.microsoft.com/office/drawing/2014/main" id="{07C1DB16-AA99-3E0A-D56D-EDCD21A53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8789" y="3572198"/>
              <a:ext cx="497662" cy="530351"/>
            </a:xfrm>
            <a:custGeom>
              <a:avLst/>
              <a:gdLst>
                <a:gd name="T0" fmla="*/ 133 w 154"/>
                <a:gd name="T1" fmla="*/ 78 h 164"/>
                <a:gd name="T2" fmla="*/ 140 w 154"/>
                <a:gd name="T3" fmla="*/ 66 h 164"/>
                <a:gd name="T4" fmla="*/ 145 w 154"/>
                <a:gd name="T5" fmla="*/ 56 h 164"/>
                <a:gd name="T6" fmla="*/ 151 w 154"/>
                <a:gd name="T7" fmla="*/ 51 h 164"/>
                <a:gd name="T8" fmla="*/ 149 w 154"/>
                <a:gd name="T9" fmla="*/ 46 h 164"/>
                <a:gd name="T10" fmla="*/ 143 w 154"/>
                <a:gd name="T11" fmla="*/ 42 h 164"/>
                <a:gd name="T12" fmla="*/ 132 w 154"/>
                <a:gd name="T13" fmla="*/ 46 h 164"/>
                <a:gd name="T14" fmla="*/ 126 w 154"/>
                <a:gd name="T15" fmla="*/ 51 h 164"/>
                <a:gd name="T16" fmla="*/ 119 w 154"/>
                <a:gd name="T17" fmla="*/ 55 h 164"/>
                <a:gd name="T18" fmla="*/ 111 w 154"/>
                <a:gd name="T19" fmla="*/ 51 h 164"/>
                <a:gd name="T20" fmla="*/ 106 w 154"/>
                <a:gd name="T21" fmla="*/ 52 h 164"/>
                <a:gd name="T22" fmla="*/ 101 w 154"/>
                <a:gd name="T23" fmla="*/ 56 h 164"/>
                <a:gd name="T24" fmla="*/ 89 w 154"/>
                <a:gd name="T25" fmla="*/ 54 h 164"/>
                <a:gd name="T26" fmla="*/ 79 w 154"/>
                <a:gd name="T27" fmla="*/ 50 h 164"/>
                <a:gd name="T28" fmla="*/ 66 w 154"/>
                <a:gd name="T29" fmla="*/ 43 h 164"/>
                <a:gd name="T30" fmla="*/ 71 w 154"/>
                <a:gd name="T31" fmla="*/ 36 h 164"/>
                <a:gd name="T32" fmla="*/ 61 w 154"/>
                <a:gd name="T33" fmla="*/ 29 h 164"/>
                <a:gd name="T34" fmla="*/ 55 w 154"/>
                <a:gd name="T35" fmla="*/ 22 h 164"/>
                <a:gd name="T36" fmla="*/ 62 w 154"/>
                <a:gd name="T37" fmla="*/ 17 h 164"/>
                <a:gd name="T38" fmla="*/ 63 w 154"/>
                <a:gd name="T39" fmla="*/ 9 h 164"/>
                <a:gd name="T40" fmla="*/ 60 w 154"/>
                <a:gd name="T41" fmla="*/ 0 h 164"/>
                <a:gd name="T42" fmla="*/ 51 w 154"/>
                <a:gd name="T43" fmla="*/ 4 h 164"/>
                <a:gd name="T44" fmla="*/ 44 w 154"/>
                <a:gd name="T45" fmla="*/ 8 h 164"/>
                <a:gd name="T46" fmla="*/ 32 w 154"/>
                <a:gd name="T47" fmla="*/ 9 h 164"/>
                <a:gd name="T48" fmla="*/ 39 w 154"/>
                <a:gd name="T49" fmla="*/ 23 h 164"/>
                <a:gd name="T50" fmla="*/ 32 w 154"/>
                <a:gd name="T51" fmla="*/ 33 h 164"/>
                <a:gd name="T52" fmla="*/ 26 w 154"/>
                <a:gd name="T53" fmla="*/ 42 h 164"/>
                <a:gd name="T54" fmla="*/ 17 w 154"/>
                <a:gd name="T55" fmla="*/ 50 h 164"/>
                <a:gd name="T56" fmla="*/ 7 w 154"/>
                <a:gd name="T57" fmla="*/ 54 h 164"/>
                <a:gd name="T58" fmla="*/ 12 w 154"/>
                <a:gd name="T59" fmla="*/ 63 h 164"/>
                <a:gd name="T60" fmla="*/ 11 w 154"/>
                <a:gd name="T61" fmla="*/ 70 h 164"/>
                <a:gd name="T62" fmla="*/ 0 w 154"/>
                <a:gd name="T63" fmla="*/ 74 h 164"/>
                <a:gd name="T64" fmla="*/ 6 w 154"/>
                <a:gd name="T65" fmla="*/ 79 h 164"/>
                <a:gd name="T66" fmla="*/ 7 w 154"/>
                <a:gd name="T67" fmla="*/ 82 h 164"/>
                <a:gd name="T68" fmla="*/ 10 w 154"/>
                <a:gd name="T69" fmla="*/ 89 h 164"/>
                <a:gd name="T70" fmla="*/ 22 w 154"/>
                <a:gd name="T71" fmla="*/ 87 h 164"/>
                <a:gd name="T72" fmla="*/ 23 w 154"/>
                <a:gd name="T73" fmla="*/ 83 h 164"/>
                <a:gd name="T74" fmla="*/ 24 w 154"/>
                <a:gd name="T75" fmla="*/ 85 h 164"/>
                <a:gd name="T76" fmla="*/ 24 w 154"/>
                <a:gd name="T77" fmla="*/ 89 h 164"/>
                <a:gd name="T78" fmla="*/ 25 w 154"/>
                <a:gd name="T79" fmla="*/ 97 h 164"/>
                <a:gd name="T80" fmla="*/ 25 w 154"/>
                <a:gd name="T81" fmla="*/ 112 h 164"/>
                <a:gd name="T82" fmla="*/ 35 w 154"/>
                <a:gd name="T83" fmla="*/ 132 h 164"/>
                <a:gd name="T84" fmla="*/ 44 w 154"/>
                <a:gd name="T85" fmla="*/ 157 h 164"/>
                <a:gd name="T86" fmla="*/ 56 w 154"/>
                <a:gd name="T87" fmla="*/ 156 h 164"/>
                <a:gd name="T88" fmla="*/ 62 w 154"/>
                <a:gd name="T89" fmla="*/ 144 h 164"/>
                <a:gd name="T90" fmla="*/ 64 w 154"/>
                <a:gd name="T91" fmla="*/ 124 h 164"/>
                <a:gd name="T92" fmla="*/ 76 w 154"/>
                <a:gd name="T93" fmla="*/ 116 h 164"/>
                <a:gd name="T94" fmla="*/ 90 w 154"/>
                <a:gd name="T95" fmla="*/ 101 h 164"/>
                <a:gd name="T96" fmla="*/ 101 w 154"/>
                <a:gd name="T97" fmla="*/ 88 h 164"/>
                <a:gd name="T98" fmla="*/ 107 w 154"/>
                <a:gd name="T99" fmla="*/ 85 h 164"/>
                <a:gd name="T100" fmla="*/ 112 w 154"/>
                <a:gd name="T101" fmla="*/ 86 h 164"/>
                <a:gd name="T102" fmla="*/ 109 w 154"/>
                <a:gd name="T103" fmla="*/ 66 h 164"/>
                <a:gd name="T104" fmla="*/ 111 w 154"/>
                <a:gd name="T105" fmla="*/ 59 h 164"/>
                <a:gd name="T106" fmla="*/ 122 w 154"/>
                <a:gd name="T107" fmla="*/ 66 h 164"/>
                <a:gd name="T108" fmla="*/ 126 w 154"/>
                <a:gd name="T109" fmla="*/ 71 h 164"/>
                <a:gd name="T110" fmla="*/ 126 w 154"/>
                <a:gd name="T111" fmla="*/ 75 h 164"/>
                <a:gd name="T112" fmla="*/ 130 w 154"/>
                <a:gd name="T113" fmla="*/ 8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" h="164">
                  <a:moveTo>
                    <a:pt x="130" y="84"/>
                  </a:moveTo>
                  <a:cubicBezTo>
                    <a:pt x="130" y="84"/>
                    <a:pt x="132" y="84"/>
                    <a:pt x="132" y="84"/>
                  </a:cubicBezTo>
                  <a:cubicBezTo>
                    <a:pt x="133" y="83"/>
                    <a:pt x="132" y="79"/>
                    <a:pt x="133" y="78"/>
                  </a:cubicBezTo>
                  <a:cubicBezTo>
                    <a:pt x="133" y="77"/>
                    <a:pt x="134" y="72"/>
                    <a:pt x="135" y="72"/>
                  </a:cubicBezTo>
                  <a:cubicBezTo>
                    <a:pt x="135" y="72"/>
                    <a:pt x="137" y="74"/>
                    <a:pt x="138" y="71"/>
                  </a:cubicBezTo>
                  <a:cubicBezTo>
                    <a:pt x="139" y="69"/>
                    <a:pt x="140" y="67"/>
                    <a:pt x="140" y="66"/>
                  </a:cubicBezTo>
                  <a:cubicBezTo>
                    <a:pt x="140" y="64"/>
                    <a:pt x="141" y="64"/>
                    <a:pt x="141" y="62"/>
                  </a:cubicBezTo>
                  <a:cubicBezTo>
                    <a:pt x="142" y="61"/>
                    <a:pt x="142" y="60"/>
                    <a:pt x="142" y="59"/>
                  </a:cubicBezTo>
                  <a:cubicBezTo>
                    <a:pt x="142" y="57"/>
                    <a:pt x="143" y="57"/>
                    <a:pt x="145" y="56"/>
                  </a:cubicBezTo>
                  <a:cubicBezTo>
                    <a:pt x="147" y="55"/>
                    <a:pt x="148" y="53"/>
                    <a:pt x="149" y="52"/>
                  </a:cubicBezTo>
                  <a:cubicBezTo>
                    <a:pt x="151" y="52"/>
                    <a:pt x="150" y="53"/>
                    <a:pt x="151" y="54"/>
                  </a:cubicBezTo>
                  <a:cubicBezTo>
                    <a:pt x="152" y="55"/>
                    <a:pt x="152" y="54"/>
                    <a:pt x="151" y="51"/>
                  </a:cubicBezTo>
                  <a:cubicBezTo>
                    <a:pt x="151" y="49"/>
                    <a:pt x="152" y="50"/>
                    <a:pt x="153" y="49"/>
                  </a:cubicBezTo>
                  <a:cubicBezTo>
                    <a:pt x="154" y="49"/>
                    <a:pt x="153" y="47"/>
                    <a:pt x="153" y="47"/>
                  </a:cubicBezTo>
                  <a:cubicBezTo>
                    <a:pt x="152" y="47"/>
                    <a:pt x="148" y="47"/>
                    <a:pt x="149" y="46"/>
                  </a:cubicBezTo>
                  <a:cubicBezTo>
                    <a:pt x="149" y="45"/>
                    <a:pt x="151" y="44"/>
                    <a:pt x="150" y="42"/>
                  </a:cubicBezTo>
                  <a:cubicBezTo>
                    <a:pt x="148" y="41"/>
                    <a:pt x="148" y="40"/>
                    <a:pt x="147" y="40"/>
                  </a:cubicBezTo>
                  <a:cubicBezTo>
                    <a:pt x="146" y="40"/>
                    <a:pt x="145" y="43"/>
                    <a:pt x="143" y="42"/>
                  </a:cubicBezTo>
                  <a:cubicBezTo>
                    <a:pt x="142" y="41"/>
                    <a:pt x="140" y="40"/>
                    <a:pt x="140" y="40"/>
                  </a:cubicBezTo>
                  <a:cubicBezTo>
                    <a:pt x="139" y="41"/>
                    <a:pt x="137" y="44"/>
                    <a:pt x="135" y="44"/>
                  </a:cubicBezTo>
                  <a:cubicBezTo>
                    <a:pt x="133" y="44"/>
                    <a:pt x="133" y="46"/>
                    <a:pt x="132" y="46"/>
                  </a:cubicBezTo>
                  <a:cubicBezTo>
                    <a:pt x="131" y="47"/>
                    <a:pt x="130" y="49"/>
                    <a:pt x="129" y="49"/>
                  </a:cubicBezTo>
                  <a:cubicBezTo>
                    <a:pt x="128" y="49"/>
                    <a:pt x="127" y="49"/>
                    <a:pt x="126" y="49"/>
                  </a:cubicBezTo>
                  <a:cubicBezTo>
                    <a:pt x="126" y="49"/>
                    <a:pt x="126" y="50"/>
                    <a:pt x="126" y="51"/>
                  </a:cubicBezTo>
                  <a:cubicBezTo>
                    <a:pt x="126" y="53"/>
                    <a:pt x="127" y="53"/>
                    <a:pt x="127" y="55"/>
                  </a:cubicBezTo>
                  <a:cubicBezTo>
                    <a:pt x="128" y="57"/>
                    <a:pt x="126" y="55"/>
                    <a:pt x="124" y="56"/>
                  </a:cubicBezTo>
                  <a:cubicBezTo>
                    <a:pt x="122" y="57"/>
                    <a:pt x="120" y="56"/>
                    <a:pt x="119" y="55"/>
                  </a:cubicBezTo>
                  <a:cubicBezTo>
                    <a:pt x="117" y="55"/>
                    <a:pt x="116" y="57"/>
                    <a:pt x="115" y="56"/>
                  </a:cubicBezTo>
                  <a:cubicBezTo>
                    <a:pt x="114" y="55"/>
                    <a:pt x="113" y="56"/>
                    <a:pt x="112" y="55"/>
                  </a:cubicBezTo>
                  <a:cubicBezTo>
                    <a:pt x="111" y="54"/>
                    <a:pt x="111" y="51"/>
                    <a:pt x="111" y="51"/>
                  </a:cubicBezTo>
                  <a:cubicBezTo>
                    <a:pt x="111" y="52"/>
                    <a:pt x="112" y="48"/>
                    <a:pt x="111" y="49"/>
                  </a:cubicBezTo>
                  <a:cubicBezTo>
                    <a:pt x="109" y="49"/>
                    <a:pt x="108" y="50"/>
                    <a:pt x="107" y="50"/>
                  </a:cubicBezTo>
                  <a:cubicBezTo>
                    <a:pt x="107" y="50"/>
                    <a:pt x="107" y="51"/>
                    <a:pt x="106" y="52"/>
                  </a:cubicBezTo>
                  <a:cubicBezTo>
                    <a:pt x="106" y="53"/>
                    <a:pt x="108" y="57"/>
                    <a:pt x="107" y="57"/>
                  </a:cubicBezTo>
                  <a:cubicBezTo>
                    <a:pt x="106" y="57"/>
                    <a:pt x="104" y="59"/>
                    <a:pt x="103" y="58"/>
                  </a:cubicBezTo>
                  <a:cubicBezTo>
                    <a:pt x="102" y="57"/>
                    <a:pt x="102" y="56"/>
                    <a:pt x="101" y="56"/>
                  </a:cubicBezTo>
                  <a:cubicBezTo>
                    <a:pt x="100" y="57"/>
                    <a:pt x="99" y="58"/>
                    <a:pt x="98" y="57"/>
                  </a:cubicBezTo>
                  <a:cubicBezTo>
                    <a:pt x="96" y="56"/>
                    <a:pt x="94" y="55"/>
                    <a:pt x="94" y="55"/>
                  </a:cubicBezTo>
                  <a:cubicBezTo>
                    <a:pt x="93" y="55"/>
                    <a:pt x="90" y="55"/>
                    <a:pt x="89" y="54"/>
                  </a:cubicBezTo>
                  <a:cubicBezTo>
                    <a:pt x="88" y="52"/>
                    <a:pt x="87" y="52"/>
                    <a:pt x="86" y="52"/>
                  </a:cubicBezTo>
                  <a:cubicBezTo>
                    <a:pt x="85" y="52"/>
                    <a:pt x="84" y="52"/>
                    <a:pt x="83" y="52"/>
                  </a:cubicBezTo>
                  <a:cubicBezTo>
                    <a:pt x="82" y="52"/>
                    <a:pt x="80" y="50"/>
                    <a:pt x="79" y="50"/>
                  </a:cubicBezTo>
                  <a:cubicBezTo>
                    <a:pt x="77" y="49"/>
                    <a:pt x="76" y="50"/>
                    <a:pt x="75" y="50"/>
                  </a:cubicBezTo>
                  <a:cubicBezTo>
                    <a:pt x="73" y="49"/>
                    <a:pt x="74" y="49"/>
                    <a:pt x="72" y="48"/>
                  </a:cubicBezTo>
                  <a:cubicBezTo>
                    <a:pt x="71" y="47"/>
                    <a:pt x="67" y="44"/>
                    <a:pt x="66" y="43"/>
                  </a:cubicBezTo>
                  <a:cubicBezTo>
                    <a:pt x="65" y="42"/>
                    <a:pt x="66" y="42"/>
                    <a:pt x="66" y="40"/>
                  </a:cubicBezTo>
                  <a:cubicBezTo>
                    <a:pt x="67" y="39"/>
                    <a:pt x="66" y="38"/>
                    <a:pt x="67" y="37"/>
                  </a:cubicBezTo>
                  <a:cubicBezTo>
                    <a:pt x="68" y="37"/>
                    <a:pt x="71" y="37"/>
                    <a:pt x="71" y="36"/>
                  </a:cubicBezTo>
                  <a:cubicBezTo>
                    <a:pt x="69" y="35"/>
                    <a:pt x="67" y="34"/>
                    <a:pt x="65" y="32"/>
                  </a:cubicBezTo>
                  <a:cubicBezTo>
                    <a:pt x="64" y="31"/>
                    <a:pt x="64" y="31"/>
                    <a:pt x="63" y="31"/>
                  </a:cubicBezTo>
                  <a:cubicBezTo>
                    <a:pt x="61" y="30"/>
                    <a:pt x="63" y="30"/>
                    <a:pt x="61" y="29"/>
                  </a:cubicBezTo>
                  <a:cubicBezTo>
                    <a:pt x="59" y="28"/>
                    <a:pt x="58" y="29"/>
                    <a:pt x="58" y="28"/>
                  </a:cubicBezTo>
                  <a:cubicBezTo>
                    <a:pt x="58" y="26"/>
                    <a:pt x="59" y="26"/>
                    <a:pt x="57" y="24"/>
                  </a:cubicBezTo>
                  <a:cubicBezTo>
                    <a:pt x="56" y="23"/>
                    <a:pt x="55" y="22"/>
                    <a:pt x="55" y="22"/>
                  </a:cubicBezTo>
                  <a:cubicBezTo>
                    <a:pt x="56" y="21"/>
                    <a:pt x="57" y="21"/>
                    <a:pt x="58" y="22"/>
                  </a:cubicBezTo>
                  <a:cubicBezTo>
                    <a:pt x="59" y="22"/>
                    <a:pt x="62" y="21"/>
                    <a:pt x="62" y="20"/>
                  </a:cubicBezTo>
                  <a:cubicBezTo>
                    <a:pt x="62" y="19"/>
                    <a:pt x="63" y="19"/>
                    <a:pt x="62" y="17"/>
                  </a:cubicBezTo>
                  <a:cubicBezTo>
                    <a:pt x="60" y="16"/>
                    <a:pt x="58" y="15"/>
                    <a:pt x="58" y="14"/>
                  </a:cubicBezTo>
                  <a:cubicBezTo>
                    <a:pt x="59" y="12"/>
                    <a:pt x="61" y="13"/>
                    <a:pt x="62" y="12"/>
                  </a:cubicBezTo>
                  <a:cubicBezTo>
                    <a:pt x="62" y="10"/>
                    <a:pt x="62" y="9"/>
                    <a:pt x="63" y="9"/>
                  </a:cubicBezTo>
                  <a:cubicBezTo>
                    <a:pt x="64" y="8"/>
                    <a:pt x="66" y="8"/>
                    <a:pt x="66" y="6"/>
                  </a:cubicBezTo>
                  <a:cubicBezTo>
                    <a:pt x="66" y="4"/>
                    <a:pt x="66" y="4"/>
                    <a:pt x="65" y="3"/>
                  </a:cubicBezTo>
                  <a:cubicBezTo>
                    <a:pt x="63" y="2"/>
                    <a:pt x="63" y="1"/>
                    <a:pt x="60" y="0"/>
                  </a:cubicBezTo>
                  <a:cubicBezTo>
                    <a:pt x="58" y="0"/>
                    <a:pt x="57" y="1"/>
                    <a:pt x="55" y="2"/>
                  </a:cubicBezTo>
                  <a:cubicBezTo>
                    <a:pt x="54" y="3"/>
                    <a:pt x="55" y="3"/>
                    <a:pt x="53" y="3"/>
                  </a:cubicBezTo>
                  <a:cubicBezTo>
                    <a:pt x="52" y="3"/>
                    <a:pt x="52" y="3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0" y="7"/>
                    <a:pt x="48" y="7"/>
                  </a:cubicBezTo>
                  <a:cubicBezTo>
                    <a:pt x="47" y="7"/>
                    <a:pt x="45" y="7"/>
                    <a:pt x="44" y="8"/>
                  </a:cubicBezTo>
                  <a:cubicBezTo>
                    <a:pt x="43" y="8"/>
                    <a:pt x="43" y="9"/>
                    <a:pt x="41" y="9"/>
                  </a:cubicBezTo>
                  <a:cubicBezTo>
                    <a:pt x="38" y="8"/>
                    <a:pt x="37" y="7"/>
                    <a:pt x="35" y="7"/>
                  </a:cubicBezTo>
                  <a:cubicBezTo>
                    <a:pt x="34" y="7"/>
                    <a:pt x="31" y="7"/>
                    <a:pt x="32" y="9"/>
                  </a:cubicBezTo>
                  <a:cubicBezTo>
                    <a:pt x="32" y="11"/>
                    <a:pt x="32" y="14"/>
                    <a:pt x="32" y="16"/>
                  </a:cubicBezTo>
                  <a:cubicBezTo>
                    <a:pt x="33" y="17"/>
                    <a:pt x="33" y="19"/>
                    <a:pt x="34" y="20"/>
                  </a:cubicBezTo>
                  <a:cubicBezTo>
                    <a:pt x="36" y="20"/>
                    <a:pt x="39" y="23"/>
                    <a:pt x="39" y="23"/>
                  </a:cubicBezTo>
                  <a:cubicBezTo>
                    <a:pt x="38" y="23"/>
                    <a:pt x="35" y="24"/>
                    <a:pt x="35" y="25"/>
                  </a:cubicBezTo>
                  <a:cubicBezTo>
                    <a:pt x="35" y="27"/>
                    <a:pt x="37" y="30"/>
                    <a:pt x="36" y="31"/>
                  </a:cubicBezTo>
                  <a:cubicBezTo>
                    <a:pt x="35" y="31"/>
                    <a:pt x="33" y="32"/>
                    <a:pt x="32" y="33"/>
                  </a:cubicBezTo>
                  <a:cubicBezTo>
                    <a:pt x="32" y="35"/>
                    <a:pt x="33" y="36"/>
                    <a:pt x="31" y="36"/>
                  </a:cubicBezTo>
                  <a:cubicBezTo>
                    <a:pt x="30" y="36"/>
                    <a:pt x="28" y="37"/>
                    <a:pt x="28" y="38"/>
                  </a:cubicBezTo>
                  <a:cubicBezTo>
                    <a:pt x="28" y="39"/>
                    <a:pt x="27" y="42"/>
                    <a:pt x="26" y="42"/>
                  </a:cubicBezTo>
                  <a:cubicBezTo>
                    <a:pt x="24" y="43"/>
                    <a:pt x="22" y="43"/>
                    <a:pt x="22" y="45"/>
                  </a:cubicBezTo>
                  <a:cubicBezTo>
                    <a:pt x="21" y="46"/>
                    <a:pt x="21" y="48"/>
                    <a:pt x="20" y="49"/>
                  </a:cubicBezTo>
                  <a:cubicBezTo>
                    <a:pt x="19" y="50"/>
                    <a:pt x="18" y="50"/>
                    <a:pt x="17" y="50"/>
                  </a:cubicBezTo>
                  <a:cubicBezTo>
                    <a:pt x="16" y="50"/>
                    <a:pt x="15" y="52"/>
                    <a:pt x="14" y="51"/>
                  </a:cubicBezTo>
                  <a:cubicBezTo>
                    <a:pt x="13" y="50"/>
                    <a:pt x="12" y="49"/>
                    <a:pt x="11" y="50"/>
                  </a:cubicBezTo>
                  <a:cubicBezTo>
                    <a:pt x="11" y="50"/>
                    <a:pt x="8" y="53"/>
                    <a:pt x="7" y="54"/>
                  </a:cubicBezTo>
                  <a:cubicBezTo>
                    <a:pt x="6" y="55"/>
                    <a:pt x="7" y="56"/>
                    <a:pt x="9" y="57"/>
                  </a:cubicBezTo>
                  <a:cubicBezTo>
                    <a:pt x="10" y="58"/>
                    <a:pt x="10" y="58"/>
                    <a:pt x="10" y="59"/>
                  </a:cubicBezTo>
                  <a:cubicBezTo>
                    <a:pt x="10" y="60"/>
                    <a:pt x="10" y="62"/>
                    <a:pt x="12" y="63"/>
                  </a:cubicBezTo>
                  <a:cubicBezTo>
                    <a:pt x="13" y="63"/>
                    <a:pt x="14" y="66"/>
                    <a:pt x="14" y="67"/>
                  </a:cubicBezTo>
                  <a:cubicBezTo>
                    <a:pt x="14" y="69"/>
                    <a:pt x="15" y="71"/>
                    <a:pt x="13" y="70"/>
                  </a:cubicBezTo>
                  <a:cubicBezTo>
                    <a:pt x="12" y="69"/>
                    <a:pt x="12" y="70"/>
                    <a:pt x="11" y="70"/>
                  </a:cubicBezTo>
                  <a:cubicBezTo>
                    <a:pt x="10" y="71"/>
                    <a:pt x="8" y="72"/>
                    <a:pt x="7" y="71"/>
                  </a:cubicBezTo>
                  <a:cubicBezTo>
                    <a:pt x="7" y="71"/>
                    <a:pt x="5" y="70"/>
                    <a:pt x="4" y="71"/>
                  </a:cubicBezTo>
                  <a:cubicBezTo>
                    <a:pt x="2" y="72"/>
                    <a:pt x="1" y="73"/>
                    <a:pt x="0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1" y="76"/>
                    <a:pt x="1" y="77"/>
                    <a:pt x="3" y="77"/>
                  </a:cubicBezTo>
                  <a:cubicBezTo>
                    <a:pt x="4" y="78"/>
                    <a:pt x="5" y="79"/>
                    <a:pt x="6" y="79"/>
                  </a:cubicBezTo>
                  <a:cubicBezTo>
                    <a:pt x="8" y="79"/>
                    <a:pt x="8" y="79"/>
                    <a:pt x="10" y="79"/>
                  </a:cubicBezTo>
                  <a:cubicBezTo>
                    <a:pt x="12" y="79"/>
                    <a:pt x="12" y="79"/>
                    <a:pt x="11" y="79"/>
                  </a:cubicBezTo>
                  <a:cubicBezTo>
                    <a:pt x="10" y="80"/>
                    <a:pt x="9" y="82"/>
                    <a:pt x="7" y="82"/>
                  </a:cubicBezTo>
                  <a:cubicBezTo>
                    <a:pt x="6" y="82"/>
                    <a:pt x="5" y="82"/>
                    <a:pt x="4" y="81"/>
                  </a:cubicBezTo>
                  <a:cubicBezTo>
                    <a:pt x="4" y="81"/>
                    <a:pt x="4" y="82"/>
                    <a:pt x="4" y="83"/>
                  </a:cubicBezTo>
                  <a:cubicBezTo>
                    <a:pt x="4" y="84"/>
                    <a:pt x="9" y="88"/>
                    <a:pt x="10" y="89"/>
                  </a:cubicBezTo>
                  <a:cubicBezTo>
                    <a:pt x="12" y="91"/>
                    <a:pt x="13" y="92"/>
                    <a:pt x="15" y="92"/>
                  </a:cubicBezTo>
                  <a:cubicBezTo>
                    <a:pt x="17" y="91"/>
                    <a:pt x="18" y="90"/>
                    <a:pt x="20" y="89"/>
                  </a:cubicBezTo>
                  <a:cubicBezTo>
                    <a:pt x="21" y="88"/>
                    <a:pt x="23" y="88"/>
                    <a:pt x="22" y="87"/>
                  </a:cubicBezTo>
                  <a:cubicBezTo>
                    <a:pt x="21" y="86"/>
                    <a:pt x="20" y="86"/>
                    <a:pt x="21" y="85"/>
                  </a:cubicBezTo>
                  <a:cubicBezTo>
                    <a:pt x="22" y="84"/>
                    <a:pt x="22" y="85"/>
                    <a:pt x="22" y="84"/>
                  </a:cubicBezTo>
                  <a:cubicBezTo>
                    <a:pt x="22" y="83"/>
                    <a:pt x="22" y="83"/>
                    <a:pt x="23" y="83"/>
                  </a:cubicBezTo>
                  <a:cubicBezTo>
                    <a:pt x="24" y="83"/>
                    <a:pt x="25" y="83"/>
                    <a:pt x="24" y="83"/>
                  </a:cubicBezTo>
                  <a:cubicBezTo>
                    <a:pt x="23" y="84"/>
                    <a:pt x="24" y="85"/>
                    <a:pt x="24" y="84"/>
                  </a:cubicBezTo>
                  <a:cubicBezTo>
                    <a:pt x="25" y="84"/>
                    <a:pt x="25" y="85"/>
                    <a:pt x="24" y="85"/>
                  </a:cubicBezTo>
                  <a:cubicBezTo>
                    <a:pt x="24" y="86"/>
                    <a:pt x="23" y="86"/>
                    <a:pt x="24" y="86"/>
                  </a:cubicBezTo>
                  <a:cubicBezTo>
                    <a:pt x="25" y="86"/>
                    <a:pt x="25" y="86"/>
                    <a:pt x="24" y="87"/>
                  </a:cubicBezTo>
                  <a:cubicBezTo>
                    <a:pt x="24" y="88"/>
                    <a:pt x="22" y="88"/>
                    <a:pt x="24" y="89"/>
                  </a:cubicBezTo>
                  <a:cubicBezTo>
                    <a:pt x="26" y="90"/>
                    <a:pt x="26" y="90"/>
                    <a:pt x="26" y="91"/>
                  </a:cubicBezTo>
                  <a:cubicBezTo>
                    <a:pt x="26" y="92"/>
                    <a:pt x="25" y="93"/>
                    <a:pt x="25" y="94"/>
                  </a:cubicBezTo>
                  <a:cubicBezTo>
                    <a:pt x="25" y="95"/>
                    <a:pt x="23" y="95"/>
                    <a:pt x="25" y="97"/>
                  </a:cubicBezTo>
                  <a:cubicBezTo>
                    <a:pt x="26" y="99"/>
                    <a:pt x="25" y="102"/>
                    <a:pt x="25" y="104"/>
                  </a:cubicBezTo>
                  <a:cubicBezTo>
                    <a:pt x="26" y="107"/>
                    <a:pt x="25" y="107"/>
                    <a:pt x="25" y="109"/>
                  </a:cubicBezTo>
                  <a:cubicBezTo>
                    <a:pt x="25" y="110"/>
                    <a:pt x="25" y="113"/>
                    <a:pt x="25" y="112"/>
                  </a:cubicBezTo>
                  <a:cubicBezTo>
                    <a:pt x="26" y="111"/>
                    <a:pt x="26" y="108"/>
                    <a:pt x="26" y="110"/>
                  </a:cubicBezTo>
                  <a:cubicBezTo>
                    <a:pt x="27" y="111"/>
                    <a:pt x="28" y="117"/>
                    <a:pt x="29" y="119"/>
                  </a:cubicBezTo>
                  <a:cubicBezTo>
                    <a:pt x="31" y="121"/>
                    <a:pt x="34" y="128"/>
                    <a:pt x="35" y="132"/>
                  </a:cubicBezTo>
                  <a:cubicBezTo>
                    <a:pt x="35" y="137"/>
                    <a:pt x="35" y="137"/>
                    <a:pt x="37" y="140"/>
                  </a:cubicBezTo>
                  <a:cubicBezTo>
                    <a:pt x="40" y="143"/>
                    <a:pt x="41" y="146"/>
                    <a:pt x="43" y="150"/>
                  </a:cubicBezTo>
                  <a:cubicBezTo>
                    <a:pt x="44" y="154"/>
                    <a:pt x="43" y="155"/>
                    <a:pt x="44" y="157"/>
                  </a:cubicBezTo>
                  <a:cubicBezTo>
                    <a:pt x="46" y="159"/>
                    <a:pt x="46" y="161"/>
                    <a:pt x="48" y="163"/>
                  </a:cubicBezTo>
                  <a:cubicBezTo>
                    <a:pt x="50" y="164"/>
                    <a:pt x="54" y="162"/>
                    <a:pt x="54" y="160"/>
                  </a:cubicBezTo>
                  <a:cubicBezTo>
                    <a:pt x="55" y="158"/>
                    <a:pt x="55" y="158"/>
                    <a:pt x="56" y="156"/>
                  </a:cubicBezTo>
                  <a:cubicBezTo>
                    <a:pt x="57" y="155"/>
                    <a:pt x="58" y="154"/>
                    <a:pt x="59" y="153"/>
                  </a:cubicBezTo>
                  <a:cubicBezTo>
                    <a:pt x="61" y="152"/>
                    <a:pt x="63" y="152"/>
                    <a:pt x="63" y="150"/>
                  </a:cubicBezTo>
                  <a:cubicBezTo>
                    <a:pt x="63" y="149"/>
                    <a:pt x="62" y="146"/>
                    <a:pt x="62" y="144"/>
                  </a:cubicBezTo>
                  <a:cubicBezTo>
                    <a:pt x="62" y="142"/>
                    <a:pt x="64" y="140"/>
                    <a:pt x="65" y="138"/>
                  </a:cubicBezTo>
                  <a:cubicBezTo>
                    <a:pt x="66" y="136"/>
                    <a:pt x="66" y="135"/>
                    <a:pt x="65" y="133"/>
                  </a:cubicBezTo>
                  <a:cubicBezTo>
                    <a:pt x="65" y="131"/>
                    <a:pt x="63" y="125"/>
                    <a:pt x="64" y="124"/>
                  </a:cubicBezTo>
                  <a:cubicBezTo>
                    <a:pt x="64" y="122"/>
                    <a:pt x="66" y="120"/>
                    <a:pt x="67" y="120"/>
                  </a:cubicBezTo>
                  <a:cubicBezTo>
                    <a:pt x="68" y="119"/>
                    <a:pt x="69" y="119"/>
                    <a:pt x="71" y="118"/>
                  </a:cubicBezTo>
                  <a:cubicBezTo>
                    <a:pt x="73" y="117"/>
                    <a:pt x="75" y="117"/>
                    <a:pt x="76" y="116"/>
                  </a:cubicBezTo>
                  <a:cubicBezTo>
                    <a:pt x="77" y="115"/>
                    <a:pt x="76" y="114"/>
                    <a:pt x="77" y="113"/>
                  </a:cubicBezTo>
                  <a:cubicBezTo>
                    <a:pt x="79" y="112"/>
                    <a:pt x="81" y="110"/>
                    <a:pt x="83" y="108"/>
                  </a:cubicBezTo>
                  <a:cubicBezTo>
                    <a:pt x="85" y="106"/>
                    <a:pt x="89" y="102"/>
                    <a:pt x="90" y="101"/>
                  </a:cubicBezTo>
                  <a:cubicBezTo>
                    <a:pt x="92" y="99"/>
                    <a:pt x="92" y="98"/>
                    <a:pt x="94" y="97"/>
                  </a:cubicBezTo>
                  <a:cubicBezTo>
                    <a:pt x="97" y="97"/>
                    <a:pt x="100" y="94"/>
                    <a:pt x="101" y="92"/>
                  </a:cubicBezTo>
                  <a:cubicBezTo>
                    <a:pt x="101" y="90"/>
                    <a:pt x="99" y="89"/>
                    <a:pt x="101" y="88"/>
                  </a:cubicBezTo>
                  <a:cubicBezTo>
                    <a:pt x="102" y="87"/>
                    <a:pt x="104" y="87"/>
                    <a:pt x="106" y="85"/>
                  </a:cubicBezTo>
                  <a:cubicBezTo>
                    <a:pt x="107" y="83"/>
                    <a:pt x="109" y="81"/>
                    <a:pt x="108" y="82"/>
                  </a:cubicBezTo>
                  <a:cubicBezTo>
                    <a:pt x="107" y="84"/>
                    <a:pt x="106" y="85"/>
                    <a:pt x="107" y="85"/>
                  </a:cubicBezTo>
                  <a:cubicBezTo>
                    <a:pt x="108" y="85"/>
                    <a:pt x="107" y="87"/>
                    <a:pt x="109" y="85"/>
                  </a:cubicBezTo>
                  <a:cubicBezTo>
                    <a:pt x="111" y="83"/>
                    <a:pt x="111" y="84"/>
                    <a:pt x="111" y="85"/>
                  </a:cubicBezTo>
                  <a:cubicBezTo>
                    <a:pt x="111" y="85"/>
                    <a:pt x="111" y="86"/>
                    <a:pt x="112" y="86"/>
                  </a:cubicBezTo>
                  <a:cubicBezTo>
                    <a:pt x="112" y="84"/>
                    <a:pt x="113" y="81"/>
                    <a:pt x="111" y="79"/>
                  </a:cubicBezTo>
                  <a:cubicBezTo>
                    <a:pt x="110" y="77"/>
                    <a:pt x="106" y="71"/>
                    <a:pt x="107" y="70"/>
                  </a:cubicBezTo>
                  <a:cubicBezTo>
                    <a:pt x="107" y="69"/>
                    <a:pt x="107" y="67"/>
                    <a:pt x="109" y="66"/>
                  </a:cubicBezTo>
                  <a:cubicBezTo>
                    <a:pt x="110" y="65"/>
                    <a:pt x="113" y="66"/>
                    <a:pt x="111" y="64"/>
                  </a:cubicBezTo>
                  <a:cubicBezTo>
                    <a:pt x="109" y="62"/>
                    <a:pt x="107" y="61"/>
                    <a:pt x="108" y="60"/>
                  </a:cubicBezTo>
                  <a:cubicBezTo>
                    <a:pt x="109" y="59"/>
                    <a:pt x="109" y="58"/>
                    <a:pt x="111" y="59"/>
                  </a:cubicBezTo>
                  <a:cubicBezTo>
                    <a:pt x="113" y="61"/>
                    <a:pt x="114" y="61"/>
                    <a:pt x="114" y="61"/>
                  </a:cubicBezTo>
                  <a:cubicBezTo>
                    <a:pt x="115" y="61"/>
                    <a:pt x="115" y="63"/>
                    <a:pt x="115" y="64"/>
                  </a:cubicBezTo>
                  <a:cubicBezTo>
                    <a:pt x="116" y="66"/>
                    <a:pt x="121" y="67"/>
                    <a:pt x="122" y="66"/>
                  </a:cubicBezTo>
                  <a:cubicBezTo>
                    <a:pt x="124" y="65"/>
                    <a:pt x="125" y="66"/>
                    <a:pt x="126" y="66"/>
                  </a:cubicBezTo>
                  <a:cubicBezTo>
                    <a:pt x="127" y="66"/>
                    <a:pt x="129" y="66"/>
                    <a:pt x="129" y="67"/>
                  </a:cubicBezTo>
                  <a:cubicBezTo>
                    <a:pt x="129" y="68"/>
                    <a:pt x="128" y="70"/>
                    <a:pt x="126" y="71"/>
                  </a:cubicBezTo>
                  <a:cubicBezTo>
                    <a:pt x="125" y="72"/>
                    <a:pt x="124" y="72"/>
                    <a:pt x="123" y="73"/>
                  </a:cubicBezTo>
                  <a:cubicBezTo>
                    <a:pt x="122" y="74"/>
                    <a:pt x="124" y="78"/>
                    <a:pt x="124" y="78"/>
                  </a:cubicBezTo>
                  <a:cubicBezTo>
                    <a:pt x="124" y="78"/>
                    <a:pt x="126" y="76"/>
                    <a:pt x="126" y="75"/>
                  </a:cubicBezTo>
                  <a:cubicBezTo>
                    <a:pt x="126" y="74"/>
                    <a:pt x="128" y="74"/>
                    <a:pt x="128" y="75"/>
                  </a:cubicBezTo>
                  <a:cubicBezTo>
                    <a:pt x="128" y="76"/>
                    <a:pt x="128" y="78"/>
                    <a:pt x="129" y="79"/>
                  </a:cubicBezTo>
                  <a:cubicBezTo>
                    <a:pt x="129" y="80"/>
                    <a:pt x="129" y="82"/>
                    <a:pt x="130" y="84"/>
                  </a:cubicBezTo>
                  <a:cubicBezTo>
                    <a:pt x="130" y="84"/>
                    <a:pt x="130" y="84"/>
                    <a:pt x="130" y="8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67" name="Freeform 682">
              <a:extLst>
                <a:ext uri="{FF2B5EF4-FFF2-40B4-BE49-F238E27FC236}">
                  <a16:creationId xmlns:a16="http://schemas.microsoft.com/office/drawing/2014/main" id="{86111755-1434-7F16-2C41-2B7FA7B21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9269" y="3717499"/>
              <a:ext cx="147724" cy="349935"/>
            </a:xfrm>
            <a:custGeom>
              <a:avLst/>
              <a:gdLst>
                <a:gd name="T0" fmla="*/ 41 w 46"/>
                <a:gd name="T1" fmla="*/ 41 h 108"/>
                <a:gd name="T2" fmla="*/ 37 w 46"/>
                <a:gd name="T3" fmla="*/ 38 h 108"/>
                <a:gd name="T4" fmla="*/ 35 w 46"/>
                <a:gd name="T5" fmla="*/ 32 h 108"/>
                <a:gd name="T6" fmla="*/ 35 w 46"/>
                <a:gd name="T7" fmla="*/ 27 h 108"/>
                <a:gd name="T8" fmla="*/ 27 w 46"/>
                <a:gd name="T9" fmla="*/ 27 h 108"/>
                <a:gd name="T10" fmla="*/ 28 w 46"/>
                <a:gd name="T11" fmla="*/ 22 h 108"/>
                <a:gd name="T12" fmla="*/ 33 w 46"/>
                <a:gd name="T13" fmla="*/ 17 h 108"/>
                <a:gd name="T14" fmla="*/ 33 w 46"/>
                <a:gd name="T15" fmla="*/ 10 h 108"/>
                <a:gd name="T16" fmla="*/ 33 w 46"/>
                <a:gd name="T17" fmla="*/ 6 h 108"/>
                <a:gd name="T18" fmla="*/ 28 w 46"/>
                <a:gd name="T19" fmla="*/ 1 h 108"/>
                <a:gd name="T20" fmla="*/ 26 w 46"/>
                <a:gd name="T21" fmla="*/ 4 h 108"/>
                <a:gd name="T22" fmla="*/ 24 w 46"/>
                <a:gd name="T23" fmla="*/ 9 h 108"/>
                <a:gd name="T24" fmla="*/ 18 w 46"/>
                <a:gd name="T25" fmla="*/ 11 h 108"/>
                <a:gd name="T26" fmla="*/ 14 w 46"/>
                <a:gd name="T27" fmla="*/ 17 h 108"/>
                <a:gd name="T28" fmla="*/ 11 w 46"/>
                <a:gd name="T29" fmla="*/ 26 h 108"/>
                <a:gd name="T30" fmla="*/ 6 w 46"/>
                <a:gd name="T31" fmla="*/ 33 h 108"/>
                <a:gd name="T32" fmla="*/ 3 w 46"/>
                <a:gd name="T33" fmla="*/ 39 h 108"/>
                <a:gd name="T34" fmla="*/ 3 w 46"/>
                <a:gd name="T35" fmla="*/ 39 h 108"/>
                <a:gd name="T36" fmla="*/ 0 w 46"/>
                <a:gd name="T37" fmla="*/ 44 h 108"/>
                <a:gd name="T38" fmla="*/ 5 w 46"/>
                <a:gd name="T39" fmla="*/ 51 h 108"/>
                <a:gd name="T40" fmla="*/ 8 w 46"/>
                <a:gd name="T41" fmla="*/ 55 h 108"/>
                <a:gd name="T42" fmla="*/ 10 w 46"/>
                <a:gd name="T43" fmla="*/ 57 h 108"/>
                <a:gd name="T44" fmla="*/ 11 w 46"/>
                <a:gd name="T45" fmla="*/ 73 h 108"/>
                <a:gd name="T46" fmla="*/ 13 w 46"/>
                <a:gd name="T47" fmla="*/ 71 h 108"/>
                <a:gd name="T48" fmla="*/ 14 w 46"/>
                <a:gd name="T49" fmla="*/ 73 h 108"/>
                <a:gd name="T50" fmla="*/ 15 w 46"/>
                <a:gd name="T51" fmla="*/ 73 h 108"/>
                <a:gd name="T52" fmla="*/ 18 w 46"/>
                <a:gd name="T53" fmla="*/ 73 h 108"/>
                <a:gd name="T54" fmla="*/ 24 w 46"/>
                <a:gd name="T55" fmla="*/ 68 h 108"/>
                <a:gd name="T56" fmla="*/ 25 w 46"/>
                <a:gd name="T57" fmla="*/ 70 h 108"/>
                <a:gd name="T58" fmla="*/ 30 w 46"/>
                <a:gd name="T59" fmla="*/ 86 h 108"/>
                <a:gd name="T60" fmla="*/ 34 w 46"/>
                <a:gd name="T61" fmla="*/ 91 h 108"/>
                <a:gd name="T62" fmla="*/ 33 w 46"/>
                <a:gd name="T63" fmla="*/ 94 h 108"/>
                <a:gd name="T64" fmla="*/ 34 w 46"/>
                <a:gd name="T65" fmla="*/ 95 h 108"/>
                <a:gd name="T66" fmla="*/ 33 w 46"/>
                <a:gd name="T67" fmla="*/ 99 h 108"/>
                <a:gd name="T68" fmla="*/ 33 w 46"/>
                <a:gd name="T69" fmla="*/ 102 h 108"/>
                <a:gd name="T70" fmla="*/ 32 w 46"/>
                <a:gd name="T71" fmla="*/ 108 h 108"/>
                <a:gd name="T72" fmla="*/ 38 w 46"/>
                <a:gd name="T73" fmla="*/ 99 h 108"/>
                <a:gd name="T74" fmla="*/ 37 w 46"/>
                <a:gd name="T75" fmla="*/ 90 h 108"/>
                <a:gd name="T76" fmla="*/ 31 w 46"/>
                <a:gd name="T77" fmla="*/ 81 h 108"/>
                <a:gd name="T78" fmla="*/ 32 w 46"/>
                <a:gd name="T79" fmla="*/ 74 h 108"/>
                <a:gd name="T80" fmla="*/ 33 w 46"/>
                <a:gd name="T81" fmla="*/ 69 h 108"/>
                <a:gd name="T82" fmla="*/ 27 w 46"/>
                <a:gd name="T83" fmla="*/ 61 h 108"/>
                <a:gd name="T84" fmla="*/ 30 w 46"/>
                <a:gd name="T85" fmla="*/ 53 h 108"/>
                <a:gd name="T86" fmla="*/ 35 w 46"/>
                <a:gd name="T87" fmla="*/ 51 h 108"/>
                <a:gd name="T88" fmla="*/ 42 w 46"/>
                <a:gd name="T89" fmla="*/ 48 h 108"/>
                <a:gd name="T90" fmla="*/ 46 w 46"/>
                <a:gd name="T91" fmla="*/ 4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" h="108">
                  <a:moveTo>
                    <a:pt x="44" y="42"/>
                  </a:moveTo>
                  <a:cubicBezTo>
                    <a:pt x="43" y="42"/>
                    <a:pt x="42" y="43"/>
                    <a:pt x="41" y="41"/>
                  </a:cubicBezTo>
                  <a:cubicBezTo>
                    <a:pt x="41" y="39"/>
                    <a:pt x="43" y="40"/>
                    <a:pt x="41" y="39"/>
                  </a:cubicBezTo>
                  <a:cubicBezTo>
                    <a:pt x="38" y="39"/>
                    <a:pt x="37" y="39"/>
                    <a:pt x="37" y="38"/>
                  </a:cubicBezTo>
                  <a:cubicBezTo>
                    <a:pt x="37" y="38"/>
                    <a:pt x="40" y="33"/>
                    <a:pt x="38" y="33"/>
                  </a:cubicBezTo>
                  <a:cubicBezTo>
                    <a:pt x="37" y="33"/>
                    <a:pt x="35" y="33"/>
                    <a:pt x="35" y="32"/>
                  </a:cubicBezTo>
                  <a:cubicBezTo>
                    <a:pt x="34" y="31"/>
                    <a:pt x="33" y="30"/>
                    <a:pt x="34" y="29"/>
                  </a:cubicBezTo>
                  <a:cubicBezTo>
                    <a:pt x="35" y="28"/>
                    <a:pt x="37" y="27"/>
                    <a:pt x="35" y="27"/>
                  </a:cubicBezTo>
                  <a:cubicBezTo>
                    <a:pt x="34" y="27"/>
                    <a:pt x="31" y="27"/>
                    <a:pt x="30" y="27"/>
                  </a:cubicBezTo>
                  <a:cubicBezTo>
                    <a:pt x="29" y="27"/>
                    <a:pt x="26" y="29"/>
                    <a:pt x="27" y="27"/>
                  </a:cubicBezTo>
                  <a:cubicBezTo>
                    <a:pt x="28" y="26"/>
                    <a:pt x="28" y="25"/>
                    <a:pt x="28" y="25"/>
                  </a:cubicBezTo>
                  <a:cubicBezTo>
                    <a:pt x="28" y="24"/>
                    <a:pt x="27" y="24"/>
                    <a:pt x="28" y="22"/>
                  </a:cubicBezTo>
                  <a:cubicBezTo>
                    <a:pt x="29" y="21"/>
                    <a:pt x="29" y="21"/>
                    <a:pt x="31" y="20"/>
                  </a:cubicBezTo>
                  <a:cubicBezTo>
                    <a:pt x="32" y="18"/>
                    <a:pt x="32" y="18"/>
                    <a:pt x="33" y="17"/>
                  </a:cubicBezTo>
                  <a:cubicBezTo>
                    <a:pt x="34" y="16"/>
                    <a:pt x="34" y="14"/>
                    <a:pt x="34" y="13"/>
                  </a:cubicBezTo>
                  <a:cubicBezTo>
                    <a:pt x="34" y="11"/>
                    <a:pt x="33" y="11"/>
                    <a:pt x="33" y="10"/>
                  </a:cubicBezTo>
                  <a:cubicBezTo>
                    <a:pt x="34" y="9"/>
                    <a:pt x="34" y="9"/>
                    <a:pt x="34" y="8"/>
                  </a:cubicBezTo>
                  <a:cubicBezTo>
                    <a:pt x="34" y="7"/>
                    <a:pt x="34" y="6"/>
                    <a:pt x="33" y="6"/>
                  </a:cubicBezTo>
                  <a:cubicBezTo>
                    <a:pt x="32" y="6"/>
                    <a:pt x="32" y="7"/>
                    <a:pt x="31" y="6"/>
                  </a:cubicBezTo>
                  <a:cubicBezTo>
                    <a:pt x="31" y="4"/>
                    <a:pt x="30" y="0"/>
                    <a:pt x="28" y="1"/>
                  </a:cubicBezTo>
                  <a:cubicBezTo>
                    <a:pt x="27" y="1"/>
                    <a:pt x="27" y="2"/>
                    <a:pt x="26" y="2"/>
                  </a:cubicBezTo>
                  <a:cubicBezTo>
                    <a:pt x="26" y="2"/>
                    <a:pt x="27" y="4"/>
                    <a:pt x="26" y="4"/>
                  </a:cubicBezTo>
                  <a:cubicBezTo>
                    <a:pt x="25" y="5"/>
                    <a:pt x="24" y="4"/>
                    <a:pt x="24" y="6"/>
                  </a:cubicBezTo>
                  <a:cubicBezTo>
                    <a:pt x="25" y="9"/>
                    <a:pt x="25" y="10"/>
                    <a:pt x="24" y="9"/>
                  </a:cubicBezTo>
                  <a:cubicBezTo>
                    <a:pt x="23" y="8"/>
                    <a:pt x="24" y="7"/>
                    <a:pt x="22" y="7"/>
                  </a:cubicBezTo>
                  <a:cubicBezTo>
                    <a:pt x="21" y="8"/>
                    <a:pt x="20" y="10"/>
                    <a:pt x="18" y="11"/>
                  </a:cubicBezTo>
                  <a:cubicBezTo>
                    <a:pt x="16" y="12"/>
                    <a:pt x="15" y="12"/>
                    <a:pt x="15" y="14"/>
                  </a:cubicBezTo>
                  <a:cubicBezTo>
                    <a:pt x="15" y="15"/>
                    <a:pt x="15" y="16"/>
                    <a:pt x="14" y="17"/>
                  </a:cubicBezTo>
                  <a:cubicBezTo>
                    <a:pt x="14" y="19"/>
                    <a:pt x="13" y="19"/>
                    <a:pt x="13" y="21"/>
                  </a:cubicBezTo>
                  <a:cubicBezTo>
                    <a:pt x="13" y="22"/>
                    <a:pt x="12" y="24"/>
                    <a:pt x="11" y="26"/>
                  </a:cubicBezTo>
                  <a:cubicBezTo>
                    <a:pt x="10" y="29"/>
                    <a:pt x="8" y="27"/>
                    <a:pt x="8" y="27"/>
                  </a:cubicBezTo>
                  <a:cubicBezTo>
                    <a:pt x="7" y="27"/>
                    <a:pt x="6" y="32"/>
                    <a:pt x="6" y="33"/>
                  </a:cubicBezTo>
                  <a:cubicBezTo>
                    <a:pt x="5" y="34"/>
                    <a:pt x="6" y="38"/>
                    <a:pt x="5" y="39"/>
                  </a:cubicBezTo>
                  <a:cubicBezTo>
                    <a:pt x="5" y="39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40"/>
                    <a:pt x="3" y="41"/>
                    <a:pt x="2" y="42"/>
                  </a:cubicBezTo>
                  <a:cubicBezTo>
                    <a:pt x="2" y="43"/>
                    <a:pt x="1" y="43"/>
                    <a:pt x="0" y="44"/>
                  </a:cubicBezTo>
                  <a:cubicBezTo>
                    <a:pt x="0" y="45"/>
                    <a:pt x="1" y="46"/>
                    <a:pt x="2" y="47"/>
                  </a:cubicBezTo>
                  <a:cubicBezTo>
                    <a:pt x="3" y="49"/>
                    <a:pt x="5" y="52"/>
                    <a:pt x="5" y="51"/>
                  </a:cubicBezTo>
                  <a:cubicBezTo>
                    <a:pt x="5" y="50"/>
                    <a:pt x="3" y="48"/>
                    <a:pt x="5" y="49"/>
                  </a:cubicBezTo>
                  <a:cubicBezTo>
                    <a:pt x="6" y="50"/>
                    <a:pt x="9" y="54"/>
                    <a:pt x="8" y="55"/>
                  </a:cubicBezTo>
                  <a:cubicBezTo>
                    <a:pt x="8" y="57"/>
                    <a:pt x="7" y="59"/>
                    <a:pt x="8" y="58"/>
                  </a:cubicBezTo>
                  <a:cubicBezTo>
                    <a:pt x="8" y="57"/>
                    <a:pt x="9" y="56"/>
                    <a:pt x="10" y="57"/>
                  </a:cubicBezTo>
                  <a:cubicBezTo>
                    <a:pt x="11" y="59"/>
                    <a:pt x="13" y="63"/>
                    <a:pt x="12" y="65"/>
                  </a:cubicBezTo>
                  <a:cubicBezTo>
                    <a:pt x="11" y="67"/>
                    <a:pt x="11" y="72"/>
                    <a:pt x="11" y="73"/>
                  </a:cubicBezTo>
                  <a:cubicBezTo>
                    <a:pt x="11" y="74"/>
                    <a:pt x="11" y="75"/>
                    <a:pt x="12" y="73"/>
                  </a:cubicBezTo>
                  <a:cubicBezTo>
                    <a:pt x="12" y="72"/>
                    <a:pt x="13" y="70"/>
                    <a:pt x="13" y="71"/>
                  </a:cubicBezTo>
                  <a:cubicBezTo>
                    <a:pt x="12" y="73"/>
                    <a:pt x="12" y="75"/>
                    <a:pt x="12" y="74"/>
                  </a:cubicBezTo>
                  <a:cubicBezTo>
                    <a:pt x="13" y="74"/>
                    <a:pt x="13" y="72"/>
                    <a:pt x="14" y="73"/>
                  </a:cubicBezTo>
                  <a:cubicBezTo>
                    <a:pt x="14" y="74"/>
                    <a:pt x="14" y="76"/>
                    <a:pt x="14" y="75"/>
                  </a:cubicBezTo>
                  <a:cubicBezTo>
                    <a:pt x="15" y="74"/>
                    <a:pt x="16" y="72"/>
                    <a:pt x="15" y="73"/>
                  </a:cubicBezTo>
                  <a:cubicBezTo>
                    <a:pt x="15" y="74"/>
                    <a:pt x="15" y="75"/>
                    <a:pt x="16" y="74"/>
                  </a:cubicBezTo>
                  <a:cubicBezTo>
                    <a:pt x="18" y="73"/>
                    <a:pt x="16" y="74"/>
                    <a:pt x="18" y="73"/>
                  </a:cubicBezTo>
                  <a:cubicBezTo>
                    <a:pt x="20" y="72"/>
                    <a:pt x="21" y="72"/>
                    <a:pt x="22" y="71"/>
                  </a:cubicBezTo>
                  <a:cubicBezTo>
                    <a:pt x="23" y="70"/>
                    <a:pt x="24" y="69"/>
                    <a:pt x="24" y="68"/>
                  </a:cubicBezTo>
                  <a:cubicBezTo>
                    <a:pt x="24" y="67"/>
                    <a:pt x="24" y="67"/>
                    <a:pt x="24" y="68"/>
                  </a:cubicBezTo>
                  <a:cubicBezTo>
                    <a:pt x="25" y="69"/>
                    <a:pt x="24" y="70"/>
                    <a:pt x="25" y="70"/>
                  </a:cubicBezTo>
                  <a:cubicBezTo>
                    <a:pt x="26" y="70"/>
                    <a:pt x="27" y="70"/>
                    <a:pt x="27" y="72"/>
                  </a:cubicBezTo>
                  <a:cubicBezTo>
                    <a:pt x="27" y="73"/>
                    <a:pt x="28" y="84"/>
                    <a:pt x="30" y="86"/>
                  </a:cubicBezTo>
                  <a:cubicBezTo>
                    <a:pt x="32" y="89"/>
                    <a:pt x="32" y="88"/>
                    <a:pt x="32" y="89"/>
                  </a:cubicBezTo>
                  <a:cubicBezTo>
                    <a:pt x="32" y="90"/>
                    <a:pt x="34" y="92"/>
                    <a:pt x="34" y="91"/>
                  </a:cubicBezTo>
                  <a:cubicBezTo>
                    <a:pt x="34" y="90"/>
                    <a:pt x="34" y="91"/>
                    <a:pt x="34" y="92"/>
                  </a:cubicBezTo>
                  <a:cubicBezTo>
                    <a:pt x="33" y="92"/>
                    <a:pt x="33" y="93"/>
                    <a:pt x="33" y="94"/>
                  </a:cubicBezTo>
                  <a:cubicBezTo>
                    <a:pt x="33" y="95"/>
                    <a:pt x="34" y="95"/>
                    <a:pt x="34" y="94"/>
                  </a:cubicBezTo>
                  <a:cubicBezTo>
                    <a:pt x="34" y="94"/>
                    <a:pt x="34" y="95"/>
                    <a:pt x="34" y="95"/>
                  </a:cubicBezTo>
                  <a:cubicBezTo>
                    <a:pt x="33" y="96"/>
                    <a:pt x="32" y="97"/>
                    <a:pt x="32" y="98"/>
                  </a:cubicBezTo>
                  <a:cubicBezTo>
                    <a:pt x="32" y="99"/>
                    <a:pt x="33" y="99"/>
                    <a:pt x="33" y="99"/>
                  </a:cubicBezTo>
                  <a:cubicBezTo>
                    <a:pt x="33" y="98"/>
                    <a:pt x="35" y="98"/>
                    <a:pt x="34" y="99"/>
                  </a:cubicBezTo>
                  <a:cubicBezTo>
                    <a:pt x="34" y="99"/>
                    <a:pt x="34" y="101"/>
                    <a:pt x="33" y="102"/>
                  </a:cubicBezTo>
                  <a:cubicBezTo>
                    <a:pt x="33" y="103"/>
                    <a:pt x="32" y="103"/>
                    <a:pt x="32" y="104"/>
                  </a:cubicBezTo>
                  <a:cubicBezTo>
                    <a:pt x="32" y="105"/>
                    <a:pt x="32" y="106"/>
                    <a:pt x="32" y="108"/>
                  </a:cubicBezTo>
                  <a:cubicBezTo>
                    <a:pt x="34" y="107"/>
                    <a:pt x="34" y="104"/>
                    <a:pt x="35" y="103"/>
                  </a:cubicBezTo>
                  <a:cubicBezTo>
                    <a:pt x="36" y="103"/>
                    <a:pt x="37" y="100"/>
                    <a:pt x="38" y="99"/>
                  </a:cubicBezTo>
                  <a:cubicBezTo>
                    <a:pt x="39" y="97"/>
                    <a:pt x="38" y="95"/>
                    <a:pt x="37" y="94"/>
                  </a:cubicBezTo>
                  <a:cubicBezTo>
                    <a:pt x="36" y="92"/>
                    <a:pt x="36" y="92"/>
                    <a:pt x="37" y="90"/>
                  </a:cubicBezTo>
                  <a:cubicBezTo>
                    <a:pt x="37" y="88"/>
                    <a:pt x="36" y="87"/>
                    <a:pt x="35" y="86"/>
                  </a:cubicBezTo>
                  <a:cubicBezTo>
                    <a:pt x="34" y="85"/>
                    <a:pt x="33" y="82"/>
                    <a:pt x="31" y="81"/>
                  </a:cubicBezTo>
                  <a:cubicBezTo>
                    <a:pt x="30" y="79"/>
                    <a:pt x="32" y="78"/>
                    <a:pt x="33" y="77"/>
                  </a:cubicBezTo>
                  <a:cubicBezTo>
                    <a:pt x="34" y="76"/>
                    <a:pt x="32" y="76"/>
                    <a:pt x="32" y="74"/>
                  </a:cubicBezTo>
                  <a:cubicBezTo>
                    <a:pt x="32" y="73"/>
                    <a:pt x="33" y="74"/>
                    <a:pt x="34" y="72"/>
                  </a:cubicBezTo>
                  <a:cubicBezTo>
                    <a:pt x="34" y="71"/>
                    <a:pt x="33" y="70"/>
                    <a:pt x="33" y="69"/>
                  </a:cubicBezTo>
                  <a:cubicBezTo>
                    <a:pt x="32" y="67"/>
                    <a:pt x="29" y="65"/>
                    <a:pt x="28" y="64"/>
                  </a:cubicBezTo>
                  <a:cubicBezTo>
                    <a:pt x="27" y="63"/>
                    <a:pt x="28" y="62"/>
                    <a:pt x="27" y="61"/>
                  </a:cubicBezTo>
                  <a:cubicBezTo>
                    <a:pt x="27" y="60"/>
                    <a:pt x="28" y="58"/>
                    <a:pt x="28" y="57"/>
                  </a:cubicBezTo>
                  <a:cubicBezTo>
                    <a:pt x="28" y="55"/>
                    <a:pt x="29" y="53"/>
                    <a:pt x="30" y="53"/>
                  </a:cubicBezTo>
                  <a:cubicBezTo>
                    <a:pt x="31" y="52"/>
                    <a:pt x="31" y="52"/>
                    <a:pt x="32" y="52"/>
                  </a:cubicBezTo>
                  <a:cubicBezTo>
                    <a:pt x="34" y="52"/>
                    <a:pt x="34" y="52"/>
                    <a:pt x="35" y="51"/>
                  </a:cubicBezTo>
                  <a:cubicBezTo>
                    <a:pt x="36" y="50"/>
                    <a:pt x="37" y="49"/>
                    <a:pt x="38" y="48"/>
                  </a:cubicBezTo>
                  <a:cubicBezTo>
                    <a:pt x="39" y="48"/>
                    <a:pt x="41" y="48"/>
                    <a:pt x="42" y="48"/>
                  </a:cubicBezTo>
                  <a:cubicBezTo>
                    <a:pt x="43" y="47"/>
                    <a:pt x="43" y="46"/>
                    <a:pt x="44" y="45"/>
                  </a:cubicBezTo>
                  <a:cubicBezTo>
                    <a:pt x="45" y="44"/>
                    <a:pt x="46" y="42"/>
                    <a:pt x="46" y="42"/>
                  </a:cubicBezTo>
                  <a:cubicBezTo>
                    <a:pt x="45" y="42"/>
                    <a:pt x="45" y="42"/>
                    <a:pt x="44" y="4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68" name="Freeform 683">
              <a:extLst>
                <a:ext uri="{FF2B5EF4-FFF2-40B4-BE49-F238E27FC236}">
                  <a16:creationId xmlns:a16="http://schemas.microsoft.com/office/drawing/2014/main" id="{9669ACC9-49F1-A082-B026-95BAE2DA3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1" y="3759879"/>
              <a:ext cx="77495" cy="100500"/>
            </a:xfrm>
            <a:custGeom>
              <a:avLst/>
              <a:gdLst>
                <a:gd name="T0" fmla="*/ 23 w 24"/>
                <a:gd name="T1" fmla="*/ 29 h 31"/>
                <a:gd name="T2" fmla="*/ 23 w 24"/>
                <a:gd name="T3" fmla="*/ 21 h 31"/>
                <a:gd name="T4" fmla="*/ 22 w 24"/>
                <a:gd name="T5" fmla="*/ 17 h 31"/>
                <a:gd name="T6" fmla="*/ 20 w 24"/>
                <a:gd name="T7" fmla="*/ 17 h 31"/>
                <a:gd name="T8" fmla="*/ 18 w 24"/>
                <a:gd name="T9" fmla="*/ 20 h 31"/>
                <a:gd name="T10" fmla="*/ 17 w 24"/>
                <a:gd name="T11" fmla="*/ 15 h 31"/>
                <a:gd name="T12" fmla="*/ 20 w 24"/>
                <a:gd name="T13" fmla="*/ 13 h 31"/>
                <a:gd name="T14" fmla="*/ 23 w 24"/>
                <a:gd name="T15" fmla="*/ 9 h 31"/>
                <a:gd name="T16" fmla="*/ 20 w 24"/>
                <a:gd name="T17" fmla="*/ 8 h 31"/>
                <a:gd name="T18" fmla="*/ 16 w 24"/>
                <a:gd name="T19" fmla="*/ 8 h 31"/>
                <a:gd name="T20" fmla="*/ 9 w 24"/>
                <a:gd name="T21" fmla="*/ 6 h 31"/>
                <a:gd name="T22" fmla="*/ 8 w 24"/>
                <a:gd name="T23" fmla="*/ 3 h 31"/>
                <a:gd name="T24" fmla="*/ 5 w 24"/>
                <a:gd name="T25" fmla="*/ 1 h 31"/>
                <a:gd name="T26" fmla="*/ 2 w 24"/>
                <a:gd name="T27" fmla="*/ 2 h 31"/>
                <a:gd name="T28" fmla="*/ 5 w 24"/>
                <a:gd name="T29" fmla="*/ 6 h 31"/>
                <a:gd name="T30" fmla="*/ 3 w 24"/>
                <a:gd name="T31" fmla="*/ 8 h 31"/>
                <a:gd name="T32" fmla="*/ 1 w 24"/>
                <a:gd name="T33" fmla="*/ 12 h 31"/>
                <a:gd name="T34" fmla="*/ 5 w 24"/>
                <a:gd name="T35" fmla="*/ 21 h 31"/>
                <a:gd name="T36" fmla="*/ 6 w 24"/>
                <a:gd name="T37" fmla="*/ 28 h 31"/>
                <a:gd name="T38" fmla="*/ 6 w 24"/>
                <a:gd name="T39" fmla="*/ 28 h 31"/>
                <a:gd name="T40" fmla="*/ 7 w 24"/>
                <a:gd name="T41" fmla="*/ 25 h 31"/>
                <a:gd name="T42" fmla="*/ 8 w 24"/>
                <a:gd name="T43" fmla="*/ 26 h 31"/>
                <a:gd name="T44" fmla="*/ 8 w 24"/>
                <a:gd name="T45" fmla="*/ 26 h 31"/>
                <a:gd name="T46" fmla="*/ 9 w 24"/>
                <a:gd name="T47" fmla="*/ 26 h 31"/>
                <a:gd name="T48" fmla="*/ 10 w 24"/>
                <a:gd name="T49" fmla="*/ 24 h 31"/>
                <a:gd name="T50" fmla="*/ 14 w 24"/>
                <a:gd name="T51" fmla="*/ 26 h 31"/>
                <a:gd name="T52" fmla="*/ 13 w 24"/>
                <a:gd name="T53" fmla="*/ 20 h 31"/>
                <a:gd name="T54" fmla="*/ 12 w 24"/>
                <a:gd name="T55" fmla="*/ 18 h 31"/>
                <a:gd name="T56" fmla="*/ 14 w 24"/>
                <a:gd name="T57" fmla="*/ 19 h 31"/>
                <a:gd name="T58" fmla="*/ 15 w 24"/>
                <a:gd name="T59" fmla="*/ 22 h 31"/>
                <a:gd name="T60" fmla="*/ 18 w 24"/>
                <a:gd name="T61" fmla="*/ 21 h 31"/>
                <a:gd name="T62" fmla="*/ 19 w 24"/>
                <a:gd name="T63" fmla="*/ 22 h 31"/>
                <a:gd name="T64" fmla="*/ 20 w 24"/>
                <a:gd name="T65" fmla="*/ 24 h 31"/>
                <a:gd name="T66" fmla="*/ 20 w 24"/>
                <a:gd name="T67" fmla="*/ 29 h 31"/>
                <a:gd name="T68" fmla="*/ 21 w 24"/>
                <a:gd name="T69" fmla="*/ 31 h 31"/>
                <a:gd name="T70" fmla="*/ 21 w 24"/>
                <a:gd name="T71" fmla="*/ 31 h 31"/>
                <a:gd name="T72" fmla="*/ 23 w 24"/>
                <a:gd name="T73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" h="31">
                  <a:moveTo>
                    <a:pt x="23" y="29"/>
                  </a:moveTo>
                  <a:cubicBezTo>
                    <a:pt x="24" y="27"/>
                    <a:pt x="23" y="23"/>
                    <a:pt x="23" y="21"/>
                  </a:cubicBezTo>
                  <a:cubicBezTo>
                    <a:pt x="22" y="20"/>
                    <a:pt x="22" y="18"/>
                    <a:pt x="22" y="17"/>
                  </a:cubicBezTo>
                  <a:cubicBezTo>
                    <a:pt x="22" y="16"/>
                    <a:pt x="20" y="16"/>
                    <a:pt x="20" y="17"/>
                  </a:cubicBezTo>
                  <a:cubicBezTo>
                    <a:pt x="20" y="18"/>
                    <a:pt x="18" y="20"/>
                    <a:pt x="18" y="20"/>
                  </a:cubicBezTo>
                  <a:cubicBezTo>
                    <a:pt x="18" y="20"/>
                    <a:pt x="16" y="16"/>
                    <a:pt x="17" y="15"/>
                  </a:cubicBezTo>
                  <a:cubicBezTo>
                    <a:pt x="18" y="14"/>
                    <a:pt x="19" y="14"/>
                    <a:pt x="20" y="13"/>
                  </a:cubicBezTo>
                  <a:cubicBezTo>
                    <a:pt x="22" y="12"/>
                    <a:pt x="23" y="10"/>
                    <a:pt x="23" y="9"/>
                  </a:cubicBezTo>
                  <a:cubicBezTo>
                    <a:pt x="23" y="8"/>
                    <a:pt x="21" y="8"/>
                    <a:pt x="20" y="8"/>
                  </a:cubicBezTo>
                  <a:cubicBezTo>
                    <a:pt x="19" y="8"/>
                    <a:pt x="18" y="7"/>
                    <a:pt x="16" y="8"/>
                  </a:cubicBezTo>
                  <a:cubicBezTo>
                    <a:pt x="15" y="9"/>
                    <a:pt x="10" y="8"/>
                    <a:pt x="9" y="6"/>
                  </a:cubicBezTo>
                  <a:cubicBezTo>
                    <a:pt x="9" y="5"/>
                    <a:pt x="9" y="3"/>
                    <a:pt x="8" y="3"/>
                  </a:cubicBezTo>
                  <a:cubicBezTo>
                    <a:pt x="8" y="3"/>
                    <a:pt x="7" y="3"/>
                    <a:pt x="5" y="1"/>
                  </a:cubicBezTo>
                  <a:cubicBezTo>
                    <a:pt x="3" y="0"/>
                    <a:pt x="3" y="1"/>
                    <a:pt x="2" y="2"/>
                  </a:cubicBezTo>
                  <a:cubicBezTo>
                    <a:pt x="1" y="3"/>
                    <a:pt x="3" y="4"/>
                    <a:pt x="5" y="6"/>
                  </a:cubicBezTo>
                  <a:cubicBezTo>
                    <a:pt x="7" y="8"/>
                    <a:pt x="4" y="7"/>
                    <a:pt x="3" y="8"/>
                  </a:cubicBezTo>
                  <a:cubicBezTo>
                    <a:pt x="1" y="9"/>
                    <a:pt x="1" y="11"/>
                    <a:pt x="1" y="12"/>
                  </a:cubicBezTo>
                  <a:cubicBezTo>
                    <a:pt x="0" y="13"/>
                    <a:pt x="4" y="19"/>
                    <a:pt x="5" y="21"/>
                  </a:cubicBezTo>
                  <a:cubicBezTo>
                    <a:pt x="7" y="23"/>
                    <a:pt x="6" y="26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7" y="27"/>
                    <a:pt x="6" y="24"/>
                    <a:pt x="7" y="25"/>
                  </a:cubicBezTo>
                  <a:cubicBezTo>
                    <a:pt x="7" y="27"/>
                    <a:pt x="8" y="27"/>
                    <a:pt x="8" y="26"/>
                  </a:cubicBezTo>
                  <a:cubicBezTo>
                    <a:pt x="8" y="25"/>
                    <a:pt x="7" y="24"/>
                    <a:pt x="8" y="26"/>
                  </a:cubicBezTo>
                  <a:cubicBezTo>
                    <a:pt x="8" y="27"/>
                    <a:pt x="9" y="28"/>
                    <a:pt x="9" y="26"/>
                  </a:cubicBezTo>
                  <a:cubicBezTo>
                    <a:pt x="10" y="25"/>
                    <a:pt x="9" y="22"/>
                    <a:pt x="10" y="24"/>
                  </a:cubicBezTo>
                  <a:cubicBezTo>
                    <a:pt x="11" y="26"/>
                    <a:pt x="13" y="27"/>
                    <a:pt x="14" y="26"/>
                  </a:cubicBezTo>
                  <a:cubicBezTo>
                    <a:pt x="15" y="24"/>
                    <a:pt x="13" y="21"/>
                    <a:pt x="13" y="20"/>
                  </a:cubicBezTo>
                  <a:cubicBezTo>
                    <a:pt x="13" y="19"/>
                    <a:pt x="13" y="19"/>
                    <a:pt x="12" y="18"/>
                  </a:cubicBezTo>
                  <a:cubicBezTo>
                    <a:pt x="11" y="17"/>
                    <a:pt x="13" y="18"/>
                    <a:pt x="14" y="19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6" y="22"/>
                    <a:pt x="17" y="21"/>
                    <a:pt x="18" y="21"/>
                  </a:cubicBezTo>
                  <a:cubicBezTo>
                    <a:pt x="18" y="21"/>
                    <a:pt x="19" y="21"/>
                    <a:pt x="19" y="22"/>
                  </a:cubicBezTo>
                  <a:cubicBezTo>
                    <a:pt x="19" y="23"/>
                    <a:pt x="20" y="22"/>
                    <a:pt x="20" y="24"/>
                  </a:cubicBezTo>
                  <a:cubicBezTo>
                    <a:pt x="20" y="26"/>
                    <a:pt x="20" y="27"/>
                    <a:pt x="20" y="29"/>
                  </a:cubicBezTo>
                  <a:cubicBezTo>
                    <a:pt x="21" y="30"/>
                    <a:pt x="21" y="30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2" y="30"/>
                    <a:pt x="23" y="30"/>
                    <a:pt x="23" y="29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69" name="Freeform 684">
              <a:extLst>
                <a:ext uri="{FF2B5EF4-FFF2-40B4-BE49-F238E27FC236}">
                  <a16:creationId xmlns:a16="http://schemas.microsoft.com/office/drawing/2014/main" id="{DB9FA293-2750-BBDB-3A89-C82508A64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451" y="3872488"/>
              <a:ext cx="148935" cy="276073"/>
            </a:xfrm>
            <a:custGeom>
              <a:avLst/>
              <a:gdLst>
                <a:gd name="T0" fmla="*/ 45 w 46"/>
                <a:gd name="T1" fmla="*/ 31 h 85"/>
                <a:gd name="T2" fmla="*/ 42 w 46"/>
                <a:gd name="T3" fmla="*/ 25 h 85"/>
                <a:gd name="T4" fmla="*/ 41 w 46"/>
                <a:gd name="T5" fmla="*/ 19 h 85"/>
                <a:gd name="T6" fmla="*/ 34 w 46"/>
                <a:gd name="T7" fmla="*/ 13 h 85"/>
                <a:gd name="T8" fmla="*/ 26 w 46"/>
                <a:gd name="T9" fmla="*/ 14 h 85"/>
                <a:gd name="T10" fmla="*/ 20 w 46"/>
                <a:gd name="T11" fmla="*/ 14 h 85"/>
                <a:gd name="T12" fmla="*/ 21 w 46"/>
                <a:gd name="T13" fmla="*/ 10 h 85"/>
                <a:gd name="T14" fmla="*/ 19 w 46"/>
                <a:gd name="T15" fmla="*/ 6 h 85"/>
                <a:gd name="T16" fmla="*/ 16 w 46"/>
                <a:gd name="T17" fmla="*/ 3 h 85"/>
                <a:gd name="T18" fmla="*/ 15 w 46"/>
                <a:gd name="T19" fmla="*/ 0 h 85"/>
                <a:gd name="T20" fmla="*/ 15 w 46"/>
                <a:gd name="T21" fmla="*/ 0 h 85"/>
                <a:gd name="T22" fmla="*/ 8 w 46"/>
                <a:gd name="T23" fmla="*/ 3 h 85"/>
                <a:gd name="T24" fmla="*/ 3 w 46"/>
                <a:gd name="T25" fmla="*/ 5 h 85"/>
                <a:gd name="T26" fmla="*/ 0 w 46"/>
                <a:gd name="T27" fmla="*/ 13 h 85"/>
                <a:gd name="T28" fmla="*/ 6 w 46"/>
                <a:gd name="T29" fmla="*/ 21 h 85"/>
                <a:gd name="T30" fmla="*/ 5 w 46"/>
                <a:gd name="T31" fmla="*/ 26 h 85"/>
                <a:gd name="T32" fmla="*/ 4 w 46"/>
                <a:gd name="T33" fmla="*/ 33 h 85"/>
                <a:gd name="T34" fmla="*/ 10 w 46"/>
                <a:gd name="T35" fmla="*/ 42 h 85"/>
                <a:gd name="T36" fmla="*/ 11 w 46"/>
                <a:gd name="T37" fmla="*/ 51 h 85"/>
                <a:gd name="T38" fmla="*/ 5 w 46"/>
                <a:gd name="T39" fmla="*/ 60 h 85"/>
                <a:gd name="T40" fmla="*/ 4 w 46"/>
                <a:gd name="T41" fmla="*/ 68 h 85"/>
                <a:gd name="T42" fmla="*/ 11 w 46"/>
                <a:gd name="T43" fmla="*/ 76 h 85"/>
                <a:gd name="T44" fmla="*/ 20 w 46"/>
                <a:gd name="T45" fmla="*/ 81 h 85"/>
                <a:gd name="T46" fmla="*/ 22 w 46"/>
                <a:gd name="T47" fmla="*/ 84 h 85"/>
                <a:gd name="T48" fmla="*/ 26 w 46"/>
                <a:gd name="T49" fmla="*/ 81 h 85"/>
                <a:gd name="T50" fmla="*/ 21 w 46"/>
                <a:gd name="T51" fmla="*/ 77 h 85"/>
                <a:gd name="T52" fmla="*/ 15 w 46"/>
                <a:gd name="T53" fmla="*/ 73 h 85"/>
                <a:gd name="T54" fmla="*/ 13 w 46"/>
                <a:gd name="T55" fmla="*/ 66 h 85"/>
                <a:gd name="T56" fmla="*/ 9 w 46"/>
                <a:gd name="T57" fmla="*/ 62 h 85"/>
                <a:gd name="T58" fmla="*/ 12 w 46"/>
                <a:gd name="T59" fmla="*/ 51 h 85"/>
                <a:gd name="T60" fmla="*/ 14 w 46"/>
                <a:gd name="T61" fmla="*/ 40 h 85"/>
                <a:gd name="T62" fmla="*/ 19 w 46"/>
                <a:gd name="T63" fmla="*/ 45 h 85"/>
                <a:gd name="T64" fmla="*/ 29 w 46"/>
                <a:gd name="T65" fmla="*/ 48 h 85"/>
                <a:gd name="T66" fmla="*/ 28 w 46"/>
                <a:gd name="T67" fmla="*/ 44 h 85"/>
                <a:gd name="T68" fmla="*/ 31 w 46"/>
                <a:gd name="T69" fmla="*/ 36 h 85"/>
                <a:gd name="T70" fmla="*/ 42 w 46"/>
                <a:gd name="T71" fmla="*/ 36 h 85"/>
                <a:gd name="T72" fmla="*/ 45 w 46"/>
                <a:gd name="T73" fmla="*/ 3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" h="85">
                  <a:moveTo>
                    <a:pt x="45" y="33"/>
                  </a:moveTo>
                  <a:cubicBezTo>
                    <a:pt x="45" y="33"/>
                    <a:pt x="45" y="32"/>
                    <a:pt x="45" y="31"/>
                  </a:cubicBezTo>
                  <a:cubicBezTo>
                    <a:pt x="45" y="29"/>
                    <a:pt x="45" y="30"/>
                    <a:pt x="45" y="29"/>
                  </a:cubicBezTo>
                  <a:cubicBezTo>
                    <a:pt x="46" y="28"/>
                    <a:pt x="43" y="26"/>
                    <a:pt x="42" y="25"/>
                  </a:cubicBezTo>
                  <a:cubicBezTo>
                    <a:pt x="41" y="24"/>
                    <a:pt x="40" y="23"/>
                    <a:pt x="40" y="22"/>
                  </a:cubicBezTo>
                  <a:cubicBezTo>
                    <a:pt x="40" y="20"/>
                    <a:pt x="41" y="20"/>
                    <a:pt x="41" y="19"/>
                  </a:cubicBezTo>
                  <a:cubicBezTo>
                    <a:pt x="41" y="18"/>
                    <a:pt x="40" y="17"/>
                    <a:pt x="38" y="15"/>
                  </a:cubicBezTo>
                  <a:cubicBezTo>
                    <a:pt x="37" y="14"/>
                    <a:pt x="36" y="13"/>
                    <a:pt x="34" y="13"/>
                  </a:cubicBezTo>
                  <a:cubicBezTo>
                    <a:pt x="31" y="13"/>
                    <a:pt x="31" y="14"/>
                    <a:pt x="29" y="15"/>
                  </a:cubicBezTo>
                  <a:cubicBezTo>
                    <a:pt x="28" y="15"/>
                    <a:pt x="27" y="14"/>
                    <a:pt x="26" y="14"/>
                  </a:cubicBezTo>
                  <a:cubicBezTo>
                    <a:pt x="25" y="14"/>
                    <a:pt x="21" y="17"/>
                    <a:pt x="20" y="17"/>
                  </a:cubicBezTo>
                  <a:cubicBezTo>
                    <a:pt x="18" y="18"/>
                    <a:pt x="20" y="15"/>
                    <a:pt x="20" y="14"/>
                  </a:cubicBezTo>
                  <a:cubicBezTo>
                    <a:pt x="21" y="14"/>
                    <a:pt x="20" y="13"/>
                    <a:pt x="20" y="13"/>
                  </a:cubicBezTo>
                  <a:cubicBezTo>
                    <a:pt x="19" y="13"/>
                    <a:pt x="20" y="11"/>
                    <a:pt x="21" y="10"/>
                  </a:cubicBezTo>
                  <a:cubicBezTo>
                    <a:pt x="21" y="10"/>
                    <a:pt x="21" y="7"/>
                    <a:pt x="21" y="6"/>
                  </a:cubicBezTo>
                  <a:cubicBezTo>
                    <a:pt x="20" y="5"/>
                    <a:pt x="20" y="5"/>
                    <a:pt x="19" y="6"/>
                  </a:cubicBezTo>
                  <a:cubicBezTo>
                    <a:pt x="18" y="6"/>
                    <a:pt x="17" y="6"/>
                    <a:pt x="16" y="5"/>
                  </a:cubicBezTo>
                  <a:cubicBezTo>
                    <a:pt x="16" y="5"/>
                    <a:pt x="16" y="4"/>
                    <a:pt x="16" y="3"/>
                  </a:cubicBezTo>
                  <a:cubicBezTo>
                    <a:pt x="16" y="1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2" y="0"/>
                    <a:pt x="11" y="0"/>
                  </a:cubicBezTo>
                  <a:cubicBezTo>
                    <a:pt x="10" y="1"/>
                    <a:pt x="9" y="2"/>
                    <a:pt x="8" y="3"/>
                  </a:cubicBezTo>
                  <a:cubicBezTo>
                    <a:pt x="7" y="4"/>
                    <a:pt x="7" y="4"/>
                    <a:pt x="5" y="4"/>
                  </a:cubicBezTo>
                  <a:cubicBezTo>
                    <a:pt x="4" y="4"/>
                    <a:pt x="4" y="4"/>
                    <a:pt x="3" y="5"/>
                  </a:cubicBezTo>
                  <a:cubicBezTo>
                    <a:pt x="2" y="5"/>
                    <a:pt x="1" y="7"/>
                    <a:pt x="1" y="9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1" y="14"/>
                    <a:pt x="0" y="15"/>
                    <a:pt x="1" y="16"/>
                  </a:cubicBezTo>
                  <a:cubicBezTo>
                    <a:pt x="2" y="17"/>
                    <a:pt x="5" y="19"/>
                    <a:pt x="6" y="21"/>
                  </a:cubicBezTo>
                  <a:cubicBezTo>
                    <a:pt x="6" y="22"/>
                    <a:pt x="7" y="23"/>
                    <a:pt x="7" y="24"/>
                  </a:cubicBezTo>
                  <a:cubicBezTo>
                    <a:pt x="6" y="26"/>
                    <a:pt x="5" y="25"/>
                    <a:pt x="5" y="26"/>
                  </a:cubicBezTo>
                  <a:cubicBezTo>
                    <a:pt x="5" y="28"/>
                    <a:pt x="7" y="28"/>
                    <a:pt x="6" y="29"/>
                  </a:cubicBezTo>
                  <a:cubicBezTo>
                    <a:pt x="5" y="30"/>
                    <a:pt x="3" y="31"/>
                    <a:pt x="4" y="33"/>
                  </a:cubicBezTo>
                  <a:cubicBezTo>
                    <a:pt x="6" y="34"/>
                    <a:pt x="7" y="37"/>
                    <a:pt x="8" y="38"/>
                  </a:cubicBezTo>
                  <a:cubicBezTo>
                    <a:pt x="9" y="39"/>
                    <a:pt x="10" y="40"/>
                    <a:pt x="10" y="42"/>
                  </a:cubicBezTo>
                  <a:cubicBezTo>
                    <a:pt x="9" y="44"/>
                    <a:pt x="9" y="44"/>
                    <a:pt x="10" y="46"/>
                  </a:cubicBezTo>
                  <a:cubicBezTo>
                    <a:pt x="11" y="47"/>
                    <a:pt x="12" y="49"/>
                    <a:pt x="11" y="51"/>
                  </a:cubicBezTo>
                  <a:cubicBezTo>
                    <a:pt x="10" y="52"/>
                    <a:pt x="9" y="55"/>
                    <a:pt x="8" y="55"/>
                  </a:cubicBezTo>
                  <a:cubicBezTo>
                    <a:pt x="7" y="56"/>
                    <a:pt x="7" y="59"/>
                    <a:pt x="5" y="60"/>
                  </a:cubicBezTo>
                  <a:cubicBezTo>
                    <a:pt x="5" y="62"/>
                    <a:pt x="5" y="65"/>
                    <a:pt x="5" y="66"/>
                  </a:cubicBezTo>
                  <a:cubicBezTo>
                    <a:pt x="4" y="67"/>
                    <a:pt x="4" y="68"/>
                    <a:pt x="4" y="68"/>
                  </a:cubicBezTo>
                  <a:cubicBezTo>
                    <a:pt x="5" y="69"/>
                    <a:pt x="6" y="69"/>
                    <a:pt x="7" y="69"/>
                  </a:cubicBezTo>
                  <a:cubicBezTo>
                    <a:pt x="8" y="70"/>
                    <a:pt x="10" y="75"/>
                    <a:pt x="11" y="76"/>
                  </a:cubicBezTo>
                  <a:cubicBezTo>
                    <a:pt x="12" y="76"/>
                    <a:pt x="13" y="78"/>
                    <a:pt x="14" y="79"/>
                  </a:cubicBezTo>
                  <a:cubicBezTo>
                    <a:pt x="16" y="79"/>
                    <a:pt x="19" y="80"/>
                    <a:pt x="20" y="81"/>
                  </a:cubicBezTo>
                  <a:cubicBezTo>
                    <a:pt x="21" y="82"/>
                    <a:pt x="20" y="83"/>
                    <a:pt x="20" y="84"/>
                  </a:cubicBezTo>
                  <a:cubicBezTo>
                    <a:pt x="21" y="85"/>
                    <a:pt x="22" y="83"/>
                    <a:pt x="22" y="84"/>
                  </a:cubicBezTo>
                  <a:cubicBezTo>
                    <a:pt x="23" y="84"/>
                    <a:pt x="24" y="84"/>
                    <a:pt x="25" y="83"/>
                  </a:cubicBezTo>
                  <a:cubicBezTo>
                    <a:pt x="25" y="82"/>
                    <a:pt x="25" y="82"/>
                    <a:pt x="26" y="81"/>
                  </a:cubicBezTo>
                  <a:cubicBezTo>
                    <a:pt x="26" y="81"/>
                    <a:pt x="25" y="81"/>
                    <a:pt x="25" y="81"/>
                  </a:cubicBezTo>
                  <a:cubicBezTo>
                    <a:pt x="24" y="80"/>
                    <a:pt x="23" y="78"/>
                    <a:pt x="21" y="77"/>
                  </a:cubicBezTo>
                  <a:cubicBezTo>
                    <a:pt x="19" y="76"/>
                    <a:pt x="16" y="76"/>
                    <a:pt x="15" y="75"/>
                  </a:cubicBezTo>
                  <a:cubicBezTo>
                    <a:pt x="14" y="73"/>
                    <a:pt x="15" y="73"/>
                    <a:pt x="15" y="73"/>
                  </a:cubicBezTo>
                  <a:cubicBezTo>
                    <a:pt x="16" y="74"/>
                    <a:pt x="16" y="75"/>
                    <a:pt x="15" y="72"/>
                  </a:cubicBezTo>
                  <a:cubicBezTo>
                    <a:pt x="14" y="70"/>
                    <a:pt x="13" y="67"/>
                    <a:pt x="13" y="66"/>
                  </a:cubicBezTo>
                  <a:cubicBezTo>
                    <a:pt x="13" y="65"/>
                    <a:pt x="14" y="65"/>
                    <a:pt x="12" y="64"/>
                  </a:cubicBezTo>
                  <a:cubicBezTo>
                    <a:pt x="11" y="64"/>
                    <a:pt x="9" y="63"/>
                    <a:pt x="9" y="62"/>
                  </a:cubicBezTo>
                  <a:cubicBezTo>
                    <a:pt x="9" y="60"/>
                    <a:pt x="9" y="58"/>
                    <a:pt x="10" y="56"/>
                  </a:cubicBezTo>
                  <a:cubicBezTo>
                    <a:pt x="11" y="53"/>
                    <a:pt x="12" y="52"/>
                    <a:pt x="12" y="51"/>
                  </a:cubicBezTo>
                  <a:cubicBezTo>
                    <a:pt x="13" y="49"/>
                    <a:pt x="14" y="50"/>
                    <a:pt x="14" y="47"/>
                  </a:cubicBezTo>
                  <a:cubicBezTo>
                    <a:pt x="14" y="44"/>
                    <a:pt x="13" y="41"/>
                    <a:pt x="14" y="40"/>
                  </a:cubicBezTo>
                  <a:cubicBezTo>
                    <a:pt x="15" y="40"/>
                    <a:pt x="19" y="40"/>
                    <a:pt x="19" y="41"/>
                  </a:cubicBezTo>
                  <a:cubicBezTo>
                    <a:pt x="19" y="43"/>
                    <a:pt x="18" y="45"/>
                    <a:pt x="19" y="45"/>
                  </a:cubicBezTo>
                  <a:cubicBezTo>
                    <a:pt x="20" y="45"/>
                    <a:pt x="24" y="45"/>
                    <a:pt x="26" y="46"/>
                  </a:cubicBezTo>
                  <a:cubicBezTo>
                    <a:pt x="28" y="47"/>
                    <a:pt x="28" y="47"/>
                    <a:pt x="29" y="48"/>
                  </a:cubicBezTo>
                  <a:cubicBezTo>
                    <a:pt x="30" y="48"/>
                    <a:pt x="30" y="49"/>
                    <a:pt x="30" y="49"/>
                  </a:cubicBezTo>
                  <a:cubicBezTo>
                    <a:pt x="30" y="47"/>
                    <a:pt x="28" y="45"/>
                    <a:pt x="28" y="44"/>
                  </a:cubicBezTo>
                  <a:cubicBezTo>
                    <a:pt x="27" y="44"/>
                    <a:pt x="26" y="40"/>
                    <a:pt x="27" y="40"/>
                  </a:cubicBezTo>
                  <a:cubicBezTo>
                    <a:pt x="27" y="39"/>
                    <a:pt x="30" y="37"/>
                    <a:pt x="31" y="36"/>
                  </a:cubicBezTo>
                  <a:cubicBezTo>
                    <a:pt x="32" y="35"/>
                    <a:pt x="34" y="35"/>
                    <a:pt x="36" y="35"/>
                  </a:cubicBezTo>
                  <a:cubicBezTo>
                    <a:pt x="37" y="35"/>
                    <a:pt x="41" y="36"/>
                    <a:pt x="42" y="36"/>
                  </a:cubicBezTo>
                  <a:cubicBezTo>
                    <a:pt x="42" y="36"/>
                    <a:pt x="43" y="36"/>
                    <a:pt x="43" y="36"/>
                  </a:cubicBezTo>
                  <a:cubicBezTo>
                    <a:pt x="43" y="36"/>
                    <a:pt x="44" y="34"/>
                    <a:pt x="45" y="33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70" name="Freeform 685">
              <a:extLst>
                <a:ext uri="{FF2B5EF4-FFF2-40B4-BE49-F238E27FC236}">
                  <a16:creationId xmlns:a16="http://schemas.microsoft.com/office/drawing/2014/main" id="{03506665-051C-BC77-D285-42D1DE3B5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0000" y="3814367"/>
              <a:ext cx="133194" cy="278495"/>
            </a:xfrm>
            <a:custGeom>
              <a:avLst/>
              <a:gdLst>
                <a:gd name="T0" fmla="*/ 40 w 41"/>
                <a:gd name="T1" fmla="*/ 59 h 86"/>
                <a:gd name="T2" fmla="*/ 34 w 41"/>
                <a:gd name="T3" fmla="*/ 44 h 86"/>
                <a:gd name="T4" fmla="*/ 25 w 41"/>
                <a:gd name="T5" fmla="*/ 36 h 86"/>
                <a:gd name="T6" fmla="*/ 20 w 41"/>
                <a:gd name="T7" fmla="*/ 29 h 86"/>
                <a:gd name="T8" fmla="*/ 23 w 41"/>
                <a:gd name="T9" fmla="*/ 20 h 86"/>
                <a:gd name="T10" fmla="*/ 28 w 41"/>
                <a:gd name="T11" fmla="*/ 15 h 86"/>
                <a:gd name="T12" fmla="*/ 27 w 41"/>
                <a:gd name="T13" fmla="*/ 10 h 86"/>
                <a:gd name="T14" fmla="*/ 25 w 41"/>
                <a:gd name="T15" fmla="*/ 4 h 86"/>
                <a:gd name="T16" fmla="*/ 16 w 41"/>
                <a:gd name="T17" fmla="*/ 1 h 86"/>
                <a:gd name="T18" fmla="*/ 11 w 41"/>
                <a:gd name="T19" fmla="*/ 5 h 86"/>
                <a:gd name="T20" fmla="*/ 8 w 41"/>
                <a:gd name="T21" fmla="*/ 5 h 86"/>
                <a:gd name="T22" fmla="*/ 3 w 41"/>
                <a:gd name="T23" fmla="*/ 6 h 86"/>
                <a:gd name="T24" fmla="*/ 0 w 41"/>
                <a:gd name="T25" fmla="*/ 6 h 86"/>
                <a:gd name="T26" fmla="*/ 2 w 41"/>
                <a:gd name="T27" fmla="*/ 9 h 86"/>
                <a:gd name="T28" fmla="*/ 7 w 41"/>
                <a:gd name="T29" fmla="*/ 16 h 86"/>
                <a:gd name="T30" fmla="*/ 14 w 41"/>
                <a:gd name="T31" fmla="*/ 19 h 86"/>
                <a:gd name="T32" fmla="*/ 12 w 41"/>
                <a:gd name="T33" fmla="*/ 23 h 86"/>
                <a:gd name="T34" fmla="*/ 11 w 41"/>
                <a:gd name="T35" fmla="*/ 26 h 86"/>
                <a:gd name="T36" fmla="*/ 19 w 41"/>
                <a:gd name="T37" fmla="*/ 33 h 86"/>
                <a:gd name="T38" fmla="*/ 25 w 41"/>
                <a:gd name="T39" fmla="*/ 40 h 86"/>
                <a:gd name="T40" fmla="*/ 29 w 41"/>
                <a:gd name="T41" fmla="*/ 46 h 86"/>
                <a:gd name="T42" fmla="*/ 30 w 41"/>
                <a:gd name="T43" fmla="*/ 53 h 86"/>
                <a:gd name="T44" fmla="*/ 31 w 41"/>
                <a:gd name="T45" fmla="*/ 61 h 86"/>
                <a:gd name="T46" fmla="*/ 24 w 41"/>
                <a:gd name="T47" fmla="*/ 67 h 86"/>
                <a:gd name="T48" fmla="*/ 21 w 41"/>
                <a:gd name="T49" fmla="*/ 70 h 86"/>
                <a:gd name="T50" fmla="*/ 19 w 41"/>
                <a:gd name="T51" fmla="*/ 73 h 86"/>
                <a:gd name="T52" fmla="*/ 13 w 41"/>
                <a:gd name="T53" fmla="*/ 76 h 86"/>
                <a:gd name="T54" fmla="*/ 16 w 41"/>
                <a:gd name="T55" fmla="*/ 77 h 86"/>
                <a:gd name="T56" fmla="*/ 15 w 41"/>
                <a:gd name="T57" fmla="*/ 86 h 86"/>
                <a:gd name="T58" fmla="*/ 21 w 41"/>
                <a:gd name="T59" fmla="*/ 82 h 86"/>
                <a:gd name="T60" fmla="*/ 21 w 41"/>
                <a:gd name="T61" fmla="*/ 78 h 86"/>
                <a:gd name="T62" fmla="*/ 24 w 41"/>
                <a:gd name="T63" fmla="*/ 78 h 86"/>
                <a:gd name="T64" fmla="*/ 25 w 41"/>
                <a:gd name="T65" fmla="*/ 78 h 86"/>
                <a:gd name="T66" fmla="*/ 25 w 41"/>
                <a:gd name="T67" fmla="*/ 76 h 86"/>
                <a:gd name="T68" fmla="*/ 27 w 41"/>
                <a:gd name="T69" fmla="*/ 74 h 86"/>
                <a:gd name="T70" fmla="*/ 36 w 41"/>
                <a:gd name="T71" fmla="*/ 70 h 86"/>
                <a:gd name="T72" fmla="*/ 39 w 41"/>
                <a:gd name="T73" fmla="*/ 6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" h="86">
                  <a:moveTo>
                    <a:pt x="41" y="61"/>
                  </a:moveTo>
                  <a:cubicBezTo>
                    <a:pt x="40" y="60"/>
                    <a:pt x="40" y="61"/>
                    <a:pt x="40" y="59"/>
                  </a:cubicBezTo>
                  <a:cubicBezTo>
                    <a:pt x="40" y="57"/>
                    <a:pt x="39" y="54"/>
                    <a:pt x="38" y="51"/>
                  </a:cubicBezTo>
                  <a:cubicBezTo>
                    <a:pt x="37" y="48"/>
                    <a:pt x="35" y="45"/>
                    <a:pt x="34" y="44"/>
                  </a:cubicBezTo>
                  <a:cubicBezTo>
                    <a:pt x="33" y="42"/>
                    <a:pt x="32" y="42"/>
                    <a:pt x="30" y="41"/>
                  </a:cubicBezTo>
                  <a:cubicBezTo>
                    <a:pt x="29" y="39"/>
                    <a:pt x="26" y="38"/>
                    <a:pt x="25" y="36"/>
                  </a:cubicBezTo>
                  <a:cubicBezTo>
                    <a:pt x="24" y="34"/>
                    <a:pt x="24" y="34"/>
                    <a:pt x="23" y="33"/>
                  </a:cubicBezTo>
                  <a:cubicBezTo>
                    <a:pt x="22" y="31"/>
                    <a:pt x="21" y="30"/>
                    <a:pt x="20" y="29"/>
                  </a:cubicBezTo>
                  <a:cubicBezTo>
                    <a:pt x="19" y="28"/>
                    <a:pt x="20" y="25"/>
                    <a:pt x="20" y="23"/>
                  </a:cubicBezTo>
                  <a:cubicBezTo>
                    <a:pt x="20" y="22"/>
                    <a:pt x="22" y="22"/>
                    <a:pt x="23" y="20"/>
                  </a:cubicBezTo>
                  <a:cubicBezTo>
                    <a:pt x="24" y="19"/>
                    <a:pt x="25" y="17"/>
                    <a:pt x="25" y="17"/>
                  </a:cubicBezTo>
                  <a:cubicBezTo>
                    <a:pt x="26" y="16"/>
                    <a:pt x="27" y="15"/>
                    <a:pt x="28" y="15"/>
                  </a:cubicBezTo>
                  <a:cubicBezTo>
                    <a:pt x="29" y="14"/>
                    <a:pt x="30" y="13"/>
                    <a:pt x="32" y="12"/>
                  </a:cubicBezTo>
                  <a:cubicBezTo>
                    <a:pt x="30" y="11"/>
                    <a:pt x="28" y="11"/>
                    <a:pt x="27" y="10"/>
                  </a:cubicBezTo>
                  <a:cubicBezTo>
                    <a:pt x="25" y="8"/>
                    <a:pt x="23" y="7"/>
                    <a:pt x="24" y="6"/>
                  </a:cubicBezTo>
                  <a:cubicBezTo>
                    <a:pt x="25" y="6"/>
                    <a:pt x="26" y="4"/>
                    <a:pt x="25" y="4"/>
                  </a:cubicBezTo>
                  <a:cubicBezTo>
                    <a:pt x="24" y="4"/>
                    <a:pt x="21" y="3"/>
                    <a:pt x="19" y="2"/>
                  </a:cubicBezTo>
                  <a:cubicBezTo>
                    <a:pt x="18" y="1"/>
                    <a:pt x="17" y="0"/>
                    <a:pt x="16" y="1"/>
                  </a:cubicBezTo>
                  <a:cubicBezTo>
                    <a:pt x="15" y="2"/>
                    <a:pt x="15" y="4"/>
                    <a:pt x="13" y="4"/>
                  </a:cubicBezTo>
                  <a:cubicBezTo>
                    <a:pt x="12" y="4"/>
                    <a:pt x="12" y="4"/>
                    <a:pt x="11" y="5"/>
                  </a:cubicBezTo>
                  <a:cubicBezTo>
                    <a:pt x="11" y="6"/>
                    <a:pt x="10" y="7"/>
                    <a:pt x="9" y="6"/>
                  </a:cubicBezTo>
                  <a:cubicBezTo>
                    <a:pt x="9" y="6"/>
                    <a:pt x="9" y="4"/>
                    <a:pt x="8" y="5"/>
                  </a:cubicBezTo>
                  <a:cubicBezTo>
                    <a:pt x="7" y="5"/>
                    <a:pt x="6" y="6"/>
                    <a:pt x="6" y="5"/>
                  </a:cubicBezTo>
                  <a:cubicBezTo>
                    <a:pt x="6" y="5"/>
                    <a:pt x="4" y="6"/>
                    <a:pt x="3" y="6"/>
                  </a:cubicBezTo>
                  <a:cubicBezTo>
                    <a:pt x="2" y="5"/>
                    <a:pt x="3" y="5"/>
                    <a:pt x="2" y="5"/>
                  </a:cubicBezTo>
                  <a:cubicBezTo>
                    <a:pt x="1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8"/>
                    <a:pt x="2" y="9"/>
                  </a:cubicBezTo>
                  <a:cubicBezTo>
                    <a:pt x="4" y="11"/>
                    <a:pt x="4" y="11"/>
                    <a:pt x="4" y="13"/>
                  </a:cubicBezTo>
                  <a:cubicBezTo>
                    <a:pt x="4" y="14"/>
                    <a:pt x="4" y="16"/>
                    <a:pt x="7" y="16"/>
                  </a:cubicBezTo>
                  <a:cubicBezTo>
                    <a:pt x="9" y="17"/>
                    <a:pt x="10" y="14"/>
                    <a:pt x="11" y="15"/>
                  </a:cubicBezTo>
                  <a:cubicBezTo>
                    <a:pt x="13" y="16"/>
                    <a:pt x="13" y="18"/>
                    <a:pt x="14" y="19"/>
                  </a:cubicBezTo>
                  <a:cubicBezTo>
                    <a:pt x="15" y="20"/>
                    <a:pt x="15" y="21"/>
                    <a:pt x="15" y="22"/>
                  </a:cubicBezTo>
                  <a:cubicBezTo>
                    <a:pt x="14" y="23"/>
                    <a:pt x="13" y="24"/>
                    <a:pt x="12" y="23"/>
                  </a:cubicBezTo>
                  <a:cubicBezTo>
                    <a:pt x="12" y="23"/>
                    <a:pt x="11" y="22"/>
                    <a:pt x="11" y="23"/>
                  </a:cubicBezTo>
                  <a:cubicBezTo>
                    <a:pt x="11" y="25"/>
                    <a:pt x="10" y="26"/>
                    <a:pt x="11" y="26"/>
                  </a:cubicBezTo>
                  <a:cubicBezTo>
                    <a:pt x="13" y="26"/>
                    <a:pt x="14" y="27"/>
                    <a:pt x="16" y="29"/>
                  </a:cubicBezTo>
                  <a:cubicBezTo>
                    <a:pt x="18" y="30"/>
                    <a:pt x="18" y="31"/>
                    <a:pt x="19" y="33"/>
                  </a:cubicBezTo>
                  <a:cubicBezTo>
                    <a:pt x="21" y="35"/>
                    <a:pt x="21" y="36"/>
                    <a:pt x="22" y="37"/>
                  </a:cubicBezTo>
                  <a:cubicBezTo>
                    <a:pt x="24" y="38"/>
                    <a:pt x="25" y="38"/>
                    <a:pt x="25" y="40"/>
                  </a:cubicBezTo>
                  <a:cubicBezTo>
                    <a:pt x="25" y="41"/>
                    <a:pt x="26" y="43"/>
                    <a:pt x="27" y="43"/>
                  </a:cubicBezTo>
                  <a:cubicBezTo>
                    <a:pt x="29" y="43"/>
                    <a:pt x="29" y="44"/>
                    <a:pt x="29" y="46"/>
                  </a:cubicBezTo>
                  <a:cubicBezTo>
                    <a:pt x="29" y="47"/>
                    <a:pt x="31" y="47"/>
                    <a:pt x="31" y="49"/>
                  </a:cubicBezTo>
                  <a:cubicBezTo>
                    <a:pt x="31" y="50"/>
                    <a:pt x="31" y="52"/>
                    <a:pt x="30" y="53"/>
                  </a:cubicBezTo>
                  <a:cubicBezTo>
                    <a:pt x="29" y="53"/>
                    <a:pt x="29" y="56"/>
                    <a:pt x="30" y="57"/>
                  </a:cubicBezTo>
                  <a:cubicBezTo>
                    <a:pt x="30" y="58"/>
                    <a:pt x="31" y="60"/>
                    <a:pt x="31" y="61"/>
                  </a:cubicBezTo>
                  <a:cubicBezTo>
                    <a:pt x="30" y="62"/>
                    <a:pt x="29" y="65"/>
                    <a:pt x="28" y="66"/>
                  </a:cubicBezTo>
                  <a:cubicBezTo>
                    <a:pt x="26" y="66"/>
                    <a:pt x="25" y="66"/>
                    <a:pt x="24" y="67"/>
                  </a:cubicBezTo>
                  <a:cubicBezTo>
                    <a:pt x="24" y="68"/>
                    <a:pt x="25" y="69"/>
                    <a:pt x="23" y="69"/>
                  </a:cubicBezTo>
                  <a:cubicBezTo>
                    <a:pt x="22" y="69"/>
                    <a:pt x="21" y="68"/>
                    <a:pt x="21" y="70"/>
                  </a:cubicBezTo>
                  <a:cubicBezTo>
                    <a:pt x="21" y="71"/>
                    <a:pt x="23" y="73"/>
                    <a:pt x="22" y="73"/>
                  </a:cubicBezTo>
                  <a:cubicBezTo>
                    <a:pt x="20" y="73"/>
                    <a:pt x="21" y="73"/>
                    <a:pt x="19" y="73"/>
                  </a:cubicBezTo>
                  <a:cubicBezTo>
                    <a:pt x="18" y="73"/>
                    <a:pt x="16" y="73"/>
                    <a:pt x="16" y="73"/>
                  </a:cubicBezTo>
                  <a:cubicBezTo>
                    <a:pt x="16" y="74"/>
                    <a:pt x="14" y="74"/>
                    <a:pt x="13" y="76"/>
                  </a:cubicBezTo>
                  <a:cubicBezTo>
                    <a:pt x="13" y="76"/>
                    <a:pt x="13" y="76"/>
                    <a:pt x="14" y="77"/>
                  </a:cubicBezTo>
                  <a:cubicBezTo>
                    <a:pt x="15" y="77"/>
                    <a:pt x="16" y="77"/>
                    <a:pt x="16" y="77"/>
                  </a:cubicBezTo>
                  <a:cubicBezTo>
                    <a:pt x="16" y="78"/>
                    <a:pt x="15" y="80"/>
                    <a:pt x="14" y="81"/>
                  </a:cubicBezTo>
                  <a:cubicBezTo>
                    <a:pt x="14" y="82"/>
                    <a:pt x="14" y="86"/>
                    <a:pt x="15" y="86"/>
                  </a:cubicBezTo>
                  <a:cubicBezTo>
                    <a:pt x="15" y="86"/>
                    <a:pt x="17" y="84"/>
                    <a:pt x="18" y="83"/>
                  </a:cubicBezTo>
                  <a:cubicBezTo>
                    <a:pt x="19" y="83"/>
                    <a:pt x="19" y="83"/>
                    <a:pt x="21" y="82"/>
                  </a:cubicBezTo>
                  <a:cubicBezTo>
                    <a:pt x="22" y="82"/>
                    <a:pt x="23" y="81"/>
                    <a:pt x="22" y="80"/>
                  </a:cubicBezTo>
                  <a:cubicBezTo>
                    <a:pt x="22" y="79"/>
                    <a:pt x="20" y="78"/>
                    <a:pt x="21" y="78"/>
                  </a:cubicBezTo>
                  <a:cubicBezTo>
                    <a:pt x="22" y="79"/>
                    <a:pt x="23" y="80"/>
                    <a:pt x="23" y="80"/>
                  </a:cubicBezTo>
                  <a:cubicBezTo>
                    <a:pt x="24" y="80"/>
                    <a:pt x="24" y="79"/>
                    <a:pt x="24" y="78"/>
                  </a:cubicBezTo>
                  <a:cubicBezTo>
                    <a:pt x="23" y="78"/>
                    <a:pt x="22" y="77"/>
                    <a:pt x="23" y="77"/>
                  </a:cubicBezTo>
                  <a:cubicBezTo>
                    <a:pt x="24" y="78"/>
                    <a:pt x="25" y="79"/>
                    <a:pt x="25" y="78"/>
                  </a:cubicBezTo>
                  <a:cubicBezTo>
                    <a:pt x="25" y="77"/>
                    <a:pt x="24" y="77"/>
                    <a:pt x="24" y="76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25" y="76"/>
                    <a:pt x="25" y="75"/>
                    <a:pt x="25" y="74"/>
                  </a:cubicBezTo>
                  <a:cubicBezTo>
                    <a:pt x="26" y="74"/>
                    <a:pt x="26" y="74"/>
                    <a:pt x="27" y="74"/>
                  </a:cubicBezTo>
                  <a:cubicBezTo>
                    <a:pt x="28" y="75"/>
                    <a:pt x="27" y="76"/>
                    <a:pt x="29" y="75"/>
                  </a:cubicBezTo>
                  <a:cubicBezTo>
                    <a:pt x="30" y="75"/>
                    <a:pt x="33" y="73"/>
                    <a:pt x="36" y="70"/>
                  </a:cubicBezTo>
                  <a:cubicBezTo>
                    <a:pt x="39" y="68"/>
                    <a:pt x="39" y="69"/>
                    <a:pt x="39" y="67"/>
                  </a:cubicBezTo>
                  <a:cubicBezTo>
                    <a:pt x="39" y="64"/>
                    <a:pt x="38" y="64"/>
                    <a:pt x="39" y="63"/>
                  </a:cubicBezTo>
                  <a:cubicBezTo>
                    <a:pt x="40" y="62"/>
                    <a:pt x="41" y="62"/>
                    <a:pt x="41" y="61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71" name="Freeform 686">
              <a:extLst>
                <a:ext uri="{FF2B5EF4-FFF2-40B4-BE49-F238E27FC236}">
                  <a16:creationId xmlns:a16="http://schemas.microsoft.com/office/drawing/2014/main" id="{F2BD11E7-A24E-995E-BE02-15E1AAB35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885" y="3833741"/>
              <a:ext cx="135616" cy="162253"/>
            </a:xfrm>
            <a:custGeom>
              <a:avLst/>
              <a:gdLst>
                <a:gd name="T0" fmla="*/ 42 w 42"/>
                <a:gd name="T1" fmla="*/ 43 h 50"/>
                <a:gd name="T2" fmla="*/ 40 w 42"/>
                <a:gd name="T3" fmla="*/ 40 h 50"/>
                <a:gd name="T4" fmla="*/ 38 w 42"/>
                <a:gd name="T5" fmla="*/ 37 h 50"/>
                <a:gd name="T6" fmla="*/ 36 w 42"/>
                <a:gd name="T7" fmla="*/ 34 h 50"/>
                <a:gd name="T8" fmla="*/ 33 w 42"/>
                <a:gd name="T9" fmla="*/ 31 h 50"/>
                <a:gd name="T10" fmla="*/ 30 w 42"/>
                <a:gd name="T11" fmla="*/ 27 h 50"/>
                <a:gd name="T12" fmla="*/ 27 w 42"/>
                <a:gd name="T13" fmla="*/ 23 h 50"/>
                <a:gd name="T14" fmla="*/ 22 w 42"/>
                <a:gd name="T15" fmla="*/ 20 h 50"/>
                <a:gd name="T16" fmla="*/ 22 w 42"/>
                <a:gd name="T17" fmla="*/ 17 h 50"/>
                <a:gd name="T18" fmla="*/ 23 w 42"/>
                <a:gd name="T19" fmla="*/ 17 h 50"/>
                <a:gd name="T20" fmla="*/ 26 w 42"/>
                <a:gd name="T21" fmla="*/ 16 h 50"/>
                <a:gd name="T22" fmla="*/ 25 w 42"/>
                <a:gd name="T23" fmla="*/ 13 h 50"/>
                <a:gd name="T24" fmla="*/ 22 w 42"/>
                <a:gd name="T25" fmla="*/ 9 h 50"/>
                <a:gd name="T26" fmla="*/ 18 w 42"/>
                <a:gd name="T27" fmla="*/ 10 h 50"/>
                <a:gd name="T28" fmla="*/ 15 w 42"/>
                <a:gd name="T29" fmla="*/ 7 h 50"/>
                <a:gd name="T30" fmla="*/ 13 w 42"/>
                <a:gd name="T31" fmla="*/ 3 h 50"/>
                <a:gd name="T32" fmla="*/ 11 w 42"/>
                <a:gd name="T33" fmla="*/ 0 h 50"/>
                <a:gd name="T34" fmla="*/ 11 w 42"/>
                <a:gd name="T35" fmla="*/ 0 h 50"/>
                <a:gd name="T36" fmla="*/ 10 w 42"/>
                <a:gd name="T37" fmla="*/ 0 h 50"/>
                <a:gd name="T38" fmla="*/ 8 w 42"/>
                <a:gd name="T39" fmla="*/ 1 h 50"/>
                <a:gd name="T40" fmla="*/ 9 w 42"/>
                <a:gd name="T41" fmla="*/ 5 h 50"/>
                <a:gd name="T42" fmla="*/ 8 w 42"/>
                <a:gd name="T43" fmla="*/ 8 h 50"/>
                <a:gd name="T44" fmla="*/ 5 w 42"/>
                <a:gd name="T45" fmla="*/ 6 h 50"/>
                <a:gd name="T46" fmla="*/ 4 w 42"/>
                <a:gd name="T47" fmla="*/ 6 h 50"/>
                <a:gd name="T48" fmla="*/ 2 w 42"/>
                <a:gd name="T49" fmla="*/ 9 h 50"/>
                <a:gd name="T50" fmla="*/ 0 w 42"/>
                <a:gd name="T51" fmla="*/ 12 h 50"/>
                <a:gd name="T52" fmla="*/ 0 w 42"/>
                <a:gd name="T53" fmla="*/ 12 h 50"/>
                <a:gd name="T54" fmla="*/ 0 w 42"/>
                <a:gd name="T55" fmla="*/ 12 h 50"/>
                <a:gd name="T56" fmla="*/ 1 w 42"/>
                <a:gd name="T57" fmla="*/ 15 h 50"/>
                <a:gd name="T58" fmla="*/ 1 w 42"/>
                <a:gd name="T59" fmla="*/ 17 h 50"/>
                <a:gd name="T60" fmla="*/ 4 w 42"/>
                <a:gd name="T61" fmla="*/ 18 h 50"/>
                <a:gd name="T62" fmla="*/ 6 w 42"/>
                <a:gd name="T63" fmla="*/ 18 h 50"/>
                <a:gd name="T64" fmla="*/ 6 w 42"/>
                <a:gd name="T65" fmla="*/ 22 h 50"/>
                <a:gd name="T66" fmla="*/ 5 w 42"/>
                <a:gd name="T67" fmla="*/ 25 h 50"/>
                <a:gd name="T68" fmla="*/ 5 w 42"/>
                <a:gd name="T69" fmla="*/ 26 h 50"/>
                <a:gd name="T70" fmla="*/ 5 w 42"/>
                <a:gd name="T71" fmla="*/ 29 h 50"/>
                <a:gd name="T72" fmla="*/ 11 w 42"/>
                <a:gd name="T73" fmla="*/ 26 h 50"/>
                <a:gd name="T74" fmla="*/ 14 w 42"/>
                <a:gd name="T75" fmla="*/ 27 h 50"/>
                <a:gd name="T76" fmla="*/ 19 w 42"/>
                <a:gd name="T77" fmla="*/ 25 h 50"/>
                <a:gd name="T78" fmla="*/ 23 w 42"/>
                <a:gd name="T79" fmla="*/ 27 h 50"/>
                <a:gd name="T80" fmla="*/ 26 w 42"/>
                <a:gd name="T81" fmla="*/ 31 h 50"/>
                <a:gd name="T82" fmla="*/ 25 w 42"/>
                <a:gd name="T83" fmla="*/ 34 h 50"/>
                <a:gd name="T84" fmla="*/ 27 w 42"/>
                <a:gd name="T85" fmla="*/ 37 h 50"/>
                <a:gd name="T86" fmla="*/ 30 w 42"/>
                <a:gd name="T87" fmla="*/ 41 h 50"/>
                <a:gd name="T88" fmla="*/ 30 w 42"/>
                <a:gd name="T89" fmla="*/ 43 h 50"/>
                <a:gd name="T90" fmla="*/ 30 w 42"/>
                <a:gd name="T91" fmla="*/ 45 h 50"/>
                <a:gd name="T92" fmla="*/ 28 w 42"/>
                <a:gd name="T93" fmla="*/ 48 h 50"/>
                <a:gd name="T94" fmla="*/ 31 w 42"/>
                <a:gd name="T95" fmla="*/ 49 h 50"/>
                <a:gd name="T96" fmla="*/ 33 w 42"/>
                <a:gd name="T97" fmla="*/ 49 h 50"/>
                <a:gd name="T98" fmla="*/ 35 w 42"/>
                <a:gd name="T99" fmla="*/ 47 h 50"/>
                <a:gd name="T100" fmla="*/ 37 w 42"/>
                <a:gd name="T101" fmla="*/ 48 h 50"/>
                <a:gd name="T102" fmla="*/ 41 w 42"/>
                <a:gd name="T103" fmla="*/ 47 h 50"/>
                <a:gd name="T104" fmla="*/ 42 w 42"/>
                <a:gd name="T105" fmla="*/ 4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" h="50">
                  <a:moveTo>
                    <a:pt x="42" y="43"/>
                  </a:moveTo>
                  <a:cubicBezTo>
                    <a:pt x="42" y="41"/>
                    <a:pt x="40" y="41"/>
                    <a:pt x="40" y="40"/>
                  </a:cubicBezTo>
                  <a:cubicBezTo>
                    <a:pt x="40" y="38"/>
                    <a:pt x="40" y="37"/>
                    <a:pt x="38" y="37"/>
                  </a:cubicBezTo>
                  <a:cubicBezTo>
                    <a:pt x="37" y="37"/>
                    <a:pt x="36" y="35"/>
                    <a:pt x="36" y="34"/>
                  </a:cubicBezTo>
                  <a:cubicBezTo>
                    <a:pt x="36" y="32"/>
                    <a:pt x="35" y="32"/>
                    <a:pt x="33" y="31"/>
                  </a:cubicBezTo>
                  <a:cubicBezTo>
                    <a:pt x="32" y="30"/>
                    <a:pt x="32" y="29"/>
                    <a:pt x="30" y="27"/>
                  </a:cubicBezTo>
                  <a:cubicBezTo>
                    <a:pt x="29" y="25"/>
                    <a:pt x="29" y="24"/>
                    <a:pt x="27" y="23"/>
                  </a:cubicBezTo>
                  <a:cubicBezTo>
                    <a:pt x="25" y="21"/>
                    <a:pt x="24" y="20"/>
                    <a:pt x="22" y="20"/>
                  </a:cubicBezTo>
                  <a:cubicBezTo>
                    <a:pt x="21" y="20"/>
                    <a:pt x="22" y="19"/>
                    <a:pt x="22" y="17"/>
                  </a:cubicBezTo>
                  <a:cubicBezTo>
                    <a:pt x="22" y="16"/>
                    <a:pt x="23" y="17"/>
                    <a:pt x="23" y="17"/>
                  </a:cubicBezTo>
                  <a:cubicBezTo>
                    <a:pt x="24" y="18"/>
                    <a:pt x="25" y="17"/>
                    <a:pt x="26" y="16"/>
                  </a:cubicBezTo>
                  <a:cubicBezTo>
                    <a:pt x="26" y="15"/>
                    <a:pt x="26" y="14"/>
                    <a:pt x="25" y="13"/>
                  </a:cubicBezTo>
                  <a:cubicBezTo>
                    <a:pt x="24" y="12"/>
                    <a:pt x="24" y="10"/>
                    <a:pt x="22" y="9"/>
                  </a:cubicBezTo>
                  <a:cubicBezTo>
                    <a:pt x="21" y="8"/>
                    <a:pt x="20" y="11"/>
                    <a:pt x="18" y="10"/>
                  </a:cubicBezTo>
                  <a:cubicBezTo>
                    <a:pt x="15" y="10"/>
                    <a:pt x="15" y="8"/>
                    <a:pt x="15" y="7"/>
                  </a:cubicBezTo>
                  <a:cubicBezTo>
                    <a:pt x="15" y="5"/>
                    <a:pt x="15" y="5"/>
                    <a:pt x="13" y="3"/>
                  </a:cubicBezTo>
                  <a:cubicBezTo>
                    <a:pt x="11" y="2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7" y="0"/>
                    <a:pt x="8" y="1"/>
                  </a:cubicBezTo>
                  <a:cubicBezTo>
                    <a:pt x="8" y="3"/>
                    <a:pt x="9" y="3"/>
                    <a:pt x="9" y="5"/>
                  </a:cubicBezTo>
                  <a:cubicBezTo>
                    <a:pt x="9" y="7"/>
                    <a:pt x="11" y="9"/>
                    <a:pt x="8" y="8"/>
                  </a:cubicBezTo>
                  <a:cubicBezTo>
                    <a:pt x="5" y="7"/>
                    <a:pt x="6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3" y="8"/>
                    <a:pt x="2" y="9"/>
                  </a:cubicBezTo>
                  <a:cubicBezTo>
                    <a:pt x="1" y="10"/>
                    <a:pt x="1" y="11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" y="13"/>
                    <a:pt x="1" y="15"/>
                  </a:cubicBezTo>
                  <a:cubicBezTo>
                    <a:pt x="1" y="16"/>
                    <a:pt x="1" y="17"/>
                    <a:pt x="1" y="17"/>
                  </a:cubicBezTo>
                  <a:cubicBezTo>
                    <a:pt x="2" y="18"/>
                    <a:pt x="3" y="18"/>
                    <a:pt x="4" y="18"/>
                  </a:cubicBezTo>
                  <a:cubicBezTo>
                    <a:pt x="5" y="17"/>
                    <a:pt x="5" y="17"/>
                    <a:pt x="6" y="18"/>
                  </a:cubicBezTo>
                  <a:cubicBezTo>
                    <a:pt x="6" y="19"/>
                    <a:pt x="6" y="22"/>
                    <a:pt x="6" y="22"/>
                  </a:cubicBezTo>
                  <a:cubicBezTo>
                    <a:pt x="5" y="23"/>
                    <a:pt x="4" y="25"/>
                    <a:pt x="5" y="25"/>
                  </a:cubicBezTo>
                  <a:cubicBezTo>
                    <a:pt x="5" y="25"/>
                    <a:pt x="6" y="26"/>
                    <a:pt x="5" y="26"/>
                  </a:cubicBezTo>
                  <a:cubicBezTo>
                    <a:pt x="5" y="27"/>
                    <a:pt x="3" y="30"/>
                    <a:pt x="5" y="29"/>
                  </a:cubicBezTo>
                  <a:cubicBezTo>
                    <a:pt x="6" y="29"/>
                    <a:pt x="10" y="26"/>
                    <a:pt x="11" y="26"/>
                  </a:cubicBezTo>
                  <a:cubicBezTo>
                    <a:pt x="12" y="26"/>
                    <a:pt x="13" y="27"/>
                    <a:pt x="14" y="27"/>
                  </a:cubicBezTo>
                  <a:cubicBezTo>
                    <a:pt x="16" y="26"/>
                    <a:pt x="16" y="25"/>
                    <a:pt x="19" y="25"/>
                  </a:cubicBezTo>
                  <a:cubicBezTo>
                    <a:pt x="21" y="25"/>
                    <a:pt x="22" y="26"/>
                    <a:pt x="23" y="27"/>
                  </a:cubicBezTo>
                  <a:cubicBezTo>
                    <a:pt x="25" y="29"/>
                    <a:pt x="26" y="30"/>
                    <a:pt x="26" y="31"/>
                  </a:cubicBezTo>
                  <a:cubicBezTo>
                    <a:pt x="26" y="32"/>
                    <a:pt x="25" y="32"/>
                    <a:pt x="25" y="34"/>
                  </a:cubicBezTo>
                  <a:cubicBezTo>
                    <a:pt x="25" y="35"/>
                    <a:pt x="26" y="36"/>
                    <a:pt x="27" y="37"/>
                  </a:cubicBezTo>
                  <a:cubicBezTo>
                    <a:pt x="28" y="38"/>
                    <a:pt x="31" y="40"/>
                    <a:pt x="30" y="41"/>
                  </a:cubicBezTo>
                  <a:cubicBezTo>
                    <a:pt x="30" y="42"/>
                    <a:pt x="30" y="41"/>
                    <a:pt x="30" y="43"/>
                  </a:cubicBezTo>
                  <a:cubicBezTo>
                    <a:pt x="30" y="44"/>
                    <a:pt x="30" y="45"/>
                    <a:pt x="30" y="45"/>
                  </a:cubicBezTo>
                  <a:cubicBezTo>
                    <a:pt x="29" y="46"/>
                    <a:pt x="28" y="48"/>
                    <a:pt x="28" y="48"/>
                  </a:cubicBezTo>
                  <a:cubicBezTo>
                    <a:pt x="29" y="48"/>
                    <a:pt x="30" y="49"/>
                    <a:pt x="31" y="49"/>
                  </a:cubicBezTo>
                  <a:cubicBezTo>
                    <a:pt x="32" y="49"/>
                    <a:pt x="33" y="50"/>
                    <a:pt x="33" y="49"/>
                  </a:cubicBezTo>
                  <a:cubicBezTo>
                    <a:pt x="33" y="48"/>
                    <a:pt x="34" y="47"/>
                    <a:pt x="35" y="47"/>
                  </a:cubicBezTo>
                  <a:cubicBezTo>
                    <a:pt x="36" y="46"/>
                    <a:pt x="36" y="48"/>
                    <a:pt x="37" y="48"/>
                  </a:cubicBezTo>
                  <a:cubicBezTo>
                    <a:pt x="38" y="48"/>
                    <a:pt x="41" y="47"/>
                    <a:pt x="41" y="47"/>
                  </a:cubicBezTo>
                  <a:cubicBezTo>
                    <a:pt x="42" y="46"/>
                    <a:pt x="42" y="44"/>
                    <a:pt x="42" y="4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72" name="Freeform 687">
              <a:extLst>
                <a:ext uri="{FF2B5EF4-FFF2-40B4-BE49-F238E27FC236}">
                  <a16:creationId xmlns:a16="http://schemas.microsoft.com/office/drawing/2014/main" id="{23E2E002-3B18-7BE4-E5B8-3E8606D3C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0355" y="4274489"/>
              <a:ext cx="164676" cy="139247"/>
            </a:xfrm>
            <a:custGeom>
              <a:avLst/>
              <a:gdLst>
                <a:gd name="T0" fmla="*/ 51 w 51"/>
                <a:gd name="T1" fmla="*/ 33 h 43"/>
                <a:gd name="T2" fmla="*/ 50 w 51"/>
                <a:gd name="T3" fmla="*/ 30 h 43"/>
                <a:gd name="T4" fmla="*/ 51 w 51"/>
                <a:gd name="T5" fmla="*/ 27 h 43"/>
                <a:gd name="T6" fmla="*/ 51 w 51"/>
                <a:gd name="T7" fmla="*/ 7 h 43"/>
                <a:gd name="T8" fmla="*/ 48 w 51"/>
                <a:gd name="T9" fmla="*/ 6 h 43"/>
                <a:gd name="T10" fmla="*/ 42 w 51"/>
                <a:gd name="T11" fmla="*/ 4 h 43"/>
                <a:gd name="T12" fmla="*/ 34 w 51"/>
                <a:gd name="T13" fmla="*/ 0 h 43"/>
                <a:gd name="T14" fmla="*/ 31 w 51"/>
                <a:gd name="T15" fmla="*/ 2 h 43"/>
                <a:gd name="T16" fmla="*/ 30 w 51"/>
                <a:gd name="T17" fmla="*/ 4 h 43"/>
                <a:gd name="T18" fmla="*/ 26 w 51"/>
                <a:gd name="T19" fmla="*/ 5 h 43"/>
                <a:gd name="T20" fmla="*/ 19 w 51"/>
                <a:gd name="T21" fmla="*/ 11 h 43"/>
                <a:gd name="T22" fmla="*/ 16 w 51"/>
                <a:gd name="T23" fmla="*/ 10 h 43"/>
                <a:gd name="T24" fmla="*/ 15 w 51"/>
                <a:gd name="T25" fmla="*/ 6 h 43"/>
                <a:gd name="T26" fmla="*/ 13 w 51"/>
                <a:gd name="T27" fmla="*/ 5 h 43"/>
                <a:gd name="T28" fmla="*/ 10 w 51"/>
                <a:gd name="T29" fmla="*/ 6 h 43"/>
                <a:gd name="T30" fmla="*/ 8 w 51"/>
                <a:gd name="T31" fmla="*/ 6 h 43"/>
                <a:gd name="T32" fmla="*/ 4 w 51"/>
                <a:gd name="T33" fmla="*/ 8 h 43"/>
                <a:gd name="T34" fmla="*/ 2 w 51"/>
                <a:gd name="T35" fmla="*/ 7 h 43"/>
                <a:gd name="T36" fmla="*/ 2 w 51"/>
                <a:gd name="T37" fmla="*/ 9 h 43"/>
                <a:gd name="T38" fmla="*/ 5 w 51"/>
                <a:gd name="T39" fmla="*/ 11 h 43"/>
                <a:gd name="T40" fmla="*/ 6 w 51"/>
                <a:gd name="T41" fmla="*/ 14 h 43"/>
                <a:gd name="T42" fmla="*/ 9 w 51"/>
                <a:gd name="T43" fmla="*/ 16 h 43"/>
                <a:gd name="T44" fmla="*/ 9 w 51"/>
                <a:gd name="T45" fmla="*/ 14 h 43"/>
                <a:gd name="T46" fmla="*/ 10 w 51"/>
                <a:gd name="T47" fmla="*/ 11 h 43"/>
                <a:gd name="T48" fmla="*/ 11 w 51"/>
                <a:gd name="T49" fmla="*/ 9 h 43"/>
                <a:gd name="T50" fmla="*/ 10 w 51"/>
                <a:gd name="T51" fmla="*/ 12 h 43"/>
                <a:gd name="T52" fmla="*/ 16 w 51"/>
                <a:gd name="T53" fmla="*/ 15 h 43"/>
                <a:gd name="T54" fmla="*/ 17 w 51"/>
                <a:gd name="T55" fmla="*/ 14 h 43"/>
                <a:gd name="T56" fmla="*/ 18 w 51"/>
                <a:gd name="T57" fmla="*/ 16 h 43"/>
                <a:gd name="T58" fmla="*/ 25 w 51"/>
                <a:gd name="T59" fmla="*/ 18 h 43"/>
                <a:gd name="T60" fmla="*/ 35 w 51"/>
                <a:gd name="T61" fmla="*/ 23 h 43"/>
                <a:gd name="T62" fmla="*/ 37 w 51"/>
                <a:gd name="T63" fmla="*/ 25 h 43"/>
                <a:gd name="T64" fmla="*/ 38 w 51"/>
                <a:gd name="T65" fmla="*/ 28 h 43"/>
                <a:gd name="T66" fmla="*/ 41 w 51"/>
                <a:gd name="T67" fmla="*/ 30 h 43"/>
                <a:gd name="T68" fmla="*/ 39 w 51"/>
                <a:gd name="T69" fmla="*/ 31 h 43"/>
                <a:gd name="T70" fmla="*/ 40 w 51"/>
                <a:gd name="T71" fmla="*/ 32 h 43"/>
                <a:gd name="T72" fmla="*/ 39 w 51"/>
                <a:gd name="T73" fmla="*/ 33 h 43"/>
                <a:gd name="T74" fmla="*/ 37 w 51"/>
                <a:gd name="T75" fmla="*/ 34 h 43"/>
                <a:gd name="T76" fmla="*/ 35 w 51"/>
                <a:gd name="T77" fmla="*/ 35 h 43"/>
                <a:gd name="T78" fmla="*/ 33 w 51"/>
                <a:gd name="T79" fmla="*/ 38 h 43"/>
                <a:gd name="T80" fmla="*/ 39 w 51"/>
                <a:gd name="T81" fmla="*/ 38 h 43"/>
                <a:gd name="T82" fmla="*/ 39 w 51"/>
                <a:gd name="T83" fmla="*/ 35 h 43"/>
                <a:gd name="T84" fmla="*/ 41 w 51"/>
                <a:gd name="T85" fmla="*/ 35 h 43"/>
                <a:gd name="T86" fmla="*/ 40 w 51"/>
                <a:gd name="T87" fmla="*/ 37 h 43"/>
                <a:gd name="T88" fmla="*/ 45 w 51"/>
                <a:gd name="T89" fmla="*/ 37 h 43"/>
                <a:gd name="T90" fmla="*/ 46 w 51"/>
                <a:gd name="T91" fmla="*/ 36 h 43"/>
                <a:gd name="T92" fmla="*/ 47 w 51"/>
                <a:gd name="T93" fmla="*/ 39 h 43"/>
                <a:gd name="T94" fmla="*/ 51 w 51"/>
                <a:gd name="T95" fmla="*/ 42 h 43"/>
                <a:gd name="T96" fmla="*/ 51 w 51"/>
                <a:gd name="T97" fmla="*/ 43 h 43"/>
                <a:gd name="T98" fmla="*/ 51 w 51"/>
                <a:gd name="T99" fmla="*/ 43 h 43"/>
                <a:gd name="T100" fmla="*/ 51 w 51"/>
                <a:gd name="T101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1" h="43">
                  <a:moveTo>
                    <a:pt x="51" y="33"/>
                  </a:moveTo>
                  <a:cubicBezTo>
                    <a:pt x="51" y="32"/>
                    <a:pt x="50" y="30"/>
                    <a:pt x="50" y="30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0" y="6"/>
                    <a:pt x="49" y="6"/>
                    <a:pt x="48" y="6"/>
                  </a:cubicBezTo>
                  <a:cubicBezTo>
                    <a:pt x="46" y="6"/>
                    <a:pt x="45" y="5"/>
                    <a:pt x="42" y="4"/>
                  </a:cubicBezTo>
                  <a:cubicBezTo>
                    <a:pt x="40" y="3"/>
                    <a:pt x="35" y="1"/>
                    <a:pt x="34" y="0"/>
                  </a:cubicBezTo>
                  <a:cubicBezTo>
                    <a:pt x="32" y="0"/>
                    <a:pt x="31" y="2"/>
                    <a:pt x="31" y="2"/>
                  </a:cubicBezTo>
                  <a:cubicBezTo>
                    <a:pt x="30" y="3"/>
                    <a:pt x="31" y="4"/>
                    <a:pt x="30" y="4"/>
                  </a:cubicBezTo>
                  <a:cubicBezTo>
                    <a:pt x="29" y="4"/>
                    <a:pt x="27" y="4"/>
                    <a:pt x="26" y="5"/>
                  </a:cubicBezTo>
                  <a:cubicBezTo>
                    <a:pt x="25" y="6"/>
                    <a:pt x="22" y="11"/>
                    <a:pt x="19" y="11"/>
                  </a:cubicBezTo>
                  <a:cubicBezTo>
                    <a:pt x="18" y="11"/>
                    <a:pt x="16" y="11"/>
                    <a:pt x="16" y="10"/>
                  </a:cubicBezTo>
                  <a:cubicBezTo>
                    <a:pt x="16" y="9"/>
                    <a:pt x="16" y="7"/>
                    <a:pt x="15" y="6"/>
                  </a:cubicBezTo>
                  <a:cubicBezTo>
                    <a:pt x="13" y="5"/>
                    <a:pt x="13" y="4"/>
                    <a:pt x="13" y="5"/>
                  </a:cubicBezTo>
                  <a:cubicBezTo>
                    <a:pt x="12" y="5"/>
                    <a:pt x="11" y="7"/>
                    <a:pt x="10" y="6"/>
                  </a:cubicBezTo>
                  <a:cubicBezTo>
                    <a:pt x="10" y="6"/>
                    <a:pt x="8" y="5"/>
                    <a:pt x="8" y="6"/>
                  </a:cubicBezTo>
                  <a:cubicBezTo>
                    <a:pt x="7" y="6"/>
                    <a:pt x="6" y="8"/>
                    <a:pt x="4" y="8"/>
                  </a:cubicBezTo>
                  <a:cubicBezTo>
                    <a:pt x="3" y="8"/>
                    <a:pt x="2" y="7"/>
                    <a:pt x="2" y="7"/>
                  </a:cubicBezTo>
                  <a:cubicBezTo>
                    <a:pt x="1" y="8"/>
                    <a:pt x="0" y="9"/>
                    <a:pt x="2" y="9"/>
                  </a:cubicBezTo>
                  <a:cubicBezTo>
                    <a:pt x="3" y="9"/>
                    <a:pt x="5" y="10"/>
                    <a:pt x="5" y="11"/>
                  </a:cubicBezTo>
                  <a:cubicBezTo>
                    <a:pt x="5" y="11"/>
                    <a:pt x="5" y="13"/>
                    <a:pt x="6" y="14"/>
                  </a:cubicBezTo>
                  <a:cubicBezTo>
                    <a:pt x="7" y="14"/>
                    <a:pt x="8" y="15"/>
                    <a:pt x="9" y="16"/>
                  </a:cubicBezTo>
                  <a:cubicBezTo>
                    <a:pt x="10" y="16"/>
                    <a:pt x="9" y="15"/>
                    <a:pt x="9" y="14"/>
                  </a:cubicBezTo>
                  <a:cubicBezTo>
                    <a:pt x="9" y="13"/>
                    <a:pt x="9" y="12"/>
                    <a:pt x="10" y="11"/>
                  </a:cubicBezTo>
                  <a:cubicBezTo>
                    <a:pt x="10" y="10"/>
                    <a:pt x="12" y="8"/>
                    <a:pt x="11" y="9"/>
                  </a:cubicBezTo>
                  <a:cubicBezTo>
                    <a:pt x="11" y="10"/>
                    <a:pt x="9" y="11"/>
                    <a:pt x="10" y="12"/>
                  </a:cubicBezTo>
                  <a:cubicBezTo>
                    <a:pt x="12" y="13"/>
                    <a:pt x="15" y="15"/>
                    <a:pt x="16" y="15"/>
                  </a:cubicBezTo>
                  <a:cubicBezTo>
                    <a:pt x="17" y="14"/>
                    <a:pt x="17" y="13"/>
                    <a:pt x="17" y="14"/>
                  </a:cubicBezTo>
                  <a:cubicBezTo>
                    <a:pt x="17" y="15"/>
                    <a:pt x="16" y="15"/>
                    <a:pt x="18" y="16"/>
                  </a:cubicBezTo>
                  <a:cubicBezTo>
                    <a:pt x="19" y="17"/>
                    <a:pt x="22" y="16"/>
                    <a:pt x="25" y="18"/>
                  </a:cubicBezTo>
                  <a:cubicBezTo>
                    <a:pt x="28" y="20"/>
                    <a:pt x="33" y="21"/>
                    <a:pt x="35" y="23"/>
                  </a:cubicBezTo>
                  <a:cubicBezTo>
                    <a:pt x="36" y="24"/>
                    <a:pt x="36" y="23"/>
                    <a:pt x="37" y="25"/>
                  </a:cubicBezTo>
                  <a:cubicBezTo>
                    <a:pt x="37" y="27"/>
                    <a:pt x="37" y="27"/>
                    <a:pt x="38" y="28"/>
                  </a:cubicBezTo>
                  <a:cubicBezTo>
                    <a:pt x="39" y="29"/>
                    <a:pt x="42" y="30"/>
                    <a:pt x="41" y="30"/>
                  </a:cubicBezTo>
                  <a:cubicBezTo>
                    <a:pt x="39" y="31"/>
                    <a:pt x="38" y="31"/>
                    <a:pt x="39" y="31"/>
                  </a:cubicBezTo>
                  <a:cubicBezTo>
                    <a:pt x="41" y="31"/>
                    <a:pt x="41" y="32"/>
                    <a:pt x="40" y="32"/>
                  </a:cubicBezTo>
                  <a:cubicBezTo>
                    <a:pt x="39" y="32"/>
                    <a:pt x="40" y="33"/>
                    <a:pt x="39" y="33"/>
                  </a:cubicBezTo>
                  <a:cubicBezTo>
                    <a:pt x="39" y="34"/>
                    <a:pt x="38" y="34"/>
                    <a:pt x="37" y="34"/>
                  </a:cubicBezTo>
                  <a:cubicBezTo>
                    <a:pt x="36" y="34"/>
                    <a:pt x="36" y="34"/>
                    <a:pt x="35" y="35"/>
                  </a:cubicBezTo>
                  <a:cubicBezTo>
                    <a:pt x="34" y="36"/>
                    <a:pt x="32" y="38"/>
                    <a:pt x="33" y="38"/>
                  </a:cubicBezTo>
                  <a:cubicBezTo>
                    <a:pt x="34" y="39"/>
                    <a:pt x="39" y="39"/>
                    <a:pt x="39" y="38"/>
                  </a:cubicBezTo>
                  <a:cubicBezTo>
                    <a:pt x="39" y="37"/>
                    <a:pt x="39" y="35"/>
                    <a:pt x="39" y="35"/>
                  </a:cubicBezTo>
                  <a:cubicBezTo>
                    <a:pt x="40" y="34"/>
                    <a:pt x="41" y="34"/>
                    <a:pt x="41" y="35"/>
                  </a:cubicBezTo>
                  <a:cubicBezTo>
                    <a:pt x="40" y="35"/>
                    <a:pt x="39" y="36"/>
                    <a:pt x="40" y="37"/>
                  </a:cubicBezTo>
                  <a:cubicBezTo>
                    <a:pt x="41" y="37"/>
                    <a:pt x="44" y="38"/>
                    <a:pt x="45" y="37"/>
                  </a:cubicBezTo>
                  <a:cubicBezTo>
                    <a:pt x="46" y="37"/>
                    <a:pt x="46" y="35"/>
                    <a:pt x="46" y="36"/>
                  </a:cubicBezTo>
                  <a:cubicBezTo>
                    <a:pt x="46" y="37"/>
                    <a:pt x="44" y="37"/>
                    <a:pt x="47" y="39"/>
                  </a:cubicBezTo>
                  <a:cubicBezTo>
                    <a:pt x="49" y="41"/>
                    <a:pt x="50" y="42"/>
                    <a:pt x="51" y="42"/>
                  </a:cubicBezTo>
                  <a:cubicBezTo>
                    <a:pt x="51" y="42"/>
                    <a:pt x="51" y="43"/>
                    <a:pt x="51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39"/>
                    <a:pt x="51" y="33"/>
                    <a:pt x="51" y="33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73" name="Freeform 688">
              <a:extLst>
                <a:ext uri="{FF2B5EF4-FFF2-40B4-BE49-F238E27FC236}">
                  <a16:creationId xmlns:a16="http://schemas.microsoft.com/office/drawing/2014/main" id="{5706F19A-42C3-00F5-1DEF-FA8066F16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1398" y="4297495"/>
              <a:ext cx="181628" cy="145302"/>
            </a:xfrm>
            <a:custGeom>
              <a:avLst/>
              <a:gdLst>
                <a:gd name="T0" fmla="*/ 55 w 56"/>
                <a:gd name="T1" fmla="*/ 43 h 45"/>
                <a:gd name="T2" fmla="*/ 50 w 56"/>
                <a:gd name="T3" fmla="*/ 40 h 45"/>
                <a:gd name="T4" fmla="*/ 52 w 56"/>
                <a:gd name="T5" fmla="*/ 39 h 45"/>
                <a:gd name="T6" fmla="*/ 48 w 56"/>
                <a:gd name="T7" fmla="*/ 39 h 45"/>
                <a:gd name="T8" fmla="*/ 46 w 56"/>
                <a:gd name="T9" fmla="*/ 37 h 45"/>
                <a:gd name="T10" fmla="*/ 45 w 56"/>
                <a:gd name="T11" fmla="*/ 36 h 45"/>
                <a:gd name="T12" fmla="*/ 41 w 56"/>
                <a:gd name="T13" fmla="*/ 33 h 45"/>
                <a:gd name="T14" fmla="*/ 41 w 56"/>
                <a:gd name="T15" fmla="*/ 31 h 45"/>
                <a:gd name="T16" fmla="*/ 35 w 56"/>
                <a:gd name="T17" fmla="*/ 25 h 45"/>
                <a:gd name="T18" fmla="*/ 33 w 56"/>
                <a:gd name="T19" fmla="*/ 23 h 45"/>
                <a:gd name="T20" fmla="*/ 39 w 56"/>
                <a:gd name="T21" fmla="*/ 22 h 45"/>
                <a:gd name="T22" fmla="*/ 37 w 56"/>
                <a:gd name="T23" fmla="*/ 19 h 45"/>
                <a:gd name="T24" fmla="*/ 34 w 56"/>
                <a:gd name="T25" fmla="*/ 18 h 45"/>
                <a:gd name="T26" fmla="*/ 30 w 56"/>
                <a:gd name="T27" fmla="*/ 15 h 45"/>
                <a:gd name="T28" fmla="*/ 26 w 56"/>
                <a:gd name="T29" fmla="*/ 11 h 45"/>
                <a:gd name="T30" fmla="*/ 21 w 56"/>
                <a:gd name="T31" fmla="*/ 7 h 45"/>
                <a:gd name="T32" fmla="*/ 17 w 56"/>
                <a:gd name="T33" fmla="*/ 6 h 45"/>
                <a:gd name="T34" fmla="*/ 14 w 56"/>
                <a:gd name="T35" fmla="*/ 4 h 45"/>
                <a:gd name="T36" fmla="*/ 5 w 56"/>
                <a:gd name="T37" fmla="*/ 1 h 45"/>
                <a:gd name="T38" fmla="*/ 1 w 56"/>
                <a:gd name="T39" fmla="*/ 0 h 45"/>
                <a:gd name="T40" fmla="*/ 1 w 56"/>
                <a:gd name="T41" fmla="*/ 20 h 45"/>
                <a:gd name="T42" fmla="*/ 0 w 56"/>
                <a:gd name="T43" fmla="*/ 23 h 45"/>
                <a:gd name="T44" fmla="*/ 1 w 56"/>
                <a:gd name="T45" fmla="*/ 26 h 45"/>
                <a:gd name="T46" fmla="*/ 1 w 56"/>
                <a:gd name="T47" fmla="*/ 36 h 45"/>
                <a:gd name="T48" fmla="*/ 1 w 56"/>
                <a:gd name="T49" fmla="*/ 36 h 45"/>
                <a:gd name="T50" fmla="*/ 8 w 56"/>
                <a:gd name="T51" fmla="*/ 36 h 45"/>
                <a:gd name="T52" fmla="*/ 14 w 56"/>
                <a:gd name="T53" fmla="*/ 34 h 45"/>
                <a:gd name="T54" fmla="*/ 11 w 56"/>
                <a:gd name="T55" fmla="*/ 32 h 45"/>
                <a:gd name="T56" fmla="*/ 13 w 56"/>
                <a:gd name="T57" fmla="*/ 32 h 45"/>
                <a:gd name="T58" fmla="*/ 15 w 56"/>
                <a:gd name="T59" fmla="*/ 31 h 45"/>
                <a:gd name="T60" fmla="*/ 15 w 56"/>
                <a:gd name="T61" fmla="*/ 29 h 45"/>
                <a:gd name="T62" fmla="*/ 17 w 56"/>
                <a:gd name="T63" fmla="*/ 30 h 45"/>
                <a:gd name="T64" fmla="*/ 17 w 56"/>
                <a:gd name="T65" fmla="*/ 28 h 45"/>
                <a:gd name="T66" fmla="*/ 20 w 56"/>
                <a:gd name="T67" fmla="*/ 27 h 45"/>
                <a:gd name="T68" fmla="*/ 24 w 56"/>
                <a:gd name="T69" fmla="*/ 29 h 45"/>
                <a:gd name="T70" fmla="*/ 29 w 56"/>
                <a:gd name="T71" fmla="*/ 30 h 45"/>
                <a:gd name="T72" fmla="*/ 29 w 56"/>
                <a:gd name="T73" fmla="*/ 31 h 45"/>
                <a:gd name="T74" fmla="*/ 32 w 56"/>
                <a:gd name="T75" fmla="*/ 34 h 45"/>
                <a:gd name="T76" fmla="*/ 34 w 56"/>
                <a:gd name="T77" fmla="*/ 37 h 45"/>
                <a:gd name="T78" fmla="*/ 40 w 56"/>
                <a:gd name="T79" fmla="*/ 42 h 45"/>
                <a:gd name="T80" fmla="*/ 47 w 56"/>
                <a:gd name="T81" fmla="*/ 43 h 45"/>
                <a:gd name="T82" fmla="*/ 53 w 56"/>
                <a:gd name="T83" fmla="*/ 45 h 45"/>
                <a:gd name="T84" fmla="*/ 54 w 56"/>
                <a:gd name="T85" fmla="*/ 43 h 45"/>
                <a:gd name="T86" fmla="*/ 55 w 56"/>
                <a:gd name="T87" fmla="*/ 4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6" h="45">
                  <a:moveTo>
                    <a:pt x="55" y="43"/>
                  </a:moveTo>
                  <a:cubicBezTo>
                    <a:pt x="54" y="42"/>
                    <a:pt x="50" y="41"/>
                    <a:pt x="50" y="40"/>
                  </a:cubicBezTo>
                  <a:cubicBezTo>
                    <a:pt x="50" y="39"/>
                    <a:pt x="53" y="40"/>
                    <a:pt x="52" y="39"/>
                  </a:cubicBezTo>
                  <a:cubicBezTo>
                    <a:pt x="50" y="39"/>
                    <a:pt x="50" y="39"/>
                    <a:pt x="48" y="39"/>
                  </a:cubicBezTo>
                  <a:cubicBezTo>
                    <a:pt x="47" y="38"/>
                    <a:pt x="46" y="38"/>
                    <a:pt x="46" y="37"/>
                  </a:cubicBezTo>
                  <a:cubicBezTo>
                    <a:pt x="46" y="36"/>
                    <a:pt x="47" y="36"/>
                    <a:pt x="45" y="36"/>
                  </a:cubicBezTo>
                  <a:cubicBezTo>
                    <a:pt x="44" y="36"/>
                    <a:pt x="42" y="34"/>
                    <a:pt x="41" y="33"/>
                  </a:cubicBezTo>
                  <a:cubicBezTo>
                    <a:pt x="41" y="32"/>
                    <a:pt x="42" y="31"/>
                    <a:pt x="41" y="31"/>
                  </a:cubicBezTo>
                  <a:cubicBezTo>
                    <a:pt x="40" y="30"/>
                    <a:pt x="36" y="27"/>
                    <a:pt x="35" y="25"/>
                  </a:cubicBezTo>
                  <a:cubicBezTo>
                    <a:pt x="33" y="23"/>
                    <a:pt x="32" y="23"/>
                    <a:pt x="33" y="23"/>
                  </a:cubicBezTo>
                  <a:cubicBezTo>
                    <a:pt x="35" y="23"/>
                    <a:pt x="41" y="24"/>
                    <a:pt x="39" y="22"/>
                  </a:cubicBezTo>
                  <a:cubicBezTo>
                    <a:pt x="38" y="20"/>
                    <a:pt x="39" y="20"/>
                    <a:pt x="37" y="19"/>
                  </a:cubicBezTo>
                  <a:cubicBezTo>
                    <a:pt x="36" y="18"/>
                    <a:pt x="36" y="19"/>
                    <a:pt x="34" y="18"/>
                  </a:cubicBezTo>
                  <a:cubicBezTo>
                    <a:pt x="32" y="17"/>
                    <a:pt x="31" y="16"/>
                    <a:pt x="30" y="15"/>
                  </a:cubicBezTo>
                  <a:cubicBezTo>
                    <a:pt x="28" y="14"/>
                    <a:pt x="28" y="12"/>
                    <a:pt x="26" y="11"/>
                  </a:cubicBezTo>
                  <a:cubicBezTo>
                    <a:pt x="25" y="10"/>
                    <a:pt x="23" y="8"/>
                    <a:pt x="21" y="7"/>
                  </a:cubicBezTo>
                  <a:cubicBezTo>
                    <a:pt x="20" y="6"/>
                    <a:pt x="19" y="7"/>
                    <a:pt x="17" y="6"/>
                  </a:cubicBezTo>
                  <a:cubicBezTo>
                    <a:pt x="16" y="5"/>
                    <a:pt x="15" y="4"/>
                    <a:pt x="14" y="4"/>
                  </a:cubicBezTo>
                  <a:cubicBezTo>
                    <a:pt x="13" y="4"/>
                    <a:pt x="7" y="2"/>
                    <a:pt x="5" y="1"/>
                  </a:cubicBezTo>
                  <a:cubicBezTo>
                    <a:pt x="4" y="0"/>
                    <a:pt x="3" y="0"/>
                    <a:pt x="1" y="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1" y="25"/>
                    <a:pt x="1" y="26"/>
                  </a:cubicBezTo>
                  <a:cubicBezTo>
                    <a:pt x="1" y="26"/>
                    <a:pt x="1" y="32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3" y="36"/>
                    <a:pt x="6" y="36"/>
                    <a:pt x="8" y="36"/>
                  </a:cubicBezTo>
                  <a:cubicBezTo>
                    <a:pt x="10" y="36"/>
                    <a:pt x="14" y="35"/>
                    <a:pt x="14" y="34"/>
                  </a:cubicBezTo>
                  <a:cubicBezTo>
                    <a:pt x="15" y="33"/>
                    <a:pt x="13" y="33"/>
                    <a:pt x="11" y="32"/>
                  </a:cubicBezTo>
                  <a:cubicBezTo>
                    <a:pt x="10" y="31"/>
                    <a:pt x="9" y="30"/>
                    <a:pt x="13" y="32"/>
                  </a:cubicBezTo>
                  <a:cubicBezTo>
                    <a:pt x="17" y="35"/>
                    <a:pt x="15" y="31"/>
                    <a:pt x="15" y="31"/>
                  </a:cubicBezTo>
                  <a:cubicBezTo>
                    <a:pt x="15" y="30"/>
                    <a:pt x="14" y="28"/>
                    <a:pt x="15" y="29"/>
                  </a:cubicBezTo>
                  <a:cubicBezTo>
                    <a:pt x="15" y="30"/>
                    <a:pt x="17" y="30"/>
                    <a:pt x="17" y="30"/>
                  </a:cubicBezTo>
                  <a:cubicBezTo>
                    <a:pt x="17" y="29"/>
                    <a:pt x="16" y="27"/>
                    <a:pt x="17" y="28"/>
                  </a:cubicBezTo>
                  <a:cubicBezTo>
                    <a:pt x="18" y="28"/>
                    <a:pt x="20" y="28"/>
                    <a:pt x="20" y="27"/>
                  </a:cubicBezTo>
                  <a:cubicBezTo>
                    <a:pt x="21" y="27"/>
                    <a:pt x="21" y="28"/>
                    <a:pt x="24" y="29"/>
                  </a:cubicBezTo>
                  <a:cubicBezTo>
                    <a:pt x="26" y="30"/>
                    <a:pt x="28" y="30"/>
                    <a:pt x="29" y="30"/>
                  </a:cubicBezTo>
                  <a:cubicBezTo>
                    <a:pt x="29" y="29"/>
                    <a:pt x="28" y="30"/>
                    <a:pt x="29" y="31"/>
                  </a:cubicBezTo>
                  <a:cubicBezTo>
                    <a:pt x="31" y="32"/>
                    <a:pt x="32" y="33"/>
                    <a:pt x="32" y="34"/>
                  </a:cubicBezTo>
                  <a:cubicBezTo>
                    <a:pt x="33" y="35"/>
                    <a:pt x="34" y="35"/>
                    <a:pt x="34" y="37"/>
                  </a:cubicBezTo>
                  <a:cubicBezTo>
                    <a:pt x="35" y="38"/>
                    <a:pt x="38" y="42"/>
                    <a:pt x="40" y="42"/>
                  </a:cubicBezTo>
                  <a:cubicBezTo>
                    <a:pt x="41" y="42"/>
                    <a:pt x="44" y="42"/>
                    <a:pt x="47" y="43"/>
                  </a:cubicBezTo>
                  <a:cubicBezTo>
                    <a:pt x="50" y="44"/>
                    <a:pt x="51" y="45"/>
                    <a:pt x="53" y="45"/>
                  </a:cubicBezTo>
                  <a:cubicBezTo>
                    <a:pt x="54" y="44"/>
                    <a:pt x="53" y="44"/>
                    <a:pt x="54" y="43"/>
                  </a:cubicBezTo>
                  <a:cubicBezTo>
                    <a:pt x="55" y="43"/>
                    <a:pt x="56" y="43"/>
                    <a:pt x="55" y="4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74" name="Freeform 689">
              <a:extLst>
                <a:ext uri="{FF2B5EF4-FFF2-40B4-BE49-F238E27FC236}">
                  <a16:creationId xmlns:a16="http://schemas.microsoft.com/office/drawing/2014/main" id="{F985F9BA-601D-ABE7-5424-C06489730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874" y="4170356"/>
              <a:ext cx="180418" cy="152567"/>
            </a:xfrm>
            <a:custGeom>
              <a:avLst/>
              <a:gdLst>
                <a:gd name="T0" fmla="*/ 37 w 56"/>
                <a:gd name="T1" fmla="*/ 3 h 47"/>
                <a:gd name="T2" fmla="*/ 35 w 56"/>
                <a:gd name="T3" fmla="*/ 7 h 47"/>
                <a:gd name="T4" fmla="*/ 33 w 56"/>
                <a:gd name="T5" fmla="*/ 13 h 47"/>
                <a:gd name="T6" fmla="*/ 27 w 56"/>
                <a:gd name="T7" fmla="*/ 16 h 47"/>
                <a:gd name="T8" fmla="*/ 21 w 56"/>
                <a:gd name="T9" fmla="*/ 15 h 47"/>
                <a:gd name="T10" fmla="*/ 17 w 56"/>
                <a:gd name="T11" fmla="*/ 18 h 47"/>
                <a:gd name="T12" fmla="*/ 13 w 56"/>
                <a:gd name="T13" fmla="*/ 18 h 47"/>
                <a:gd name="T14" fmla="*/ 10 w 56"/>
                <a:gd name="T15" fmla="*/ 19 h 47"/>
                <a:gd name="T16" fmla="*/ 5 w 56"/>
                <a:gd name="T17" fmla="*/ 16 h 47"/>
                <a:gd name="T18" fmla="*/ 4 w 56"/>
                <a:gd name="T19" fmla="*/ 13 h 47"/>
                <a:gd name="T20" fmla="*/ 3 w 56"/>
                <a:gd name="T21" fmla="*/ 13 h 47"/>
                <a:gd name="T22" fmla="*/ 0 w 56"/>
                <a:gd name="T23" fmla="*/ 20 h 47"/>
                <a:gd name="T24" fmla="*/ 2 w 56"/>
                <a:gd name="T25" fmla="*/ 25 h 47"/>
                <a:gd name="T26" fmla="*/ 4 w 56"/>
                <a:gd name="T27" fmla="*/ 28 h 47"/>
                <a:gd name="T28" fmla="*/ 6 w 56"/>
                <a:gd name="T29" fmla="*/ 35 h 47"/>
                <a:gd name="T30" fmla="*/ 8 w 56"/>
                <a:gd name="T31" fmla="*/ 39 h 47"/>
                <a:gd name="T32" fmla="*/ 14 w 56"/>
                <a:gd name="T33" fmla="*/ 41 h 47"/>
                <a:gd name="T34" fmla="*/ 16 w 56"/>
                <a:gd name="T35" fmla="*/ 41 h 47"/>
                <a:gd name="T36" fmla="*/ 17 w 56"/>
                <a:gd name="T37" fmla="*/ 43 h 47"/>
                <a:gd name="T38" fmla="*/ 22 w 56"/>
                <a:gd name="T39" fmla="*/ 42 h 47"/>
                <a:gd name="T40" fmla="*/ 23 w 56"/>
                <a:gd name="T41" fmla="*/ 41 h 47"/>
                <a:gd name="T42" fmla="*/ 27 w 56"/>
                <a:gd name="T43" fmla="*/ 42 h 47"/>
                <a:gd name="T44" fmla="*/ 31 w 56"/>
                <a:gd name="T45" fmla="*/ 42 h 47"/>
                <a:gd name="T46" fmla="*/ 32 w 56"/>
                <a:gd name="T47" fmla="*/ 47 h 47"/>
                <a:gd name="T48" fmla="*/ 39 w 56"/>
                <a:gd name="T49" fmla="*/ 44 h 47"/>
                <a:gd name="T50" fmla="*/ 40 w 56"/>
                <a:gd name="T51" fmla="*/ 46 h 47"/>
                <a:gd name="T52" fmla="*/ 41 w 56"/>
                <a:gd name="T53" fmla="*/ 43 h 47"/>
                <a:gd name="T54" fmla="*/ 40 w 56"/>
                <a:gd name="T55" fmla="*/ 40 h 47"/>
                <a:gd name="T56" fmla="*/ 42 w 56"/>
                <a:gd name="T57" fmla="*/ 37 h 47"/>
                <a:gd name="T58" fmla="*/ 41 w 56"/>
                <a:gd name="T59" fmla="*/ 34 h 47"/>
                <a:gd name="T60" fmla="*/ 45 w 56"/>
                <a:gd name="T61" fmla="*/ 30 h 47"/>
                <a:gd name="T62" fmla="*/ 48 w 56"/>
                <a:gd name="T63" fmla="*/ 25 h 47"/>
                <a:gd name="T64" fmla="*/ 48 w 56"/>
                <a:gd name="T65" fmla="*/ 21 h 47"/>
                <a:gd name="T66" fmla="*/ 52 w 56"/>
                <a:gd name="T67" fmla="*/ 19 h 47"/>
                <a:gd name="T68" fmla="*/ 56 w 56"/>
                <a:gd name="T69" fmla="*/ 18 h 47"/>
                <a:gd name="T70" fmla="*/ 50 w 56"/>
                <a:gd name="T71" fmla="*/ 13 h 47"/>
                <a:gd name="T72" fmla="*/ 50 w 56"/>
                <a:gd name="T73" fmla="*/ 10 h 47"/>
                <a:gd name="T74" fmla="*/ 47 w 56"/>
                <a:gd name="T75" fmla="*/ 4 h 47"/>
                <a:gd name="T76" fmla="*/ 49 w 56"/>
                <a:gd name="T77" fmla="*/ 4 h 47"/>
                <a:gd name="T78" fmla="*/ 48 w 56"/>
                <a:gd name="T79" fmla="*/ 1 h 47"/>
                <a:gd name="T80" fmla="*/ 49 w 56"/>
                <a:gd name="T81" fmla="*/ 1 h 47"/>
                <a:gd name="T82" fmla="*/ 39 w 56"/>
                <a:gd name="T83" fmla="*/ 0 h 47"/>
                <a:gd name="T84" fmla="*/ 37 w 56"/>
                <a:gd name="T85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" h="47">
                  <a:moveTo>
                    <a:pt x="37" y="3"/>
                  </a:moveTo>
                  <a:cubicBezTo>
                    <a:pt x="36" y="5"/>
                    <a:pt x="36" y="6"/>
                    <a:pt x="35" y="7"/>
                  </a:cubicBezTo>
                  <a:cubicBezTo>
                    <a:pt x="35" y="8"/>
                    <a:pt x="33" y="11"/>
                    <a:pt x="33" y="13"/>
                  </a:cubicBezTo>
                  <a:cubicBezTo>
                    <a:pt x="32" y="14"/>
                    <a:pt x="29" y="16"/>
                    <a:pt x="27" y="16"/>
                  </a:cubicBezTo>
                  <a:cubicBezTo>
                    <a:pt x="25" y="17"/>
                    <a:pt x="23" y="15"/>
                    <a:pt x="21" y="15"/>
                  </a:cubicBezTo>
                  <a:cubicBezTo>
                    <a:pt x="19" y="15"/>
                    <a:pt x="18" y="17"/>
                    <a:pt x="17" y="18"/>
                  </a:cubicBezTo>
                  <a:cubicBezTo>
                    <a:pt x="17" y="18"/>
                    <a:pt x="15" y="18"/>
                    <a:pt x="13" y="18"/>
                  </a:cubicBezTo>
                  <a:cubicBezTo>
                    <a:pt x="11" y="18"/>
                    <a:pt x="11" y="19"/>
                    <a:pt x="10" y="19"/>
                  </a:cubicBezTo>
                  <a:cubicBezTo>
                    <a:pt x="9" y="20"/>
                    <a:pt x="7" y="17"/>
                    <a:pt x="5" y="16"/>
                  </a:cubicBezTo>
                  <a:cubicBezTo>
                    <a:pt x="5" y="15"/>
                    <a:pt x="4" y="14"/>
                    <a:pt x="4" y="13"/>
                  </a:cubicBezTo>
                  <a:cubicBezTo>
                    <a:pt x="4" y="13"/>
                    <a:pt x="3" y="13"/>
                    <a:pt x="3" y="13"/>
                  </a:cubicBezTo>
                  <a:cubicBezTo>
                    <a:pt x="3" y="14"/>
                    <a:pt x="1" y="18"/>
                    <a:pt x="0" y="20"/>
                  </a:cubicBezTo>
                  <a:cubicBezTo>
                    <a:pt x="0" y="22"/>
                    <a:pt x="2" y="23"/>
                    <a:pt x="2" y="25"/>
                  </a:cubicBezTo>
                  <a:cubicBezTo>
                    <a:pt x="2" y="27"/>
                    <a:pt x="2" y="27"/>
                    <a:pt x="4" y="28"/>
                  </a:cubicBezTo>
                  <a:cubicBezTo>
                    <a:pt x="5" y="30"/>
                    <a:pt x="6" y="32"/>
                    <a:pt x="6" y="35"/>
                  </a:cubicBezTo>
                  <a:cubicBezTo>
                    <a:pt x="7" y="37"/>
                    <a:pt x="7" y="38"/>
                    <a:pt x="8" y="39"/>
                  </a:cubicBezTo>
                  <a:cubicBezTo>
                    <a:pt x="10" y="40"/>
                    <a:pt x="13" y="41"/>
                    <a:pt x="14" y="41"/>
                  </a:cubicBezTo>
                  <a:cubicBezTo>
                    <a:pt x="16" y="40"/>
                    <a:pt x="16" y="40"/>
                    <a:pt x="16" y="41"/>
                  </a:cubicBezTo>
                  <a:cubicBezTo>
                    <a:pt x="16" y="42"/>
                    <a:pt x="15" y="43"/>
                    <a:pt x="17" y="43"/>
                  </a:cubicBezTo>
                  <a:cubicBezTo>
                    <a:pt x="19" y="43"/>
                    <a:pt x="21" y="43"/>
                    <a:pt x="22" y="42"/>
                  </a:cubicBezTo>
                  <a:cubicBezTo>
                    <a:pt x="23" y="41"/>
                    <a:pt x="22" y="40"/>
                    <a:pt x="23" y="41"/>
                  </a:cubicBezTo>
                  <a:cubicBezTo>
                    <a:pt x="25" y="42"/>
                    <a:pt x="25" y="42"/>
                    <a:pt x="27" y="42"/>
                  </a:cubicBezTo>
                  <a:cubicBezTo>
                    <a:pt x="29" y="42"/>
                    <a:pt x="30" y="41"/>
                    <a:pt x="31" y="42"/>
                  </a:cubicBezTo>
                  <a:cubicBezTo>
                    <a:pt x="32" y="43"/>
                    <a:pt x="31" y="47"/>
                    <a:pt x="32" y="47"/>
                  </a:cubicBezTo>
                  <a:cubicBezTo>
                    <a:pt x="33" y="46"/>
                    <a:pt x="39" y="44"/>
                    <a:pt x="39" y="44"/>
                  </a:cubicBezTo>
                  <a:cubicBezTo>
                    <a:pt x="39" y="44"/>
                    <a:pt x="40" y="46"/>
                    <a:pt x="40" y="46"/>
                  </a:cubicBezTo>
                  <a:cubicBezTo>
                    <a:pt x="41" y="45"/>
                    <a:pt x="42" y="44"/>
                    <a:pt x="41" y="43"/>
                  </a:cubicBezTo>
                  <a:cubicBezTo>
                    <a:pt x="40" y="42"/>
                    <a:pt x="40" y="41"/>
                    <a:pt x="40" y="40"/>
                  </a:cubicBezTo>
                  <a:cubicBezTo>
                    <a:pt x="41" y="39"/>
                    <a:pt x="42" y="38"/>
                    <a:pt x="42" y="37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2" y="33"/>
                    <a:pt x="43" y="32"/>
                    <a:pt x="45" y="30"/>
                  </a:cubicBezTo>
                  <a:cubicBezTo>
                    <a:pt x="46" y="29"/>
                    <a:pt x="48" y="27"/>
                    <a:pt x="48" y="25"/>
                  </a:cubicBezTo>
                  <a:cubicBezTo>
                    <a:pt x="47" y="24"/>
                    <a:pt x="46" y="22"/>
                    <a:pt x="48" y="21"/>
                  </a:cubicBezTo>
                  <a:cubicBezTo>
                    <a:pt x="50" y="19"/>
                    <a:pt x="51" y="18"/>
                    <a:pt x="52" y="19"/>
                  </a:cubicBezTo>
                  <a:cubicBezTo>
                    <a:pt x="53" y="19"/>
                    <a:pt x="56" y="19"/>
                    <a:pt x="56" y="18"/>
                  </a:cubicBezTo>
                  <a:cubicBezTo>
                    <a:pt x="55" y="17"/>
                    <a:pt x="51" y="14"/>
                    <a:pt x="50" y="13"/>
                  </a:cubicBezTo>
                  <a:cubicBezTo>
                    <a:pt x="50" y="11"/>
                    <a:pt x="50" y="11"/>
                    <a:pt x="50" y="10"/>
                  </a:cubicBezTo>
                  <a:cubicBezTo>
                    <a:pt x="49" y="9"/>
                    <a:pt x="46" y="5"/>
                    <a:pt x="47" y="4"/>
                  </a:cubicBezTo>
                  <a:cubicBezTo>
                    <a:pt x="47" y="3"/>
                    <a:pt x="50" y="6"/>
                    <a:pt x="49" y="4"/>
                  </a:cubicBezTo>
                  <a:cubicBezTo>
                    <a:pt x="49" y="3"/>
                    <a:pt x="47" y="3"/>
                    <a:pt x="48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6" y="0"/>
                    <a:pt x="41" y="0"/>
                    <a:pt x="39" y="0"/>
                  </a:cubicBezTo>
                  <a:cubicBezTo>
                    <a:pt x="38" y="0"/>
                    <a:pt x="37" y="1"/>
                    <a:pt x="37" y="3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75" name="Freeform 690">
              <a:extLst>
                <a:ext uri="{FF2B5EF4-FFF2-40B4-BE49-F238E27FC236}">
                  <a16:creationId xmlns:a16="http://schemas.microsoft.com/office/drawing/2014/main" id="{B0296CA2-4ACF-1E6F-C56A-2DC6C9F65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194" y="4119500"/>
              <a:ext cx="174363" cy="116241"/>
            </a:xfrm>
            <a:custGeom>
              <a:avLst/>
              <a:gdLst>
                <a:gd name="T0" fmla="*/ 50 w 54"/>
                <a:gd name="T1" fmla="*/ 12 h 36"/>
                <a:gd name="T2" fmla="*/ 53 w 54"/>
                <a:gd name="T3" fmla="*/ 10 h 36"/>
                <a:gd name="T4" fmla="*/ 49 w 54"/>
                <a:gd name="T5" fmla="*/ 8 h 36"/>
                <a:gd name="T6" fmla="*/ 47 w 54"/>
                <a:gd name="T7" fmla="*/ 8 h 36"/>
                <a:gd name="T8" fmla="*/ 46 w 54"/>
                <a:gd name="T9" fmla="*/ 7 h 36"/>
                <a:gd name="T10" fmla="*/ 45 w 54"/>
                <a:gd name="T11" fmla="*/ 7 h 36"/>
                <a:gd name="T12" fmla="*/ 44 w 54"/>
                <a:gd name="T13" fmla="*/ 3 h 36"/>
                <a:gd name="T14" fmla="*/ 41 w 54"/>
                <a:gd name="T15" fmla="*/ 2 h 36"/>
                <a:gd name="T16" fmla="*/ 39 w 54"/>
                <a:gd name="T17" fmla="*/ 2 h 36"/>
                <a:gd name="T18" fmla="*/ 39 w 54"/>
                <a:gd name="T19" fmla="*/ 2 h 36"/>
                <a:gd name="T20" fmla="*/ 34 w 54"/>
                <a:gd name="T21" fmla="*/ 8 h 36"/>
                <a:gd name="T22" fmla="*/ 32 w 54"/>
                <a:gd name="T23" fmla="*/ 11 h 36"/>
                <a:gd name="T24" fmla="*/ 31 w 54"/>
                <a:gd name="T25" fmla="*/ 12 h 36"/>
                <a:gd name="T26" fmla="*/ 27 w 54"/>
                <a:gd name="T27" fmla="*/ 13 h 36"/>
                <a:gd name="T28" fmla="*/ 25 w 54"/>
                <a:gd name="T29" fmla="*/ 14 h 36"/>
                <a:gd name="T30" fmla="*/ 28 w 54"/>
                <a:gd name="T31" fmla="*/ 18 h 36"/>
                <a:gd name="T32" fmla="*/ 29 w 54"/>
                <a:gd name="T33" fmla="*/ 15 h 36"/>
                <a:gd name="T34" fmla="*/ 32 w 54"/>
                <a:gd name="T35" fmla="*/ 15 h 36"/>
                <a:gd name="T36" fmla="*/ 31 w 54"/>
                <a:gd name="T37" fmla="*/ 12 h 36"/>
                <a:gd name="T38" fmla="*/ 32 w 54"/>
                <a:gd name="T39" fmla="*/ 15 h 36"/>
                <a:gd name="T40" fmla="*/ 29 w 54"/>
                <a:gd name="T41" fmla="*/ 15 h 36"/>
                <a:gd name="T42" fmla="*/ 28 w 54"/>
                <a:gd name="T43" fmla="*/ 18 h 36"/>
                <a:gd name="T44" fmla="*/ 25 w 54"/>
                <a:gd name="T45" fmla="*/ 14 h 36"/>
                <a:gd name="T46" fmla="*/ 23 w 54"/>
                <a:gd name="T47" fmla="*/ 16 h 36"/>
                <a:gd name="T48" fmla="*/ 17 w 54"/>
                <a:gd name="T49" fmla="*/ 22 h 36"/>
                <a:gd name="T50" fmla="*/ 10 w 54"/>
                <a:gd name="T51" fmla="*/ 25 h 36"/>
                <a:gd name="T52" fmla="*/ 8 w 54"/>
                <a:gd name="T53" fmla="*/ 31 h 36"/>
                <a:gd name="T54" fmla="*/ 9 w 54"/>
                <a:gd name="T55" fmla="*/ 32 h 36"/>
                <a:gd name="T56" fmla="*/ 4 w 54"/>
                <a:gd name="T57" fmla="*/ 31 h 36"/>
                <a:gd name="T58" fmla="*/ 1 w 54"/>
                <a:gd name="T59" fmla="*/ 29 h 36"/>
                <a:gd name="T60" fmla="*/ 0 w 54"/>
                <a:gd name="T61" fmla="*/ 29 h 36"/>
                <a:gd name="T62" fmla="*/ 1 w 54"/>
                <a:gd name="T63" fmla="*/ 32 h 36"/>
                <a:gd name="T64" fmla="*/ 6 w 54"/>
                <a:gd name="T65" fmla="*/ 35 h 36"/>
                <a:gd name="T66" fmla="*/ 9 w 54"/>
                <a:gd name="T67" fmla="*/ 34 h 36"/>
                <a:gd name="T68" fmla="*/ 13 w 54"/>
                <a:gd name="T69" fmla="*/ 34 h 36"/>
                <a:gd name="T70" fmla="*/ 17 w 54"/>
                <a:gd name="T71" fmla="*/ 31 h 36"/>
                <a:gd name="T72" fmla="*/ 23 w 54"/>
                <a:gd name="T73" fmla="*/ 32 h 36"/>
                <a:gd name="T74" fmla="*/ 29 w 54"/>
                <a:gd name="T75" fmla="*/ 29 h 36"/>
                <a:gd name="T76" fmla="*/ 31 w 54"/>
                <a:gd name="T77" fmla="*/ 23 h 36"/>
                <a:gd name="T78" fmla="*/ 33 w 54"/>
                <a:gd name="T79" fmla="*/ 19 h 36"/>
                <a:gd name="T80" fmla="*/ 35 w 54"/>
                <a:gd name="T81" fmla="*/ 16 h 36"/>
                <a:gd name="T82" fmla="*/ 45 w 54"/>
                <a:gd name="T83" fmla="*/ 17 h 36"/>
                <a:gd name="T84" fmla="*/ 49 w 54"/>
                <a:gd name="T85" fmla="*/ 15 h 36"/>
                <a:gd name="T86" fmla="*/ 47 w 54"/>
                <a:gd name="T87" fmla="*/ 12 h 36"/>
                <a:gd name="T88" fmla="*/ 50 w 54"/>
                <a:gd name="T8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4" h="36">
                  <a:moveTo>
                    <a:pt x="50" y="12"/>
                  </a:moveTo>
                  <a:cubicBezTo>
                    <a:pt x="52" y="12"/>
                    <a:pt x="54" y="11"/>
                    <a:pt x="53" y="10"/>
                  </a:cubicBezTo>
                  <a:cubicBezTo>
                    <a:pt x="52" y="9"/>
                    <a:pt x="50" y="7"/>
                    <a:pt x="49" y="8"/>
                  </a:cubicBezTo>
                  <a:cubicBezTo>
                    <a:pt x="48" y="8"/>
                    <a:pt x="47" y="9"/>
                    <a:pt x="47" y="8"/>
                  </a:cubicBezTo>
                  <a:cubicBezTo>
                    <a:pt x="46" y="7"/>
                    <a:pt x="47" y="7"/>
                    <a:pt x="46" y="7"/>
                  </a:cubicBezTo>
                  <a:cubicBezTo>
                    <a:pt x="45" y="7"/>
                    <a:pt x="45" y="8"/>
                    <a:pt x="45" y="7"/>
                  </a:cubicBezTo>
                  <a:cubicBezTo>
                    <a:pt x="45" y="6"/>
                    <a:pt x="45" y="4"/>
                    <a:pt x="44" y="3"/>
                  </a:cubicBezTo>
                  <a:cubicBezTo>
                    <a:pt x="43" y="2"/>
                    <a:pt x="41" y="0"/>
                    <a:pt x="41" y="2"/>
                  </a:cubicBezTo>
                  <a:cubicBezTo>
                    <a:pt x="40" y="3"/>
                    <a:pt x="39" y="3"/>
                    <a:pt x="39" y="2"/>
                  </a:cubicBezTo>
                  <a:cubicBezTo>
                    <a:pt x="39" y="2"/>
                    <a:pt x="40" y="1"/>
                    <a:pt x="39" y="2"/>
                  </a:cubicBezTo>
                  <a:cubicBezTo>
                    <a:pt x="38" y="3"/>
                    <a:pt x="35" y="7"/>
                    <a:pt x="34" y="8"/>
                  </a:cubicBezTo>
                  <a:cubicBezTo>
                    <a:pt x="33" y="8"/>
                    <a:pt x="31" y="10"/>
                    <a:pt x="32" y="11"/>
                  </a:cubicBezTo>
                  <a:cubicBezTo>
                    <a:pt x="32" y="12"/>
                    <a:pt x="33" y="12"/>
                    <a:pt x="31" y="12"/>
                  </a:cubicBezTo>
                  <a:cubicBezTo>
                    <a:pt x="30" y="12"/>
                    <a:pt x="28" y="13"/>
                    <a:pt x="27" y="13"/>
                  </a:cubicBezTo>
                  <a:cubicBezTo>
                    <a:pt x="26" y="14"/>
                    <a:pt x="26" y="14"/>
                    <a:pt x="25" y="14"/>
                  </a:cubicBezTo>
                  <a:cubicBezTo>
                    <a:pt x="26" y="16"/>
                    <a:pt x="28" y="18"/>
                    <a:pt x="28" y="18"/>
                  </a:cubicBezTo>
                  <a:cubicBezTo>
                    <a:pt x="29" y="17"/>
                    <a:pt x="29" y="14"/>
                    <a:pt x="29" y="15"/>
                  </a:cubicBezTo>
                  <a:cubicBezTo>
                    <a:pt x="30" y="15"/>
                    <a:pt x="32" y="16"/>
                    <a:pt x="32" y="15"/>
                  </a:cubicBezTo>
                  <a:cubicBezTo>
                    <a:pt x="31" y="15"/>
                    <a:pt x="31" y="13"/>
                    <a:pt x="31" y="12"/>
                  </a:cubicBezTo>
                  <a:cubicBezTo>
                    <a:pt x="31" y="13"/>
                    <a:pt x="31" y="15"/>
                    <a:pt x="32" y="15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4"/>
                    <a:pt x="29" y="17"/>
                    <a:pt x="28" y="18"/>
                  </a:cubicBezTo>
                  <a:cubicBezTo>
                    <a:pt x="28" y="18"/>
                    <a:pt x="26" y="16"/>
                    <a:pt x="25" y="14"/>
                  </a:cubicBezTo>
                  <a:cubicBezTo>
                    <a:pt x="24" y="15"/>
                    <a:pt x="24" y="16"/>
                    <a:pt x="23" y="16"/>
                  </a:cubicBezTo>
                  <a:cubicBezTo>
                    <a:pt x="22" y="17"/>
                    <a:pt x="19" y="22"/>
                    <a:pt x="17" y="22"/>
                  </a:cubicBezTo>
                  <a:cubicBezTo>
                    <a:pt x="16" y="22"/>
                    <a:pt x="11" y="24"/>
                    <a:pt x="10" y="25"/>
                  </a:cubicBezTo>
                  <a:cubicBezTo>
                    <a:pt x="9" y="26"/>
                    <a:pt x="7" y="30"/>
                    <a:pt x="8" y="31"/>
                  </a:cubicBezTo>
                  <a:cubicBezTo>
                    <a:pt x="9" y="31"/>
                    <a:pt x="10" y="32"/>
                    <a:pt x="9" y="32"/>
                  </a:cubicBezTo>
                  <a:cubicBezTo>
                    <a:pt x="8" y="31"/>
                    <a:pt x="5" y="31"/>
                    <a:pt x="4" y="31"/>
                  </a:cubicBezTo>
                  <a:cubicBezTo>
                    <a:pt x="3" y="30"/>
                    <a:pt x="2" y="30"/>
                    <a:pt x="1" y="29"/>
                  </a:cubicBezTo>
                  <a:cubicBezTo>
                    <a:pt x="1" y="29"/>
                    <a:pt x="0" y="29"/>
                    <a:pt x="0" y="29"/>
                  </a:cubicBezTo>
                  <a:cubicBezTo>
                    <a:pt x="0" y="30"/>
                    <a:pt x="1" y="31"/>
                    <a:pt x="1" y="32"/>
                  </a:cubicBezTo>
                  <a:cubicBezTo>
                    <a:pt x="3" y="33"/>
                    <a:pt x="5" y="36"/>
                    <a:pt x="6" y="35"/>
                  </a:cubicBezTo>
                  <a:cubicBezTo>
                    <a:pt x="7" y="35"/>
                    <a:pt x="7" y="34"/>
                    <a:pt x="9" y="34"/>
                  </a:cubicBezTo>
                  <a:cubicBezTo>
                    <a:pt x="11" y="34"/>
                    <a:pt x="13" y="34"/>
                    <a:pt x="13" y="34"/>
                  </a:cubicBezTo>
                  <a:cubicBezTo>
                    <a:pt x="14" y="33"/>
                    <a:pt x="15" y="31"/>
                    <a:pt x="17" y="31"/>
                  </a:cubicBezTo>
                  <a:cubicBezTo>
                    <a:pt x="19" y="31"/>
                    <a:pt x="21" y="33"/>
                    <a:pt x="23" y="32"/>
                  </a:cubicBezTo>
                  <a:cubicBezTo>
                    <a:pt x="25" y="32"/>
                    <a:pt x="28" y="30"/>
                    <a:pt x="29" y="29"/>
                  </a:cubicBezTo>
                  <a:cubicBezTo>
                    <a:pt x="29" y="27"/>
                    <a:pt x="31" y="24"/>
                    <a:pt x="31" y="23"/>
                  </a:cubicBezTo>
                  <a:cubicBezTo>
                    <a:pt x="32" y="22"/>
                    <a:pt x="32" y="21"/>
                    <a:pt x="33" y="19"/>
                  </a:cubicBezTo>
                  <a:cubicBezTo>
                    <a:pt x="33" y="17"/>
                    <a:pt x="34" y="16"/>
                    <a:pt x="35" y="16"/>
                  </a:cubicBezTo>
                  <a:cubicBezTo>
                    <a:pt x="37" y="16"/>
                    <a:pt x="42" y="16"/>
                    <a:pt x="45" y="17"/>
                  </a:cubicBezTo>
                  <a:cubicBezTo>
                    <a:pt x="47" y="16"/>
                    <a:pt x="50" y="15"/>
                    <a:pt x="49" y="15"/>
                  </a:cubicBezTo>
                  <a:cubicBezTo>
                    <a:pt x="48" y="14"/>
                    <a:pt x="47" y="13"/>
                    <a:pt x="47" y="12"/>
                  </a:cubicBezTo>
                  <a:cubicBezTo>
                    <a:pt x="48" y="11"/>
                    <a:pt x="48" y="12"/>
                    <a:pt x="50" y="12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76" name="Freeform 691">
              <a:extLst>
                <a:ext uri="{FF2B5EF4-FFF2-40B4-BE49-F238E27FC236}">
                  <a16:creationId xmlns:a16="http://schemas.microsoft.com/office/drawing/2014/main" id="{B57B7274-7826-0CCD-15C0-76F12E8F4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7202" y="3723554"/>
              <a:ext cx="54489" cy="32693"/>
            </a:xfrm>
            <a:custGeom>
              <a:avLst/>
              <a:gdLst>
                <a:gd name="T0" fmla="*/ 1 w 17"/>
                <a:gd name="T1" fmla="*/ 8 h 10"/>
                <a:gd name="T2" fmla="*/ 4 w 17"/>
                <a:gd name="T3" fmla="*/ 9 h 10"/>
                <a:gd name="T4" fmla="*/ 8 w 17"/>
                <a:gd name="T5" fmla="*/ 8 h 10"/>
                <a:gd name="T6" fmla="*/ 13 w 17"/>
                <a:gd name="T7" fmla="*/ 9 h 10"/>
                <a:gd name="T8" fmla="*/ 16 w 17"/>
                <a:gd name="T9" fmla="*/ 8 h 10"/>
                <a:gd name="T10" fmla="*/ 15 w 17"/>
                <a:gd name="T11" fmla="*/ 4 h 10"/>
                <a:gd name="T12" fmla="*/ 15 w 17"/>
                <a:gd name="T13" fmla="*/ 2 h 10"/>
                <a:gd name="T14" fmla="*/ 10 w 17"/>
                <a:gd name="T15" fmla="*/ 2 h 10"/>
                <a:gd name="T16" fmla="*/ 8 w 17"/>
                <a:gd name="T17" fmla="*/ 0 h 10"/>
                <a:gd name="T18" fmla="*/ 5 w 17"/>
                <a:gd name="T19" fmla="*/ 0 h 10"/>
                <a:gd name="T20" fmla="*/ 0 w 17"/>
                <a:gd name="T21" fmla="*/ 4 h 10"/>
                <a:gd name="T22" fmla="*/ 1 w 17"/>
                <a:gd name="T2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10">
                  <a:moveTo>
                    <a:pt x="1" y="8"/>
                  </a:moveTo>
                  <a:cubicBezTo>
                    <a:pt x="2" y="9"/>
                    <a:pt x="3" y="8"/>
                    <a:pt x="4" y="9"/>
                  </a:cubicBezTo>
                  <a:cubicBezTo>
                    <a:pt x="5" y="10"/>
                    <a:pt x="6" y="8"/>
                    <a:pt x="8" y="8"/>
                  </a:cubicBezTo>
                  <a:cubicBezTo>
                    <a:pt x="9" y="9"/>
                    <a:pt x="11" y="10"/>
                    <a:pt x="13" y="9"/>
                  </a:cubicBezTo>
                  <a:cubicBezTo>
                    <a:pt x="15" y="8"/>
                    <a:pt x="17" y="10"/>
                    <a:pt x="16" y="8"/>
                  </a:cubicBezTo>
                  <a:cubicBezTo>
                    <a:pt x="16" y="6"/>
                    <a:pt x="15" y="6"/>
                    <a:pt x="15" y="4"/>
                  </a:cubicBezTo>
                  <a:cubicBezTo>
                    <a:pt x="15" y="3"/>
                    <a:pt x="15" y="2"/>
                    <a:pt x="15" y="2"/>
                  </a:cubicBezTo>
                  <a:cubicBezTo>
                    <a:pt x="14" y="2"/>
                    <a:pt x="12" y="2"/>
                    <a:pt x="10" y="2"/>
                  </a:cubicBezTo>
                  <a:cubicBezTo>
                    <a:pt x="9" y="2"/>
                    <a:pt x="9" y="1"/>
                    <a:pt x="8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1" y="3"/>
                    <a:pt x="0" y="4"/>
                  </a:cubicBezTo>
                  <a:cubicBezTo>
                    <a:pt x="0" y="4"/>
                    <a:pt x="0" y="7"/>
                    <a:pt x="1" y="8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77" name="Freeform 692">
              <a:extLst>
                <a:ext uri="{FF2B5EF4-FFF2-40B4-BE49-F238E27FC236}">
                  <a16:creationId xmlns:a16="http://schemas.microsoft.com/office/drawing/2014/main" id="{537152DE-871C-405E-D833-69A43AFAA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267" y="3681174"/>
              <a:ext cx="139248" cy="81127"/>
            </a:xfrm>
            <a:custGeom>
              <a:avLst/>
              <a:gdLst>
                <a:gd name="T0" fmla="*/ 2 w 43"/>
                <a:gd name="T1" fmla="*/ 3 h 25"/>
                <a:gd name="T2" fmla="*/ 1 w 43"/>
                <a:gd name="T3" fmla="*/ 6 h 25"/>
                <a:gd name="T4" fmla="*/ 1 w 43"/>
                <a:gd name="T5" fmla="*/ 9 h 25"/>
                <a:gd name="T6" fmla="*/ 7 w 43"/>
                <a:gd name="T7" fmla="*/ 14 h 25"/>
                <a:gd name="T8" fmla="*/ 10 w 43"/>
                <a:gd name="T9" fmla="*/ 16 h 25"/>
                <a:gd name="T10" fmla="*/ 14 w 43"/>
                <a:gd name="T11" fmla="*/ 16 h 25"/>
                <a:gd name="T12" fmla="*/ 18 w 43"/>
                <a:gd name="T13" fmla="*/ 18 h 25"/>
                <a:gd name="T14" fmla="*/ 21 w 43"/>
                <a:gd name="T15" fmla="*/ 18 h 25"/>
                <a:gd name="T16" fmla="*/ 24 w 43"/>
                <a:gd name="T17" fmla="*/ 20 h 25"/>
                <a:gd name="T18" fmla="*/ 29 w 43"/>
                <a:gd name="T19" fmla="*/ 21 h 25"/>
                <a:gd name="T20" fmla="*/ 33 w 43"/>
                <a:gd name="T21" fmla="*/ 23 h 25"/>
                <a:gd name="T22" fmla="*/ 36 w 43"/>
                <a:gd name="T23" fmla="*/ 22 h 25"/>
                <a:gd name="T24" fmla="*/ 38 w 43"/>
                <a:gd name="T25" fmla="*/ 24 h 25"/>
                <a:gd name="T26" fmla="*/ 42 w 43"/>
                <a:gd name="T27" fmla="*/ 23 h 25"/>
                <a:gd name="T28" fmla="*/ 41 w 43"/>
                <a:gd name="T29" fmla="*/ 18 h 25"/>
                <a:gd name="T30" fmla="*/ 42 w 43"/>
                <a:gd name="T31" fmla="*/ 16 h 25"/>
                <a:gd name="T32" fmla="*/ 36 w 43"/>
                <a:gd name="T33" fmla="*/ 15 h 25"/>
                <a:gd name="T34" fmla="*/ 35 w 43"/>
                <a:gd name="T35" fmla="*/ 14 h 25"/>
                <a:gd name="T36" fmla="*/ 32 w 43"/>
                <a:gd name="T37" fmla="*/ 15 h 25"/>
                <a:gd name="T38" fmla="*/ 30 w 43"/>
                <a:gd name="T39" fmla="*/ 13 h 25"/>
                <a:gd name="T40" fmla="*/ 27 w 43"/>
                <a:gd name="T41" fmla="*/ 13 h 25"/>
                <a:gd name="T42" fmla="*/ 26 w 43"/>
                <a:gd name="T43" fmla="*/ 11 h 25"/>
                <a:gd name="T44" fmla="*/ 22 w 43"/>
                <a:gd name="T45" fmla="*/ 9 h 25"/>
                <a:gd name="T46" fmla="*/ 20 w 43"/>
                <a:gd name="T47" fmla="*/ 8 h 25"/>
                <a:gd name="T48" fmla="*/ 17 w 43"/>
                <a:gd name="T49" fmla="*/ 6 h 25"/>
                <a:gd name="T50" fmla="*/ 13 w 43"/>
                <a:gd name="T51" fmla="*/ 3 h 25"/>
                <a:gd name="T52" fmla="*/ 10 w 43"/>
                <a:gd name="T53" fmla="*/ 0 h 25"/>
                <a:gd name="T54" fmla="*/ 7 w 43"/>
                <a:gd name="T55" fmla="*/ 1 h 25"/>
                <a:gd name="T56" fmla="*/ 6 w 43"/>
                <a:gd name="T57" fmla="*/ 2 h 25"/>
                <a:gd name="T58" fmla="*/ 2 w 43"/>
                <a:gd name="T59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3" h="25">
                  <a:moveTo>
                    <a:pt x="2" y="3"/>
                  </a:moveTo>
                  <a:cubicBezTo>
                    <a:pt x="1" y="4"/>
                    <a:pt x="2" y="5"/>
                    <a:pt x="1" y="6"/>
                  </a:cubicBezTo>
                  <a:cubicBezTo>
                    <a:pt x="1" y="8"/>
                    <a:pt x="0" y="8"/>
                    <a:pt x="1" y="9"/>
                  </a:cubicBezTo>
                  <a:cubicBezTo>
                    <a:pt x="2" y="10"/>
                    <a:pt x="6" y="13"/>
                    <a:pt x="7" y="14"/>
                  </a:cubicBezTo>
                  <a:cubicBezTo>
                    <a:pt x="9" y="15"/>
                    <a:pt x="8" y="15"/>
                    <a:pt x="10" y="16"/>
                  </a:cubicBezTo>
                  <a:cubicBezTo>
                    <a:pt x="11" y="16"/>
                    <a:pt x="12" y="15"/>
                    <a:pt x="14" y="16"/>
                  </a:cubicBezTo>
                  <a:cubicBezTo>
                    <a:pt x="15" y="16"/>
                    <a:pt x="17" y="18"/>
                    <a:pt x="18" y="18"/>
                  </a:cubicBezTo>
                  <a:cubicBezTo>
                    <a:pt x="19" y="18"/>
                    <a:pt x="20" y="18"/>
                    <a:pt x="21" y="18"/>
                  </a:cubicBezTo>
                  <a:cubicBezTo>
                    <a:pt x="22" y="18"/>
                    <a:pt x="23" y="18"/>
                    <a:pt x="24" y="20"/>
                  </a:cubicBezTo>
                  <a:cubicBezTo>
                    <a:pt x="25" y="21"/>
                    <a:pt x="28" y="21"/>
                    <a:pt x="29" y="21"/>
                  </a:cubicBezTo>
                  <a:cubicBezTo>
                    <a:pt x="29" y="21"/>
                    <a:pt x="31" y="22"/>
                    <a:pt x="33" y="23"/>
                  </a:cubicBezTo>
                  <a:cubicBezTo>
                    <a:pt x="34" y="24"/>
                    <a:pt x="35" y="23"/>
                    <a:pt x="36" y="22"/>
                  </a:cubicBezTo>
                  <a:cubicBezTo>
                    <a:pt x="37" y="22"/>
                    <a:pt x="37" y="23"/>
                    <a:pt x="38" y="24"/>
                  </a:cubicBezTo>
                  <a:cubicBezTo>
                    <a:pt x="39" y="25"/>
                    <a:pt x="41" y="23"/>
                    <a:pt x="42" y="23"/>
                  </a:cubicBezTo>
                  <a:cubicBezTo>
                    <a:pt x="43" y="23"/>
                    <a:pt x="41" y="19"/>
                    <a:pt x="41" y="18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1" y="16"/>
                    <a:pt x="37" y="16"/>
                    <a:pt x="36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4" y="14"/>
                    <a:pt x="33" y="15"/>
                    <a:pt x="32" y="15"/>
                  </a:cubicBezTo>
                  <a:cubicBezTo>
                    <a:pt x="32" y="14"/>
                    <a:pt x="30" y="13"/>
                    <a:pt x="30" y="13"/>
                  </a:cubicBezTo>
                  <a:cubicBezTo>
                    <a:pt x="29" y="13"/>
                    <a:pt x="28" y="15"/>
                    <a:pt x="27" y="13"/>
                  </a:cubicBezTo>
                  <a:cubicBezTo>
                    <a:pt x="26" y="12"/>
                    <a:pt x="26" y="11"/>
                    <a:pt x="26" y="11"/>
                  </a:cubicBezTo>
                  <a:cubicBezTo>
                    <a:pt x="26" y="11"/>
                    <a:pt x="23" y="11"/>
                    <a:pt x="22" y="9"/>
                  </a:cubicBezTo>
                  <a:cubicBezTo>
                    <a:pt x="21" y="8"/>
                    <a:pt x="21" y="8"/>
                    <a:pt x="20" y="8"/>
                  </a:cubicBezTo>
                  <a:cubicBezTo>
                    <a:pt x="18" y="8"/>
                    <a:pt x="18" y="8"/>
                    <a:pt x="17" y="6"/>
                  </a:cubicBezTo>
                  <a:cubicBezTo>
                    <a:pt x="15" y="5"/>
                    <a:pt x="14" y="4"/>
                    <a:pt x="13" y="3"/>
                  </a:cubicBezTo>
                  <a:cubicBezTo>
                    <a:pt x="12" y="2"/>
                    <a:pt x="11" y="0"/>
                    <a:pt x="10" y="0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6" y="3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78" name="Freeform 693">
              <a:extLst>
                <a:ext uri="{FF2B5EF4-FFF2-40B4-BE49-F238E27FC236}">
                  <a16:creationId xmlns:a16="http://schemas.microsoft.com/office/drawing/2014/main" id="{9114B589-68D9-1EFC-9FD8-77ADB6437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0000" y="3982675"/>
              <a:ext cx="100501" cy="84759"/>
            </a:xfrm>
            <a:custGeom>
              <a:avLst/>
              <a:gdLst>
                <a:gd name="T0" fmla="*/ 16 w 31"/>
                <a:gd name="T1" fmla="*/ 21 h 26"/>
                <a:gd name="T2" fmla="*/ 19 w 31"/>
                <a:gd name="T3" fmla="*/ 21 h 26"/>
                <a:gd name="T4" fmla="*/ 22 w 31"/>
                <a:gd name="T5" fmla="*/ 21 h 26"/>
                <a:gd name="T6" fmla="*/ 21 w 31"/>
                <a:gd name="T7" fmla="*/ 18 h 26"/>
                <a:gd name="T8" fmla="*/ 23 w 31"/>
                <a:gd name="T9" fmla="*/ 17 h 26"/>
                <a:gd name="T10" fmla="*/ 24 w 31"/>
                <a:gd name="T11" fmla="*/ 15 h 26"/>
                <a:gd name="T12" fmla="*/ 28 w 31"/>
                <a:gd name="T13" fmla="*/ 14 h 26"/>
                <a:gd name="T14" fmla="*/ 31 w 31"/>
                <a:gd name="T15" fmla="*/ 9 h 26"/>
                <a:gd name="T16" fmla="*/ 30 w 31"/>
                <a:gd name="T17" fmla="*/ 5 h 26"/>
                <a:gd name="T18" fmla="*/ 30 w 31"/>
                <a:gd name="T19" fmla="*/ 1 h 26"/>
                <a:gd name="T20" fmla="*/ 26 w 31"/>
                <a:gd name="T21" fmla="*/ 2 h 26"/>
                <a:gd name="T22" fmla="*/ 24 w 31"/>
                <a:gd name="T23" fmla="*/ 1 h 26"/>
                <a:gd name="T24" fmla="*/ 22 w 31"/>
                <a:gd name="T25" fmla="*/ 3 h 26"/>
                <a:gd name="T26" fmla="*/ 20 w 31"/>
                <a:gd name="T27" fmla="*/ 3 h 26"/>
                <a:gd name="T28" fmla="*/ 16 w 31"/>
                <a:gd name="T29" fmla="*/ 2 h 26"/>
                <a:gd name="T30" fmla="*/ 10 w 31"/>
                <a:gd name="T31" fmla="*/ 1 h 26"/>
                <a:gd name="T32" fmla="*/ 5 w 31"/>
                <a:gd name="T33" fmla="*/ 2 h 26"/>
                <a:gd name="T34" fmla="*/ 1 w 31"/>
                <a:gd name="T35" fmla="*/ 6 h 26"/>
                <a:gd name="T36" fmla="*/ 2 w 31"/>
                <a:gd name="T37" fmla="*/ 10 h 26"/>
                <a:gd name="T38" fmla="*/ 4 w 31"/>
                <a:gd name="T39" fmla="*/ 15 h 26"/>
                <a:gd name="T40" fmla="*/ 5 w 31"/>
                <a:gd name="T41" fmla="*/ 19 h 26"/>
                <a:gd name="T42" fmla="*/ 7 w 31"/>
                <a:gd name="T43" fmla="*/ 21 h 26"/>
                <a:gd name="T44" fmla="*/ 8 w 31"/>
                <a:gd name="T45" fmla="*/ 21 h 26"/>
                <a:gd name="T46" fmla="*/ 8 w 31"/>
                <a:gd name="T47" fmla="*/ 23 h 26"/>
                <a:gd name="T48" fmla="*/ 9 w 31"/>
                <a:gd name="T49" fmla="*/ 24 h 26"/>
                <a:gd name="T50" fmla="*/ 10 w 31"/>
                <a:gd name="T51" fmla="*/ 25 h 26"/>
                <a:gd name="T52" fmla="*/ 12 w 31"/>
                <a:gd name="T53" fmla="*/ 23 h 26"/>
                <a:gd name="T54" fmla="*/ 13 w 31"/>
                <a:gd name="T55" fmla="*/ 24 h 26"/>
                <a:gd name="T56" fmla="*/ 16 w 31"/>
                <a:gd name="T57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" h="26">
                  <a:moveTo>
                    <a:pt x="16" y="21"/>
                  </a:moveTo>
                  <a:cubicBezTo>
                    <a:pt x="16" y="21"/>
                    <a:pt x="18" y="21"/>
                    <a:pt x="19" y="21"/>
                  </a:cubicBezTo>
                  <a:cubicBezTo>
                    <a:pt x="21" y="21"/>
                    <a:pt x="20" y="21"/>
                    <a:pt x="22" y="21"/>
                  </a:cubicBezTo>
                  <a:cubicBezTo>
                    <a:pt x="23" y="21"/>
                    <a:pt x="21" y="19"/>
                    <a:pt x="21" y="18"/>
                  </a:cubicBezTo>
                  <a:cubicBezTo>
                    <a:pt x="21" y="16"/>
                    <a:pt x="22" y="17"/>
                    <a:pt x="23" y="17"/>
                  </a:cubicBezTo>
                  <a:cubicBezTo>
                    <a:pt x="25" y="17"/>
                    <a:pt x="24" y="16"/>
                    <a:pt x="24" y="15"/>
                  </a:cubicBezTo>
                  <a:cubicBezTo>
                    <a:pt x="25" y="14"/>
                    <a:pt x="26" y="14"/>
                    <a:pt x="28" y="14"/>
                  </a:cubicBezTo>
                  <a:cubicBezTo>
                    <a:pt x="29" y="13"/>
                    <a:pt x="30" y="10"/>
                    <a:pt x="31" y="9"/>
                  </a:cubicBezTo>
                  <a:cubicBezTo>
                    <a:pt x="31" y="8"/>
                    <a:pt x="30" y="6"/>
                    <a:pt x="30" y="5"/>
                  </a:cubicBezTo>
                  <a:cubicBezTo>
                    <a:pt x="29" y="4"/>
                    <a:pt x="29" y="1"/>
                    <a:pt x="30" y="1"/>
                  </a:cubicBezTo>
                  <a:cubicBezTo>
                    <a:pt x="30" y="1"/>
                    <a:pt x="27" y="2"/>
                    <a:pt x="26" y="2"/>
                  </a:cubicBezTo>
                  <a:cubicBezTo>
                    <a:pt x="25" y="2"/>
                    <a:pt x="25" y="0"/>
                    <a:pt x="24" y="1"/>
                  </a:cubicBezTo>
                  <a:cubicBezTo>
                    <a:pt x="23" y="1"/>
                    <a:pt x="22" y="2"/>
                    <a:pt x="22" y="3"/>
                  </a:cubicBezTo>
                  <a:cubicBezTo>
                    <a:pt x="22" y="4"/>
                    <a:pt x="21" y="3"/>
                    <a:pt x="20" y="3"/>
                  </a:cubicBezTo>
                  <a:cubicBezTo>
                    <a:pt x="19" y="2"/>
                    <a:pt x="17" y="2"/>
                    <a:pt x="16" y="2"/>
                  </a:cubicBezTo>
                  <a:cubicBezTo>
                    <a:pt x="15" y="2"/>
                    <a:pt x="11" y="1"/>
                    <a:pt x="10" y="1"/>
                  </a:cubicBezTo>
                  <a:cubicBezTo>
                    <a:pt x="8" y="1"/>
                    <a:pt x="6" y="1"/>
                    <a:pt x="5" y="2"/>
                  </a:cubicBezTo>
                  <a:cubicBezTo>
                    <a:pt x="4" y="3"/>
                    <a:pt x="1" y="5"/>
                    <a:pt x="1" y="6"/>
                  </a:cubicBezTo>
                  <a:cubicBezTo>
                    <a:pt x="0" y="6"/>
                    <a:pt x="1" y="10"/>
                    <a:pt x="2" y="10"/>
                  </a:cubicBezTo>
                  <a:cubicBezTo>
                    <a:pt x="2" y="11"/>
                    <a:pt x="4" y="13"/>
                    <a:pt x="4" y="15"/>
                  </a:cubicBezTo>
                  <a:cubicBezTo>
                    <a:pt x="5" y="16"/>
                    <a:pt x="5" y="18"/>
                    <a:pt x="5" y="19"/>
                  </a:cubicBezTo>
                  <a:cubicBezTo>
                    <a:pt x="6" y="20"/>
                    <a:pt x="6" y="21"/>
                    <a:pt x="7" y="21"/>
                  </a:cubicBezTo>
                  <a:cubicBezTo>
                    <a:pt x="7" y="20"/>
                    <a:pt x="8" y="20"/>
                    <a:pt x="8" y="21"/>
                  </a:cubicBezTo>
                  <a:cubicBezTo>
                    <a:pt x="8" y="22"/>
                    <a:pt x="7" y="23"/>
                    <a:pt x="8" y="23"/>
                  </a:cubicBezTo>
                  <a:cubicBezTo>
                    <a:pt x="9" y="23"/>
                    <a:pt x="9" y="24"/>
                    <a:pt x="9" y="24"/>
                  </a:cubicBezTo>
                  <a:cubicBezTo>
                    <a:pt x="10" y="25"/>
                    <a:pt x="10" y="26"/>
                    <a:pt x="10" y="25"/>
                  </a:cubicBezTo>
                  <a:cubicBezTo>
                    <a:pt x="11" y="24"/>
                    <a:pt x="12" y="23"/>
                    <a:pt x="12" y="23"/>
                  </a:cubicBezTo>
                  <a:cubicBezTo>
                    <a:pt x="13" y="23"/>
                    <a:pt x="13" y="24"/>
                    <a:pt x="13" y="24"/>
                  </a:cubicBezTo>
                  <a:cubicBezTo>
                    <a:pt x="14" y="22"/>
                    <a:pt x="16" y="22"/>
                    <a:pt x="16" y="2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79" name="Freeform 694">
              <a:extLst>
                <a:ext uri="{FF2B5EF4-FFF2-40B4-BE49-F238E27FC236}">
                  <a16:creationId xmlns:a16="http://schemas.microsoft.com/office/drawing/2014/main" id="{37DD2069-B16B-FD41-4DBB-DF2FEE4FD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1252" y="4129187"/>
              <a:ext cx="77495" cy="96868"/>
            </a:xfrm>
            <a:custGeom>
              <a:avLst/>
              <a:gdLst>
                <a:gd name="T0" fmla="*/ 11 w 24"/>
                <a:gd name="T1" fmla="*/ 4 h 30"/>
                <a:gd name="T2" fmla="*/ 8 w 24"/>
                <a:gd name="T3" fmla="*/ 5 h 30"/>
                <a:gd name="T4" fmla="*/ 6 w 24"/>
                <a:gd name="T5" fmla="*/ 5 h 30"/>
                <a:gd name="T6" fmla="*/ 6 w 24"/>
                <a:gd name="T7" fmla="*/ 2 h 30"/>
                <a:gd name="T8" fmla="*/ 0 w 24"/>
                <a:gd name="T9" fmla="*/ 0 h 30"/>
                <a:gd name="T10" fmla="*/ 1 w 24"/>
                <a:gd name="T11" fmla="*/ 1 h 30"/>
                <a:gd name="T12" fmla="*/ 2 w 24"/>
                <a:gd name="T13" fmla="*/ 10 h 30"/>
                <a:gd name="T14" fmla="*/ 5 w 24"/>
                <a:gd name="T15" fmla="*/ 16 h 30"/>
                <a:gd name="T16" fmla="*/ 7 w 24"/>
                <a:gd name="T17" fmla="*/ 20 h 30"/>
                <a:gd name="T18" fmla="*/ 13 w 24"/>
                <a:gd name="T19" fmla="*/ 25 h 30"/>
                <a:gd name="T20" fmla="*/ 20 w 24"/>
                <a:gd name="T21" fmla="*/ 30 h 30"/>
                <a:gd name="T22" fmla="*/ 24 w 24"/>
                <a:gd name="T23" fmla="*/ 29 h 30"/>
                <a:gd name="T24" fmla="*/ 23 w 24"/>
                <a:gd name="T25" fmla="*/ 27 h 30"/>
                <a:gd name="T26" fmla="*/ 19 w 24"/>
                <a:gd name="T27" fmla="*/ 22 h 30"/>
                <a:gd name="T28" fmla="*/ 18 w 24"/>
                <a:gd name="T29" fmla="*/ 14 h 30"/>
                <a:gd name="T30" fmla="*/ 18 w 24"/>
                <a:gd name="T31" fmla="*/ 8 h 30"/>
                <a:gd name="T32" fmla="*/ 12 w 24"/>
                <a:gd name="T33" fmla="*/ 2 h 30"/>
                <a:gd name="T34" fmla="*/ 11 w 24"/>
                <a:gd name="T3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30">
                  <a:moveTo>
                    <a:pt x="11" y="4"/>
                  </a:moveTo>
                  <a:cubicBezTo>
                    <a:pt x="10" y="5"/>
                    <a:pt x="9" y="5"/>
                    <a:pt x="8" y="5"/>
                  </a:cubicBezTo>
                  <a:cubicBezTo>
                    <a:pt x="8" y="4"/>
                    <a:pt x="7" y="6"/>
                    <a:pt x="6" y="5"/>
                  </a:cubicBezTo>
                  <a:cubicBezTo>
                    <a:pt x="6" y="4"/>
                    <a:pt x="7" y="3"/>
                    <a:pt x="6" y="2"/>
                  </a:cubicBezTo>
                  <a:cubicBezTo>
                    <a:pt x="5" y="1"/>
                    <a:pt x="2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2" y="2"/>
                    <a:pt x="2" y="7"/>
                    <a:pt x="2" y="10"/>
                  </a:cubicBezTo>
                  <a:cubicBezTo>
                    <a:pt x="3" y="12"/>
                    <a:pt x="4" y="15"/>
                    <a:pt x="5" y="16"/>
                  </a:cubicBezTo>
                  <a:cubicBezTo>
                    <a:pt x="5" y="17"/>
                    <a:pt x="6" y="18"/>
                    <a:pt x="7" y="20"/>
                  </a:cubicBezTo>
                  <a:cubicBezTo>
                    <a:pt x="8" y="22"/>
                    <a:pt x="10" y="23"/>
                    <a:pt x="13" y="25"/>
                  </a:cubicBezTo>
                  <a:cubicBezTo>
                    <a:pt x="16" y="27"/>
                    <a:pt x="19" y="29"/>
                    <a:pt x="20" y="30"/>
                  </a:cubicBezTo>
                  <a:cubicBezTo>
                    <a:pt x="21" y="30"/>
                    <a:pt x="23" y="30"/>
                    <a:pt x="24" y="29"/>
                  </a:cubicBezTo>
                  <a:cubicBezTo>
                    <a:pt x="24" y="29"/>
                    <a:pt x="24" y="29"/>
                    <a:pt x="23" y="27"/>
                  </a:cubicBezTo>
                  <a:cubicBezTo>
                    <a:pt x="22" y="25"/>
                    <a:pt x="20" y="23"/>
                    <a:pt x="19" y="22"/>
                  </a:cubicBezTo>
                  <a:cubicBezTo>
                    <a:pt x="19" y="20"/>
                    <a:pt x="18" y="16"/>
                    <a:pt x="18" y="14"/>
                  </a:cubicBezTo>
                  <a:cubicBezTo>
                    <a:pt x="18" y="13"/>
                    <a:pt x="19" y="10"/>
                    <a:pt x="18" y="8"/>
                  </a:cubicBezTo>
                  <a:cubicBezTo>
                    <a:pt x="17" y="7"/>
                    <a:pt x="14" y="4"/>
                    <a:pt x="12" y="2"/>
                  </a:cubicBezTo>
                  <a:cubicBezTo>
                    <a:pt x="11" y="3"/>
                    <a:pt x="11" y="3"/>
                    <a:pt x="11" y="4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80" name="Freeform 695">
              <a:extLst>
                <a:ext uri="{FF2B5EF4-FFF2-40B4-BE49-F238E27FC236}">
                  <a16:creationId xmlns:a16="http://schemas.microsoft.com/office/drawing/2014/main" id="{86552550-8B8A-783A-3585-4D91BDA77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2025" y="3176251"/>
              <a:ext cx="1076451" cy="703502"/>
            </a:xfrm>
            <a:custGeom>
              <a:avLst/>
              <a:gdLst>
                <a:gd name="T0" fmla="*/ 309 w 333"/>
                <a:gd name="T1" fmla="*/ 38 h 217"/>
                <a:gd name="T2" fmla="*/ 284 w 333"/>
                <a:gd name="T3" fmla="*/ 7 h 217"/>
                <a:gd name="T4" fmla="*/ 254 w 333"/>
                <a:gd name="T5" fmla="*/ 13 h 217"/>
                <a:gd name="T6" fmla="*/ 227 w 333"/>
                <a:gd name="T7" fmla="*/ 39 h 217"/>
                <a:gd name="T8" fmla="*/ 245 w 333"/>
                <a:gd name="T9" fmla="*/ 44 h 217"/>
                <a:gd name="T10" fmla="*/ 220 w 333"/>
                <a:gd name="T11" fmla="*/ 60 h 217"/>
                <a:gd name="T12" fmla="*/ 192 w 333"/>
                <a:gd name="T13" fmla="*/ 80 h 217"/>
                <a:gd name="T14" fmla="*/ 147 w 333"/>
                <a:gd name="T15" fmla="*/ 78 h 217"/>
                <a:gd name="T16" fmla="*/ 105 w 333"/>
                <a:gd name="T17" fmla="*/ 62 h 217"/>
                <a:gd name="T18" fmla="*/ 91 w 333"/>
                <a:gd name="T19" fmla="*/ 45 h 217"/>
                <a:gd name="T20" fmla="*/ 75 w 333"/>
                <a:gd name="T21" fmla="*/ 33 h 217"/>
                <a:gd name="T22" fmla="*/ 66 w 333"/>
                <a:gd name="T23" fmla="*/ 47 h 217"/>
                <a:gd name="T24" fmla="*/ 49 w 333"/>
                <a:gd name="T25" fmla="*/ 58 h 217"/>
                <a:gd name="T26" fmla="*/ 38 w 333"/>
                <a:gd name="T27" fmla="*/ 68 h 217"/>
                <a:gd name="T28" fmla="*/ 25 w 333"/>
                <a:gd name="T29" fmla="*/ 88 h 217"/>
                <a:gd name="T30" fmla="*/ 10 w 333"/>
                <a:gd name="T31" fmla="*/ 93 h 217"/>
                <a:gd name="T32" fmla="*/ 7 w 333"/>
                <a:gd name="T33" fmla="*/ 105 h 217"/>
                <a:gd name="T34" fmla="*/ 22 w 333"/>
                <a:gd name="T35" fmla="*/ 126 h 217"/>
                <a:gd name="T36" fmla="*/ 37 w 333"/>
                <a:gd name="T37" fmla="*/ 128 h 217"/>
                <a:gd name="T38" fmla="*/ 29 w 333"/>
                <a:gd name="T39" fmla="*/ 144 h 217"/>
                <a:gd name="T40" fmla="*/ 36 w 333"/>
                <a:gd name="T41" fmla="*/ 154 h 217"/>
                <a:gd name="T42" fmla="*/ 56 w 333"/>
                <a:gd name="T43" fmla="*/ 164 h 217"/>
                <a:gd name="T44" fmla="*/ 71 w 333"/>
                <a:gd name="T45" fmla="*/ 170 h 217"/>
                <a:gd name="T46" fmla="*/ 90 w 333"/>
                <a:gd name="T47" fmla="*/ 169 h 217"/>
                <a:gd name="T48" fmla="*/ 111 w 333"/>
                <a:gd name="T49" fmla="*/ 162 h 217"/>
                <a:gd name="T50" fmla="*/ 126 w 333"/>
                <a:gd name="T51" fmla="*/ 168 h 217"/>
                <a:gd name="T52" fmla="*/ 131 w 333"/>
                <a:gd name="T53" fmla="*/ 184 h 217"/>
                <a:gd name="T54" fmla="*/ 133 w 333"/>
                <a:gd name="T55" fmla="*/ 194 h 217"/>
                <a:gd name="T56" fmla="*/ 139 w 333"/>
                <a:gd name="T57" fmla="*/ 208 h 217"/>
                <a:gd name="T58" fmla="*/ 150 w 333"/>
                <a:gd name="T59" fmla="*/ 203 h 217"/>
                <a:gd name="T60" fmla="*/ 162 w 333"/>
                <a:gd name="T61" fmla="*/ 202 h 217"/>
                <a:gd name="T62" fmla="*/ 178 w 333"/>
                <a:gd name="T63" fmla="*/ 207 h 217"/>
                <a:gd name="T64" fmla="*/ 190 w 333"/>
                <a:gd name="T65" fmla="*/ 209 h 217"/>
                <a:gd name="T66" fmla="*/ 196 w 333"/>
                <a:gd name="T67" fmla="*/ 212 h 217"/>
                <a:gd name="T68" fmla="*/ 213 w 333"/>
                <a:gd name="T69" fmla="*/ 205 h 217"/>
                <a:gd name="T70" fmla="*/ 226 w 333"/>
                <a:gd name="T71" fmla="*/ 202 h 217"/>
                <a:gd name="T72" fmla="*/ 234 w 333"/>
                <a:gd name="T73" fmla="*/ 197 h 217"/>
                <a:gd name="T74" fmla="*/ 247 w 333"/>
                <a:gd name="T75" fmla="*/ 185 h 217"/>
                <a:gd name="T76" fmla="*/ 254 w 333"/>
                <a:gd name="T77" fmla="*/ 173 h 217"/>
                <a:gd name="T78" fmla="*/ 259 w 333"/>
                <a:gd name="T79" fmla="*/ 163 h 217"/>
                <a:gd name="T80" fmla="*/ 257 w 333"/>
                <a:gd name="T81" fmla="*/ 157 h 217"/>
                <a:gd name="T82" fmla="*/ 258 w 333"/>
                <a:gd name="T83" fmla="*/ 151 h 217"/>
                <a:gd name="T84" fmla="*/ 256 w 333"/>
                <a:gd name="T85" fmla="*/ 147 h 217"/>
                <a:gd name="T86" fmla="*/ 250 w 333"/>
                <a:gd name="T87" fmla="*/ 132 h 217"/>
                <a:gd name="T88" fmla="*/ 254 w 333"/>
                <a:gd name="T89" fmla="*/ 118 h 217"/>
                <a:gd name="T90" fmla="*/ 258 w 333"/>
                <a:gd name="T91" fmla="*/ 112 h 217"/>
                <a:gd name="T92" fmla="*/ 236 w 333"/>
                <a:gd name="T93" fmla="*/ 104 h 217"/>
                <a:gd name="T94" fmla="*/ 259 w 333"/>
                <a:gd name="T95" fmla="*/ 90 h 217"/>
                <a:gd name="T96" fmla="*/ 257 w 333"/>
                <a:gd name="T97" fmla="*/ 103 h 217"/>
                <a:gd name="T98" fmla="*/ 274 w 333"/>
                <a:gd name="T99" fmla="*/ 97 h 217"/>
                <a:gd name="T100" fmla="*/ 301 w 333"/>
                <a:gd name="T101" fmla="*/ 82 h 217"/>
                <a:gd name="T102" fmla="*/ 312 w 333"/>
                <a:gd name="T103" fmla="*/ 76 h 217"/>
                <a:gd name="T104" fmla="*/ 324 w 333"/>
                <a:gd name="T105" fmla="*/ 6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3" h="217">
                  <a:moveTo>
                    <a:pt x="332" y="41"/>
                  </a:moveTo>
                  <a:cubicBezTo>
                    <a:pt x="332" y="40"/>
                    <a:pt x="330" y="40"/>
                    <a:pt x="329" y="40"/>
                  </a:cubicBezTo>
                  <a:cubicBezTo>
                    <a:pt x="327" y="40"/>
                    <a:pt x="325" y="41"/>
                    <a:pt x="324" y="41"/>
                  </a:cubicBezTo>
                  <a:cubicBezTo>
                    <a:pt x="322" y="41"/>
                    <a:pt x="322" y="42"/>
                    <a:pt x="321" y="43"/>
                  </a:cubicBezTo>
                  <a:cubicBezTo>
                    <a:pt x="320" y="44"/>
                    <a:pt x="314" y="43"/>
                    <a:pt x="312" y="43"/>
                  </a:cubicBezTo>
                  <a:cubicBezTo>
                    <a:pt x="310" y="43"/>
                    <a:pt x="310" y="40"/>
                    <a:pt x="309" y="38"/>
                  </a:cubicBezTo>
                  <a:cubicBezTo>
                    <a:pt x="308" y="37"/>
                    <a:pt x="309" y="36"/>
                    <a:pt x="308" y="35"/>
                  </a:cubicBezTo>
                  <a:cubicBezTo>
                    <a:pt x="306" y="34"/>
                    <a:pt x="304" y="33"/>
                    <a:pt x="303" y="32"/>
                  </a:cubicBezTo>
                  <a:cubicBezTo>
                    <a:pt x="301" y="31"/>
                    <a:pt x="298" y="30"/>
                    <a:pt x="297" y="30"/>
                  </a:cubicBezTo>
                  <a:cubicBezTo>
                    <a:pt x="295" y="30"/>
                    <a:pt x="293" y="29"/>
                    <a:pt x="292" y="28"/>
                  </a:cubicBezTo>
                  <a:cubicBezTo>
                    <a:pt x="292" y="27"/>
                    <a:pt x="292" y="23"/>
                    <a:pt x="291" y="21"/>
                  </a:cubicBezTo>
                  <a:cubicBezTo>
                    <a:pt x="290" y="19"/>
                    <a:pt x="285" y="10"/>
                    <a:pt x="284" y="7"/>
                  </a:cubicBezTo>
                  <a:cubicBezTo>
                    <a:pt x="282" y="5"/>
                    <a:pt x="278" y="3"/>
                    <a:pt x="276" y="3"/>
                  </a:cubicBezTo>
                  <a:cubicBezTo>
                    <a:pt x="275" y="3"/>
                    <a:pt x="272" y="2"/>
                    <a:pt x="270" y="1"/>
                  </a:cubicBezTo>
                  <a:cubicBezTo>
                    <a:pt x="267" y="0"/>
                    <a:pt x="264" y="1"/>
                    <a:pt x="259" y="2"/>
                  </a:cubicBezTo>
                  <a:cubicBezTo>
                    <a:pt x="255" y="3"/>
                    <a:pt x="251" y="6"/>
                    <a:pt x="251" y="7"/>
                  </a:cubicBezTo>
                  <a:cubicBezTo>
                    <a:pt x="251" y="7"/>
                    <a:pt x="252" y="8"/>
                    <a:pt x="253" y="8"/>
                  </a:cubicBezTo>
                  <a:cubicBezTo>
                    <a:pt x="255" y="9"/>
                    <a:pt x="255" y="12"/>
                    <a:pt x="254" y="13"/>
                  </a:cubicBezTo>
                  <a:cubicBezTo>
                    <a:pt x="253" y="14"/>
                    <a:pt x="250" y="16"/>
                    <a:pt x="250" y="18"/>
                  </a:cubicBezTo>
                  <a:cubicBezTo>
                    <a:pt x="249" y="19"/>
                    <a:pt x="246" y="23"/>
                    <a:pt x="247" y="24"/>
                  </a:cubicBezTo>
                  <a:cubicBezTo>
                    <a:pt x="248" y="26"/>
                    <a:pt x="246" y="27"/>
                    <a:pt x="244" y="27"/>
                  </a:cubicBezTo>
                  <a:cubicBezTo>
                    <a:pt x="243" y="28"/>
                    <a:pt x="238" y="30"/>
                    <a:pt x="238" y="30"/>
                  </a:cubicBezTo>
                  <a:cubicBezTo>
                    <a:pt x="238" y="30"/>
                    <a:pt x="234" y="29"/>
                    <a:pt x="232" y="28"/>
                  </a:cubicBezTo>
                  <a:cubicBezTo>
                    <a:pt x="232" y="28"/>
                    <a:pt x="227" y="38"/>
                    <a:pt x="227" y="39"/>
                  </a:cubicBezTo>
                  <a:cubicBezTo>
                    <a:pt x="227" y="40"/>
                    <a:pt x="226" y="41"/>
                    <a:pt x="226" y="41"/>
                  </a:cubicBezTo>
                  <a:cubicBezTo>
                    <a:pt x="226" y="42"/>
                    <a:pt x="227" y="44"/>
                    <a:pt x="228" y="43"/>
                  </a:cubicBezTo>
                  <a:cubicBezTo>
                    <a:pt x="229" y="43"/>
                    <a:pt x="228" y="42"/>
                    <a:pt x="231" y="42"/>
                  </a:cubicBezTo>
                  <a:cubicBezTo>
                    <a:pt x="234" y="43"/>
                    <a:pt x="235" y="44"/>
                    <a:pt x="236" y="43"/>
                  </a:cubicBezTo>
                  <a:cubicBezTo>
                    <a:pt x="237" y="43"/>
                    <a:pt x="238" y="42"/>
                    <a:pt x="239" y="42"/>
                  </a:cubicBezTo>
                  <a:cubicBezTo>
                    <a:pt x="241" y="42"/>
                    <a:pt x="243" y="41"/>
                    <a:pt x="245" y="44"/>
                  </a:cubicBezTo>
                  <a:cubicBezTo>
                    <a:pt x="247" y="47"/>
                    <a:pt x="251" y="51"/>
                    <a:pt x="249" y="51"/>
                  </a:cubicBezTo>
                  <a:cubicBezTo>
                    <a:pt x="248" y="51"/>
                    <a:pt x="246" y="50"/>
                    <a:pt x="244" y="50"/>
                  </a:cubicBezTo>
                  <a:cubicBezTo>
                    <a:pt x="242" y="51"/>
                    <a:pt x="233" y="52"/>
                    <a:pt x="232" y="53"/>
                  </a:cubicBezTo>
                  <a:cubicBezTo>
                    <a:pt x="231" y="54"/>
                    <a:pt x="231" y="56"/>
                    <a:pt x="230" y="57"/>
                  </a:cubicBezTo>
                  <a:cubicBezTo>
                    <a:pt x="229" y="58"/>
                    <a:pt x="226" y="60"/>
                    <a:pt x="225" y="60"/>
                  </a:cubicBezTo>
                  <a:cubicBezTo>
                    <a:pt x="223" y="60"/>
                    <a:pt x="221" y="59"/>
                    <a:pt x="220" y="60"/>
                  </a:cubicBezTo>
                  <a:cubicBezTo>
                    <a:pt x="219" y="61"/>
                    <a:pt x="216" y="64"/>
                    <a:pt x="214" y="64"/>
                  </a:cubicBezTo>
                  <a:cubicBezTo>
                    <a:pt x="211" y="64"/>
                    <a:pt x="208" y="62"/>
                    <a:pt x="206" y="62"/>
                  </a:cubicBezTo>
                  <a:cubicBezTo>
                    <a:pt x="204" y="62"/>
                    <a:pt x="203" y="65"/>
                    <a:pt x="203" y="66"/>
                  </a:cubicBezTo>
                  <a:cubicBezTo>
                    <a:pt x="203" y="68"/>
                    <a:pt x="205" y="69"/>
                    <a:pt x="205" y="70"/>
                  </a:cubicBezTo>
                  <a:cubicBezTo>
                    <a:pt x="205" y="71"/>
                    <a:pt x="203" y="72"/>
                    <a:pt x="201" y="73"/>
                  </a:cubicBezTo>
                  <a:cubicBezTo>
                    <a:pt x="199" y="74"/>
                    <a:pt x="197" y="79"/>
                    <a:pt x="192" y="80"/>
                  </a:cubicBezTo>
                  <a:cubicBezTo>
                    <a:pt x="187" y="80"/>
                    <a:pt x="177" y="80"/>
                    <a:pt x="172" y="83"/>
                  </a:cubicBezTo>
                  <a:cubicBezTo>
                    <a:pt x="167" y="86"/>
                    <a:pt x="167" y="86"/>
                    <a:pt x="166" y="85"/>
                  </a:cubicBezTo>
                  <a:cubicBezTo>
                    <a:pt x="165" y="85"/>
                    <a:pt x="164" y="84"/>
                    <a:pt x="163" y="84"/>
                  </a:cubicBezTo>
                  <a:cubicBezTo>
                    <a:pt x="162" y="84"/>
                    <a:pt x="161" y="85"/>
                    <a:pt x="158" y="84"/>
                  </a:cubicBezTo>
                  <a:cubicBezTo>
                    <a:pt x="156" y="82"/>
                    <a:pt x="153" y="82"/>
                    <a:pt x="152" y="82"/>
                  </a:cubicBezTo>
                  <a:cubicBezTo>
                    <a:pt x="151" y="81"/>
                    <a:pt x="149" y="79"/>
                    <a:pt x="147" y="78"/>
                  </a:cubicBezTo>
                  <a:cubicBezTo>
                    <a:pt x="146" y="78"/>
                    <a:pt x="140" y="77"/>
                    <a:pt x="139" y="77"/>
                  </a:cubicBezTo>
                  <a:cubicBezTo>
                    <a:pt x="139" y="77"/>
                    <a:pt x="133" y="78"/>
                    <a:pt x="130" y="78"/>
                  </a:cubicBezTo>
                  <a:cubicBezTo>
                    <a:pt x="127" y="78"/>
                    <a:pt x="121" y="78"/>
                    <a:pt x="121" y="77"/>
                  </a:cubicBezTo>
                  <a:cubicBezTo>
                    <a:pt x="120" y="76"/>
                    <a:pt x="119" y="75"/>
                    <a:pt x="117" y="72"/>
                  </a:cubicBezTo>
                  <a:cubicBezTo>
                    <a:pt x="116" y="69"/>
                    <a:pt x="112" y="67"/>
                    <a:pt x="112" y="67"/>
                  </a:cubicBezTo>
                  <a:cubicBezTo>
                    <a:pt x="111" y="66"/>
                    <a:pt x="108" y="63"/>
                    <a:pt x="105" y="62"/>
                  </a:cubicBezTo>
                  <a:cubicBezTo>
                    <a:pt x="103" y="62"/>
                    <a:pt x="98" y="62"/>
                    <a:pt x="96" y="61"/>
                  </a:cubicBezTo>
                  <a:cubicBezTo>
                    <a:pt x="94" y="60"/>
                    <a:pt x="92" y="60"/>
                    <a:pt x="93" y="58"/>
                  </a:cubicBezTo>
                  <a:cubicBezTo>
                    <a:pt x="93" y="57"/>
                    <a:pt x="94" y="56"/>
                    <a:pt x="94" y="55"/>
                  </a:cubicBezTo>
                  <a:cubicBezTo>
                    <a:pt x="94" y="54"/>
                    <a:pt x="93" y="53"/>
                    <a:pt x="93" y="53"/>
                  </a:cubicBezTo>
                  <a:cubicBezTo>
                    <a:pt x="94" y="52"/>
                    <a:pt x="95" y="52"/>
                    <a:pt x="94" y="51"/>
                  </a:cubicBezTo>
                  <a:cubicBezTo>
                    <a:pt x="93" y="49"/>
                    <a:pt x="92" y="47"/>
                    <a:pt x="91" y="45"/>
                  </a:cubicBezTo>
                  <a:cubicBezTo>
                    <a:pt x="90" y="43"/>
                    <a:pt x="89" y="42"/>
                    <a:pt x="86" y="41"/>
                  </a:cubicBezTo>
                  <a:cubicBezTo>
                    <a:pt x="84" y="40"/>
                    <a:pt x="79" y="39"/>
                    <a:pt x="78" y="36"/>
                  </a:cubicBezTo>
                  <a:cubicBezTo>
                    <a:pt x="77" y="33"/>
                    <a:pt x="77" y="32"/>
                    <a:pt x="77" y="32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7" y="33"/>
                    <a:pt x="76" y="33"/>
                    <a:pt x="75" y="33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2" y="34"/>
                    <a:pt x="72" y="37"/>
                    <a:pt x="71" y="38"/>
                  </a:cubicBezTo>
                  <a:cubicBezTo>
                    <a:pt x="69" y="39"/>
                    <a:pt x="67" y="38"/>
                    <a:pt x="66" y="40"/>
                  </a:cubicBezTo>
                  <a:cubicBezTo>
                    <a:pt x="65" y="42"/>
                    <a:pt x="65" y="43"/>
                    <a:pt x="66" y="44"/>
                  </a:cubicBezTo>
                  <a:cubicBezTo>
                    <a:pt x="68" y="45"/>
                    <a:pt x="67" y="46"/>
                    <a:pt x="66" y="47"/>
                  </a:cubicBezTo>
                  <a:cubicBezTo>
                    <a:pt x="65" y="48"/>
                    <a:pt x="63" y="49"/>
                    <a:pt x="62" y="49"/>
                  </a:cubicBezTo>
                  <a:cubicBezTo>
                    <a:pt x="62" y="49"/>
                    <a:pt x="61" y="48"/>
                    <a:pt x="60" y="48"/>
                  </a:cubicBezTo>
                  <a:cubicBezTo>
                    <a:pt x="59" y="48"/>
                    <a:pt x="58" y="49"/>
                    <a:pt x="57" y="48"/>
                  </a:cubicBezTo>
                  <a:cubicBezTo>
                    <a:pt x="55" y="48"/>
                    <a:pt x="54" y="46"/>
                    <a:pt x="53" y="46"/>
                  </a:cubicBezTo>
                  <a:cubicBezTo>
                    <a:pt x="52" y="47"/>
                    <a:pt x="52" y="50"/>
                    <a:pt x="51" y="52"/>
                  </a:cubicBezTo>
                  <a:cubicBezTo>
                    <a:pt x="50" y="53"/>
                    <a:pt x="49" y="57"/>
                    <a:pt x="49" y="58"/>
                  </a:cubicBezTo>
                  <a:cubicBezTo>
                    <a:pt x="49" y="59"/>
                    <a:pt x="51" y="60"/>
                    <a:pt x="51" y="60"/>
                  </a:cubicBezTo>
                  <a:cubicBezTo>
                    <a:pt x="51" y="61"/>
                    <a:pt x="48" y="62"/>
                    <a:pt x="47" y="61"/>
                  </a:cubicBezTo>
                  <a:cubicBezTo>
                    <a:pt x="46" y="61"/>
                    <a:pt x="45" y="60"/>
                    <a:pt x="44" y="60"/>
                  </a:cubicBezTo>
                  <a:cubicBezTo>
                    <a:pt x="43" y="60"/>
                    <a:pt x="36" y="62"/>
                    <a:pt x="35" y="62"/>
                  </a:cubicBezTo>
                  <a:cubicBezTo>
                    <a:pt x="35" y="62"/>
                    <a:pt x="36" y="62"/>
                    <a:pt x="37" y="63"/>
                  </a:cubicBezTo>
                  <a:cubicBezTo>
                    <a:pt x="37" y="63"/>
                    <a:pt x="38" y="66"/>
                    <a:pt x="38" y="68"/>
                  </a:cubicBezTo>
                  <a:cubicBezTo>
                    <a:pt x="38" y="69"/>
                    <a:pt x="41" y="73"/>
                    <a:pt x="41" y="74"/>
                  </a:cubicBezTo>
                  <a:cubicBezTo>
                    <a:pt x="40" y="75"/>
                    <a:pt x="37" y="77"/>
                    <a:pt x="37" y="78"/>
                  </a:cubicBezTo>
                  <a:cubicBezTo>
                    <a:pt x="36" y="80"/>
                    <a:pt x="37" y="82"/>
                    <a:pt x="37" y="82"/>
                  </a:cubicBezTo>
                  <a:cubicBezTo>
                    <a:pt x="36" y="82"/>
                    <a:pt x="33" y="83"/>
                    <a:pt x="32" y="84"/>
                  </a:cubicBezTo>
                  <a:cubicBezTo>
                    <a:pt x="31" y="85"/>
                    <a:pt x="28" y="86"/>
                    <a:pt x="27" y="87"/>
                  </a:cubicBezTo>
                  <a:cubicBezTo>
                    <a:pt x="27" y="88"/>
                    <a:pt x="26" y="88"/>
                    <a:pt x="25" y="88"/>
                  </a:cubicBezTo>
                  <a:cubicBezTo>
                    <a:pt x="25" y="88"/>
                    <a:pt x="20" y="88"/>
                    <a:pt x="19" y="89"/>
                  </a:cubicBezTo>
                  <a:cubicBezTo>
                    <a:pt x="18" y="91"/>
                    <a:pt x="17" y="92"/>
                    <a:pt x="17" y="92"/>
                  </a:cubicBezTo>
                  <a:cubicBezTo>
                    <a:pt x="16" y="92"/>
                    <a:pt x="16" y="92"/>
                    <a:pt x="15" y="92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3"/>
                    <a:pt x="13" y="92"/>
                    <a:pt x="12" y="92"/>
                  </a:cubicBezTo>
                  <a:cubicBezTo>
                    <a:pt x="11" y="92"/>
                    <a:pt x="11" y="93"/>
                    <a:pt x="10" y="93"/>
                  </a:cubicBezTo>
                  <a:cubicBezTo>
                    <a:pt x="9" y="93"/>
                    <a:pt x="8" y="92"/>
                    <a:pt x="8" y="93"/>
                  </a:cubicBezTo>
                  <a:cubicBezTo>
                    <a:pt x="7" y="93"/>
                    <a:pt x="5" y="95"/>
                    <a:pt x="4" y="95"/>
                  </a:cubicBezTo>
                  <a:cubicBezTo>
                    <a:pt x="3" y="96"/>
                    <a:pt x="3" y="97"/>
                    <a:pt x="3" y="98"/>
                  </a:cubicBezTo>
                  <a:cubicBezTo>
                    <a:pt x="2" y="99"/>
                    <a:pt x="0" y="101"/>
                    <a:pt x="1" y="102"/>
                  </a:cubicBezTo>
                  <a:cubicBezTo>
                    <a:pt x="1" y="103"/>
                    <a:pt x="4" y="105"/>
                    <a:pt x="5" y="105"/>
                  </a:cubicBezTo>
                  <a:cubicBezTo>
                    <a:pt x="6" y="105"/>
                    <a:pt x="7" y="104"/>
                    <a:pt x="7" y="105"/>
                  </a:cubicBezTo>
                  <a:cubicBezTo>
                    <a:pt x="7" y="107"/>
                    <a:pt x="8" y="109"/>
                    <a:pt x="8" y="110"/>
                  </a:cubicBezTo>
                  <a:cubicBezTo>
                    <a:pt x="9" y="111"/>
                    <a:pt x="10" y="112"/>
                    <a:pt x="9" y="112"/>
                  </a:cubicBezTo>
                  <a:cubicBezTo>
                    <a:pt x="9" y="113"/>
                    <a:pt x="8" y="114"/>
                    <a:pt x="8" y="115"/>
                  </a:cubicBezTo>
                  <a:cubicBezTo>
                    <a:pt x="9" y="115"/>
                    <a:pt x="14" y="117"/>
                    <a:pt x="14" y="118"/>
                  </a:cubicBezTo>
                  <a:cubicBezTo>
                    <a:pt x="14" y="120"/>
                    <a:pt x="15" y="122"/>
                    <a:pt x="16" y="123"/>
                  </a:cubicBezTo>
                  <a:cubicBezTo>
                    <a:pt x="17" y="123"/>
                    <a:pt x="20" y="124"/>
                    <a:pt x="22" y="126"/>
                  </a:cubicBezTo>
                  <a:cubicBezTo>
                    <a:pt x="22" y="126"/>
                    <a:pt x="22" y="126"/>
                    <a:pt x="22" y="126"/>
                  </a:cubicBezTo>
                  <a:cubicBezTo>
                    <a:pt x="23" y="125"/>
                    <a:pt x="23" y="125"/>
                    <a:pt x="24" y="125"/>
                  </a:cubicBezTo>
                  <a:cubicBezTo>
                    <a:pt x="26" y="125"/>
                    <a:pt x="25" y="125"/>
                    <a:pt x="26" y="124"/>
                  </a:cubicBezTo>
                  <a:cubicBezTo>
                    <a:pt x="28" y="123"/>
                    <a:pt x="29" y="122"/>
                    <a:pt x="31" y="122"/>
                  </a:cubicBezTo>
                  <a:cubicBezTo>
                    <a:pt x="34" y="123"/>
                    <a:pt x="34" y="124"/>
                    <a:pt x="36" y="125"/>
                  </a:cubicBezTo>
                  <a:cubicBezTo>
                    <a:pt x="37" y="126"/>
                    <a:pt x="37" y="126"/>
                    <a:pt x="37" y="128"/>
                  </a:cubicBezTo>
                  <a:cubicBezTo>
                    <a:pt x="37" y="130"/>
                    <a:pt x="35" y="130"/>
                    <a:pt x="34" y="131"/>
                  </a:cubicBezTo>
                  <a:cubicBezTo>
                    <a:pt x="33" y="131"/>
                    <a:pt x="33" y="132"/>
                    <a:pt x="33" y="134"/>
                  </a:cubicBezTo>
                  <a:cubicBezTo>
                    <a:pt x="32" y="135"/>
                    <a:pt x="30" y="134"/>
                    <a:pt x="29" y="136"/>
                  </a:cubicBezTo>
                  <a:cubicBezTo>
                    <a:pt x="29" y="137"/>
                    <a:pt x="31" y="138"/>
                    <a:pt x="33" y="139"/>
                  </a:cubicBezTo>
                  <a:cubicBezTo>
                    <a:pt x="34" y="141"/>
                    <a:pt x="33" y="141"/>
                    <a:pt x="33" y="142"/>
                  </a:cubicBezTo>
                  <a:cubicBezTo>
                    <a:pt x="33" y="143"/>
                    <a:pt x="30" y="144"/>
                    <a:pt x="29" y="144"/>
                  </a:cubicBezTo>
                  <a:cubicBezTo>
                    <a:pt x="28" y="143"/>
                    <a:pt x="27" y="143"/>
                    <a:pt x="26" y="144"/>
                  </a:cubicBezTo>
                  <a:cubicBezTo>
                    <a:pt x="26" y="144"/>
                    <a:pt x="27" y="145"/>
                    <a:pt x="28" y="146"/>
                  </a:cubicBezTo>
                  <a:cubicBezTo>
                    <a:pt x="30" y="148"/>
                    <a:pt x="29" y="148"/>
                    <a:pt x="29" y="150"/>
                  </a:cubicBezTo>
                  <a:cubicBezTo>
                    <a:pt x="29" y="151"/>
                    <a:pt x="30" y="150"/>
                    <a:pt x="32" y="151"/>
                  </a:cubicBezTo>
                  <a:cubicBezTo>
                    <a:pt x="34" y="152"/>
                    <a:pt x="32" y="152"/>
                    <a:pt x="34" y="153"/>
                  </a:cubicBezTo>
                  <a:cubicBezTo>
                    <a:pt x="35" y="153"/>
                    <a:pt x="35" y="153"/>
                    <a:pt x="36" y="154"/>
                  </a:cubicBezTo>
                  <a:cubicBezTo>
                    <a:pt x="38" y="156"/>
                    <a:pt x="40" y="157"/>
                    <a:pt x="42" y="158"/>
                  </a:cubicBezTo>
                  <a:cubicBezTo>
                    <a:pt x="43" y="158"/>
                    <a:pt x="43" y="158"/>
                    <a:pt x="43" y="157"/>
                  </a:cubicBezTo>
                  <a:cubicBezTo>
                    <a:pt x="43" y="156"/>
                    <a:pt x="45" y="156"/>
                    <a:pt x="46" y="156"/>
                  </a:cubicBezTo>
                  <a:cubicBezTo>
                    <a:pt x="47" y="156"/>
                    <a:pt x="48" y="158"/>
                    <a:pt x="49" y="159"/>
                  </a:cubicBezTo>
                  <a:cubicBezTo>
                    <a:pt x="50" y="160"/>
                    <a:pt x="51" y="161"/>
                    <a:pt x="53" y="162"/>
                  </a:cubicBezTo>
                  <a:cubicBezTo>
                    <a:pt x="54" y="164"/>
                    <a:pt x="54" y="164"/>
                    <a:pt x="56" y="164"/>
                  </a:cubicBezTo>
                  <a:cubicBezTo>
                    <a:pt x="57" y="164"/>
                    <a:pt x="57" y="164"/>
                    <a:pt x="58" y="165"/>
                  </a:cubicBezTo>
                  <a:cubicBezTo>
                    <a:pt x="59" y="167"/>
                    <a:pt x="62" y="167"/>
                    <a:pt x="62" y="167"/>
                  </a:cubicBezTo>
                  <a:cubicBezTo>
                    <a:pt x="62" y="167"/>
                    <a:pt x="62" y="168"/>
                    <a:pt x="63" y="169"/>
                  </a:cubicBezTo>
                  <a:cubicBezTo>
                    <a:pt x="64" y="171"/>
                    <a:pt x="65" y="169"/>
                    <a:pt x="66" y="169"/>
                  </a:cubicBezTo>
                  <a:cubicBezTo>
                    <a:pt x="66" y="169"/>
                    <a:pt x="68" y="170"/>
                    <a:pt x="68" y="171"/>
                  </a:cubicBezTo>
                  <a:cubicBezTo>
                    <a:pt x="69" y="171"/>
                    <a:pt x="70" y="170"/>
                    <a:pt x="71" y="170"/>
                  </a:cubicBezTo>
                  <a:cubicBezTo>
                    <a:pt x="71" y="170"/>
                    <a:pt x="71" y="170"/>
                    <a:pt x="72" y="171"/>
                  </a:cubicBezTo>
                  <a:cubicBezTo>
                    <a:pt x="73" y="172"/>
                    <a:pt x="77" y="172"/>
                    <a:pt x="78" y="172"/>
                  </a:cubicBezTo>
                  <a:cubicBezTo>
                    <a:pt x="79" y="172"/>
                    <a:pt x="80" y="171"/>
                    <a:pt x="82" y="171"/>
                  </a:cubicBezTo>
                  <a:cubicBezTo>
                    <a:pt x="83" y="170"/>
                    <a:pt x="82" y="174"/>
                    <a:pt x="82" y="173"/>
                  </a:cubicBezTo>
                  <a:cubicBezTo>
                    <a:pt x="83" y="172"/>
                    <a:pt x="86" y="169"/>
                    <a:pt x="87" y="169"/>
                  </a:cubicBezTo>
                  <a:cubicBezTo>
                    <a:pt x="88" y="169"/>
                    <a:pt x="88" y="169"/>
                    <a:pt x="90" y="169"/>
                  </a:cubicBezTo>
                  <a:cubicBezTo>
                    <a:pt x="91" y="170"/>
                    <a:pt x="91" y="171"/>
                    <a:pt x="92" y="171"/>
                  </a:cubicBezTo>
                  <a:cubicBezTo>
                    <a:pt x="94" y="171"/>
                    <a:pt x="96" y="171"/>
                    <a:pt x="97" y="171"/>
                  </a:cubicBezTo>
                  <a:cubicBezTo>
                    <a:pt x="98" y="171"/>
                    <a:pt x="99" y="171"/>
                    <a:pt x="100" y="171"/>
                  </a:cubicBezTo>
                  <a:cubicBezTo>
                    <a:pt x="101" y="171"/>
                    <a:pt x="102" y="169"/>
                    <a:pt x="103" y="168"/>
                  </a:cubicBezTo>
                  <a:cubicBezTo>
                    <a:pt x="104" y="168"/>
                    <a:pt x="104" y="166"/>
                    <a:pt x="106" y="166"/>
                  </a:cubicBezTo>
                  <a:cubicBezTo>
                    <a:pt x="108" y="166"/>
                    <a:pt x="110" y="163"/>
                    <a:pt x="111" y="162"/>
                  </a:cubicBezTo>
                  <a:cubicBezTo>
                    <a:pt x="111" y="162"/>
                    <a:pt x="113" y="163"/>
                    <a:pt x="114" y="164"/>
                  </a:cubicBezTo>
                  <a:cubicBezTo>
                    <a:pt x="116" y="165"/>
                    <a:pt x="117" y="162"/>
                    <a:pt x="118" y="162"/>
                  </a:cubicBezTo>
                  <a:cubicBezTo>
                    <a:pt x="119" y="162"/>
                    <a:pt x="119" y="163"/>
                    <a:pt x="121" y="164"/>
                  </a:cubicBezTo>
                  <a:cubicBezTo>
                    <a:pt x="122" y="166"/>
                    <a:pt x="120" y="167"/>
                    <a:pt x="120" y="168"/>
                  </a:cubicBezTo>
                  <a:cubicBezTo>
                    <a:pt x="119" y="169"/>
                    <a:pt x="123" y="169"/>
                    <a:pt x="124" y="169"/>
                  </a:cubicBezTo>
                  <a:cubicBezTo>
                    <a:pt x="125" y="169"/>
                    <a:pt x="125" y="168"/>
                    <a:pt x="126" y="168"/>
                  </a:cubicBezTo>
                  <a:cubicBezTo>
                    <a:pt x="128" y="167"/>
                    <a:pt x="129" y="171"/>
                    <a:pt x="129" y="173"/>
                  </a:cubicBezTo>
                  <a:cubicBezTo>
                    <a:pt x="130" y="174"/>
                    <a:pt x="130" y="173"/>
                    <a:pt x="131" y="173"/>
                  </a:cubicBezTo>
                  <a:cubicBezTo>
                    <a:pt x="132" y="173"/>
                    <a:pt x="132" y="174"/>
                    <a:pt x="132" y="175"/>
                  </a:cubicBezTo>
                  <a:cubicBezTo>
                    <a:pt x="132" y="176"/>
                    <a:pt x="132" y="176"/>
                    <a:pt x="131" y="177"/>
                  </a:cubicBezTo>
                  <a:cubicBezTo>
                    <a:pt x="131" y="178"/>
                    <a:pt x="132" y="178"/>
                    <a:pt x="132" y="180"/>
                  </a:cubicBezTo>
                  <a:cubicBezTo>
                    <a:pt x="132" y="181"/>
                    <a:pt x="132" y="183"/>
                    <a:pt x="131" y="184"/>
                  </a:cubicBezTo>
                  <a:cubicBezTo>
                    <a:pt x="130" y="185"/>
                    <a:pt x="130" y="185"/>
                    <a:pt x="129" y="187"/>
                  </a:cubicBezTo>
                  <a:cubicBezTo>
                    <a:pt x="127" y="188"/>
                    <a:pt x="127" y="188"/>
                    <a:pt x="126" y="189"/>
                  </a:cubicBezTo>
                  <a:cubicBezTo>
                    <a:pt x="125" y="191"/>
                    <a:pt x="126" y="191"/>
                    <a:pt x="126" y="192"/>
                  </a:cubicBezTo>
                  <a:cubicBezTo>
                    <a:pt x="126" y="192"/>
                    <a:pt x="126" y="193"/>
                    <a:pt x="125" y="194"/>
                  </a:cubicBezTo>
                  <a:cubicBezTo>
                    <a:pt x="124" y="196"/>
                    <a:pt x="127" y="194"/>
                    <a:pt x="128" y="194"/>
                  </a:cubicBezTo>
                  <a:cubicBezTo>
                    <a:pt x="129" y="194"/>
                    <a:pt x="132" y="194"/>
                    <a:pt x="133" y="194"/>
                  </a:cubicBezTo>
                  <a:cubicBezTo>
                    <a:pt x="135" y="194"/>
                    <a:pt x="133" y="195"/>
                    <a:pt x="132" y="196"/>
                  </a:cubicBezTo>
                  <a:cubicBezTo>
                    <a:pt x="131" y="197"/>
                    <a:pt x="132" y="198"/>
                    <a:pt x="133" y="199"/>
                  </a:cubicBezTo>
                  <a:cubicBezTo>
                    <a:pt x="133" y="200"/>
                    <a:pt x="135" y="200"/>
                    <a:pt x="136" y="200"/>
                  </a:cubicBezTo>
                  <a:cubicBezTo>
                    <a:pt x="138" y="200"/>
                    <a:pt x="135" y="205"/>
                    <a:pt x="135" y="205"/>
                  </a:cubicBezTo>
                  <a:cubicBezTo>
                    <a:pt x="135" y="206"/>
                    <a:pt x="136" y="206"/>
                    <a:pt x="139" y="206"/>
                  </a:cubicBezTo>
                  <a:cubicBezTo>
                    <a:pt x="141" y="207"/>
                    <a:pt x="139" y="206"/>
                    <a:pt x="139" y="208"/>
                  </a:cubicBezTo>
                  <a:cubicBezTo>
                    <a:pt x="140" y="210"/>
                    <a:pt x="141" y="209"/>
                    <a:pt x="142" y="209"/>
                  </a:cubicBezTo>
                  <a:cubicBezTo>
                    <a:pt x="143" y="209"/>
                    <a:pt x="143" y="209"/>
                    <a:pt x="145" y="209"/>
                  </a:cubicBezTo>
                  <a:cubicBezTo>
                    <a:pt x="146" y="209"/>
                    <a:pt x="145" y="210"/>
                    <a:pt x="148" y="211"/>
                  </a:cubicBezTo>
                  <a:cubicBezTo>
                    <a:pt x="151" y="212"/>
                    <a:pt x="149" y="210"/>
                    <a:pt x="149" y="208"/>
                  </a:cubicBezTo>
                  <a:cubicBezTo>
                    <a:pt x="149" y="206"/>
                    <a:pt x="148" y="206"/>
                    <a:pt x="148" y="204"/>
                  </a:cubicBezTo>
                  <a:cubicBezTo>
                    <a:pt x="147" y="203"/>
                    <a:pt x="149" y="203"/>
                    <a:pt x="150" y="203"/>
                  </a:cubicBezTo>
                  <a:cubicBezTo>
                    <a:pt x="151" y="203"/>
                    <a:pt x="151" y="203"/>
                    <a:pt x="153" y="202"/>
                  </a:cubicBezTo>
                  <a:cubicBezTo>
                    <a:pt x="154" y="202"/>
                    <a:pt x="153" y="202"/>
                    <a:pt x="154" y="203"/>
                  </a:cubicBezTo>
                  <a:cubicBezTo>
                    <a:pt x="155" y="203"/>
                    <a:pt x="157" y="202"/>
                    <a:pt x="157" y="202"/>
                  </a:cubicBezTo>
                  <a:cubicBezTo>
                    <a:pt x="157" y="203"/>
                    <a:pt x="158" y="202"/>
                    <a:pt x="159" y="202"/>
                  </a:cubicBezTo>
                  <a:cubicBezTo>
                    <a:pt x="160" y="201"/>
                    <a:pt x="160" y="203"/>
                    <a:pt x="160" y="203"/>
                  </a:cubicBezTo>
                  <a:cubicBezTo>
                    <a:pt x="161" y="204"/>
                    <a:pt x="162" y="203"/>
                    <a:pt x="162" y="202"/>
                  </a:cubicBezTo>
                  <a:cubicBezTo>
                    <a:pt x="163" y="201"/>
                    <a:pt x="163" y="201"/>
                    <a:pt x="164" y="201"/>
                  </a:cubicBezTo>
                  <a:cubicBezTo>
                    <a:pt x="166" y="201"/>
                    <a:pt x="166" y="199"/>
                    <a:pt x="167" y="198"/>
                  </a:cubicBezTo>
                  <a:cubicBezTo>
                    <a:pt x="168" y="197"/>
                    <a:pt x="169" y="198"/>
                    <a:pt x="170" y="199"/>
                  </a:cubicBezTo>
                  <a:cubicBezTo>
                    <a:pt x="172" y="200"/>
                    <a:pt x="175" y="201"/>
                    <a:pt x="176" y="201"/>
                  </a:cubicBezTo>
                  <a:cubicBezTo>
                    <a:pt x="177" y="201"/>
                    <a:pt x="176" y="203"/>
                    <a:pt x="175" y="203"/>
                  </a:cubicBezTo>
                  <a:cubicBezTo>
                    <a:pt x="174" y="204"/>
                    <a:pt x="176" y="205"/>
                    <a:pt x="178" y="207"/>
                  </a:cubicBezTo>
                  <a:cubicBezTo>
                    <a:pt x="179" y="208"/>
                    <a:pt x="181" y="208"/>
                    <a:pt x="183" y="209"/>
                  </a:cubicBezTo>
                  <a:cubicBezTo>
                    <a:pt x="183" y="209"/>
                    <a:pt x="183" y="209"/>
                    <a:pt x="183" y="209"/>
                  </a:cubicBezTo>
                  <a:cubicBezTo>
                    <a:pt x="183" y="209"/>
                    <a:pt x="183" y="209"/>
                    <a:pt x="183" y="209"/>
                  </a:cubicBezTo>
                  <a:cubicBezTo>
                    <a:pt x="185" y="208"/>
                    <a:pt x="186" y="209"/>
                    <a:pt x="186" y="208"/>
                  </a:cubicBezTo>
                  <a:cubicBezTo>
                    <a:pt x="187" y="207"/>
                    <a:pt x="186" y="206"/>
                    <a:pt x="188" y="207"/>
                  </a:cubicBezTo>
                  <a:cubicBezTo>
                    <a:pt x="189" y="208"/>
                    <a:pt x="189" y="209"/>
                    <a:pt x="190" y="209"/>
                  </a:cubicBezTo>
                  <a:cubicBezTo>
                    <a:pt x="191" y="209"/>
                    <a:pt x="192" y="209"/>
                    <a:pt x="193" y="209"/>
                  </a:cubicBezTo>
                  <a:cubicBezTo>
                    <a:pt x="193" y="209"/>
                    <a:pt x="194" y="210"/>
                    <a:pt x="193" y="210"/>
                  </a:cubicBezTo>
                  <a:cubicBezTo>
                    <a:pt x="193" y="211"/>
                    <a:pt x="192" y="212"/>
                    <a:pt x="193" y="213"/>
                  </a:cubicBezTo>
                  <a:cubicBezTo>
                    <a:pt x="194" y="214"/>
                    <a:pt x="195" y="217"/>
                    <a:pt x="196" y="216"/>
                  </a:cubicBezTo>
                  <a:cubicBezTo>
                    <a:pt x="196" y="216"/>
                    <a:pt x="199" y="215"/>
                    <a:pt x="198" y="215"/>
                  </a:cubicBezTo>
                  <a:cubicBezTo>
                    <a:pt x="197" y="214"/>
                    <a:pt x="195" y="213"/>
                    <a:pt x="196" y="212"/>
                  </a:cubicBezTo>
                  <a:cubicBezTo>
                    <a:pt x="197" y="211"/>
                    <a:pt x="197" y="210"/>
                    <a:pt x="199" y="209"/>
                  </a:cubicBezTo>
                  <a:cubicBezTo>
                    <a:pt x="200" y="209"/>
                    <a:pt x="204" y="208"/>
                    <a:pt x="205" y="207"/>
                  </a:cubicBezTo>
                  <a:cubicBezTo>
                    <a:pt x="205" y="207"/>
                    <a:pt x="206" y="207"/>
                    <a:pt x="206" y="207"/>
                  </a:cubicBezTo>
                  <a:cubicBezTo>
                    <a:pt x="207" y="207"/>
                    <a:pt x="207" y="207"/>
                    <a:pt x="208" y="206"/>
                  </a:cubicBezTo>
                  <a:cubicBezTo>
                    <a:pt x="209" y="206"/>
                    <a:pt x="210" y="207"/>
                    <a:pt x="211" y="206"/>
                  </a:cubicBezTo>
                  <a:cubicBezTo>
                    <a:pt x="212" y="205"/>
                    <a:pt x="212" y="205"/>
                    <a:pt x="213" y="205"/>
                  </a:cubicBezTo>
                  <a:cubicBezTo>
                    <a:pt x="214" y="205"/>
                    <a:pt x="214" y="205"/>
                    <a:pt x="214" y="204"/>
                  </a:cubicBezTo>
                  <a:cubicBezTo>
                    <a:pt x="214" y="203"/>
                    <a:pt x="214" y="202"/>
                    <a:pt x="214" y="202"/>
                  </a:cubicBezTo>
                  <a:cubicBezTo>
                    <a:pt x="215" y="203"/>
                    <a:pt x="215" y="203"/>
                    <a:pt x="216" y="203"/>
                  </a:cubicBezTo>
                  <a:cubicBezTo>
                    <a:pt x="217" y="203"/>
                    <a:pt x="218" y="202"/>
                    <a:pt x="219" y="202"/>
                  </a:cubicBezTo>
                  <a:cubicBezTo>
                    <a:pt x="221" y="202"/>
                    <a:pt x="220" y="202"/>
                    <a:pt x="222" y="202"/>
                  </a:cubicBezTo>
                  <a:cubicBezTo>
                    <a:pt x="224" y="202"/>
                    <a:pt x="225" y="202"/>
                    <a:pt x="226" y="202"/>
                  </a:cubicBezTo>
                  <a:cubicBezTo>
                    <a:pt x="227" y="202"/>
                    <a:pt x="227" y="202"/>
                    <a:pt x="228" y="201"/>
                  </a:cubicBezTo>
                  <a:cubicBezTo>
                    <a:pt x="229" y="201"/>
                    <a:pt x="229" y="201"/>
                    <a:pt x="230" y="201"/>
                  </a:cubicBezTo>
                  <a:cubicBezTo>
                    <a:pt x="230" y="200"/>
                    <a:pt x="230" y="200"/>
                    <a:pt x="231" y="199"/>
                  </a:cubicBezTo>
                  <a:cubicBezTo>
                    <a:pt x="231" y="199"/>
                    <a:pt x="233" y="198"/>
                    <a:pt x="233" y="197"/>
                  </a:cubicBezTo>
                  <a:cubicBezTo>
                    <a:pt x="233" y="197"/>
                    <a:pt x="233" y="197"/>
                    <a:pt x="233" y="197"/>
                  </a:cubicBezTo>
                  <a:cubicBezTo>
                    <a:pt x="233" y="197"/>
                    <a:pt x="233" y="197"/>
                    <a:pt x="234" y="197"/>
                  </a:cubicBezTo>
                  <a:cubicBezTo>
                    <a:pt x="237" y="196"/>
                    <a:pt x="237" y="195"/>
                    <a:pt x="238" y="194"/>
                  </a:cubicBezTo>
                  <a:cubicBezTo>
                    <a:pt x="239" y="194"/>
                    <a:pt x="239" y="193"/>
                    <a:pt x="239" y="193"/>
                  </a:cubicBezTo>
                  <a:cubicBezTo>
                    <a:pt x="239" y="192"/>
                    <a:pt x="240" y="192"/>
                    <a:pt x="241" y="191"/>
                  </a:cubicBezTo>
                  <a:cubicBezTo>
                    <a:pt x="243" y="191"/>
                    <a:pt x="243" y="191"/>
                    <a:pt x="243" y="190"/>
                  </a:cubicBezTo>
                  <a:cubicBezTo>
                    <a:pt x="244" y="189"/>
                    <a:pt x="245" y="188"/>
                    <a:pt x="245" y="188"/>
                  </a:cubicBezTo>
                  <a:cubicBezTo>
                    <a:pt x="246" y="187"/>
                    <a:pt x="247" y="186"/>
                    <a:pt x="247" y="185"/>
                  </a:cubicBezTo>
                  <a:cubicBezTo>
                    <a:pt x="247" y="184"/>
                    <a:pt x="248" y="183"/>
                    <a:pt x="247" y="183"/>
                  </a:cubicBezTo>
                  <a:cubicBezTo>
                    <a:pt x="246" y="183"/>
                    <a:pt x="245" y="182"/>
                    <a:pt x="246" y="182"/>
                  </a:cubicBezTo>
                  <a:cubicBezTo>
                    <a:pt x="247" y="182"/>
                    <a:pt x="249" y="182"/>
                    <a:pt x="249" y="181"/>
                  </a:cubicBezTo>
                  <a:cubicBezTo>
                    <a:pt x="249" y="179"/>
                    <a:pt x="247" y="180"/>
                    <a:pt x="247" y="179"/>
                  </a:cubicBezTo>
                  <a:cubicBezTo>
                    <a:pt x="248" y="178"/>
                    <a:pt x="249" y="179"/>
                    <a:pt x="250" y="178"/>
                  </a:cubicBezTo>
                  <a:cubicBezTo>
                    <a:pt x="251" y="178"/>
                    <a:pt x="254" y="174"/>
                    <a:pt x="254" y="173"/>
                  </a:cubicBezTo>
                  <a:cubicBezTo>
                    <a:pt x="254" y="171"/>
                    <a:pt x="252" y="172"/>
                    <a:pt x="254" y="171"/>
                  </a:cubicBezTo>
                  <a:cubicBezTo>
                    <a:pt x="256" y="170"/>
                    <a:pt x="258" y="170"/>
                    <a:pt x="258" y="168"/>
                  </a:cubicBezTo>
                  <a:cubicBezTo>
                    <a:pt x="258" y="167"/>
                    <a:pt x="258" y="168"/>
                    <a:pt x="257" y="167"/>
                  </a:cubicBezTo>
                  <a:cubicBezTo>
                    <a:pt x="257" y="166"/>
                    <a:pt x="258" y="166"/>
                    <a:pt x="258" y="166"/>
                  </a:cubicBezTo>
                  <a:cubicBezTo>
                    <a:pt x="259" y="166"/>
                    <a:pt x="259" y="166"/>
                    <a:pt x="259" y="165"/>
                  </a:cubicBezTo>
                  <a:cubicBezTo>
                    <a:pt x="259" y="163"/>
                    <a:pt x="258" y="163"/>
                    <a:pt x="259" y="163"/>
                  </a:cubicBezTo>
                  <a:cubicBezTo>
                    <a:pt x="259" y="164"/>
                    <a:pt x="260" y="165"/>
                    <a:pt x="260" y="164"/>
                  </a:cubicBezTo>
                  <a:cubicBezTo>
                    <a:pt x="260" y="164"/>
                    <a:pt x="262" y="163"/>
                    <a:pt x="261" y="162"/>
                  </a:cubicBezTo>
                  <a:cubicBezTo>
                    <a:pt x="260" y="161"/>
                    <a:pt x="259" y="161"/>
                    <a:pt x="260" y="161"/>
                  </a:cubicBezTo>
                  <a:cubicBezTo>
                    <a:pt x="261" y="160"/>
                    <a:pt x="263" y="158"/>
                    <a:pt x="262" y="159"/>
                  </a:cubicBezTo>
                  <a:cubicBezTo>
                    <a:pt x="262" y="159"/>
                    <a:pt x="261" y="160"/>
                    <a:pt x="259" y="159"/>
                  </a:cubicBezTo>
                  <a:cubicBezTo>
                    <a:pt x="258" y="158"/>
                    <a:pt x="258" y="157"/>
                    <a:pt x="257" y="157"/>
                  </a:cubicBezTo>
                  <a:cubicBezTo>
                    <a:pt x="256" y="157"/>
                    <a:pt x="256" y="158"/>
                    <a:pt x="255" y="158"/>
                  </a:cubicBezTo>
                  <a:cubicBezTo>
                    <a:pt x="254" y="158"/>
                    <a:pt x="253" y="157"/>
                    <a:pt x="252" y="157"/>
                  </a:cubicBezTo>
                  <a:cubicBezTo>
                    <a:pt x="251" y="157"/>
                    <a:pt x="253" y="157"/>
                    <a:pt x="254" y="157"/>
                  </a:cubicBezTo>
                  <a:cubicBezTo>
                    <a:pt x="255" y="156"/>
                    <a:pt x="256" y="155"/>
                    <a:pt x="257" y="154"/>
                  </a:cubicBezTo>
                  <a:cubicBezTo>
                    <a:pt x="259" y="153"/>
                    <a:pt x="261" y="154"/>
                    <a:pt x="260" y="152"/>
                  </a:cubicBezTo>
                  <a:cubicBezTo>
                    <a:pt x="259" y="151"/>
                    <a:pt x="260" y="151"/>
                    <a:pt x="258" y="151"/>
                  </a:cubicBezTo>
                  <a:cubicBezTo>
                    <a:pt x="257" y="150"/>
                    <a:pt x="257" y="150"/>
                    <a:pt x="256" y="148"/>
                  </a:cubicBezTo>
                  <a:cubicBezTo>
                    <a:pt x="254" y="147"/>
                    <a:pt x="254" y="147"/>
                    <a:pt x="253" y="147"/>
                  </a:cubicBezTo>
                  <a:cubicBezTo>
                    <a:pt x="252" y="147"/>
                    <a:pt x="251" y="147"/>
                    <a:pt x="250" y="146"/>
                  </a:cubicBezTo>
                  <a:cubicBezTo>
                    <a:pt x="249" y="145"/>
                    <a:pt x="248" y="144"/>
                    <a:pt x="249" y="145"/>
                  </a:cubicBezTo>
                  <a:cubicBezTo>
                    <a:pt x="250" y="146"/>
                    <a:pt x="251" y="147"/>
                    <a:pt x="252" y="146"/>
                  </a:cubicBezTo>
                  <a:cubicBezTo>
                    <a:pt x="253" y="146"/>
                    <a:pt x="255" y="146"/>
                    <a:pt x="256" y="147"/>
                  </a:cubicBezTo>
                  <a:cubicBezTo>
                    <a:pt x="257" y="148"/>
                    <a:pt x="258" y="148"/>
                    <a:pt x="258" y="148"/>
                  </a:cubicBezTo>
                  <a:cubicBezTo>
                    <a:pt x="259" y="148"/>
                    <a:pt x="261" y="149"/>
                    <a:pt x="260" y="148"/>
                  </a:cubicBezTo>
                  <a:cubicBezTo>
                    <a:pt x="259" y="146"/>
                    <a:pt x="258" y="145"/>
                    <a:pt x="257" y="144"/>
                  </a:cubicBezTo>
                  <a:cubicBezTo>
                    <a:pt x="255" y="143"/>
                    <a:pt x="255" y="142"/>
                    <a:pt x="254" y="142"/>
                  </a:cubicBezTo>
                  <a:cubicBezTo>
                    <a:pt x="254" y="141"/>
                    <a:pt x="254" y="138"/>
                    <a:pt x="253" y="136"/>
                  </a:cubicBezTo>
                  <a:cubicBezTo>
                    <a:pt x="252" y="133"/>
                    <a:pt x="253" y="133"/>
                    <a:pt x="250" y="132"/>
                  </a:cubicBezTo>
                  <a:cubicBezTo>
                    <a:pt x="248" y="131"/>
                    <a:pt x="245" y="130"/>
                    <a:pt x="246" y="129"/>
                  </a:cubicBezTo>
                  <a:cubicBezTo>
                    <a:pt x="247" y="127"/>
                    <a:pt x="249" y="125"/>
                    <a:pt x="250" y="123"/>
                  </a:cubicBezTo>
                  <a:cubicBezTo>
                    <a:pt x="251" y="122"/>
                    <a:pt x="251" y="122"/>
                    <a:pt x="251" y="121"/>
                  </a:cubicBezTo>
                  <a:cubicBezTo>
                    <a:pt x="250" y="121"/>
                    <a:pt x="250" y="120"/>
                    <a:pt x="251" y="121"/>
                  </a:cubicBezTo>
                  <a:cubicBezTo>
                    <a:pt x="253" y="121"/>
                    <a:pt x="254" y="121"/>
                    <a:pt x="254" y="120"/>
                  </a:cubicBezTo>
                  <a:cubicBezTo>
                    <a:pt x="254" y="119"/>
                    <a:pt x="253" y="119"/>
                    <a:pt x="254" y="118"/>
                  </a:cubicBezTo>
                  <a:cubicBezTo>
                    <a:pt x="255" y="118"/>
                    <a:pt x="255" y="118"/>
                    <a:pt x="257" y="117"/>
                  </a:cubicBezTo>
                  <a:cubicBezTo>
                    <a:pt x="258" y="116"/>
                    <a:pt x="262" y="115"/>
                    <a:pt x="262" y="116"/>
                  </a:cubicBezTo>
                  <a:cubicBezTo>
                    <a:pt x="262" y="116"/>
                    <a:pt x="262" y="117"/>
                    <a:pt x="263" y="116"/>
                  </a:cubicBezTo>
                  <a:cubicBezTo>
                    <a:pt x="264" y="116"/>
                    <a:pt x="265" y="115"/>
                    <a:pt x="265" y="114"/>
                  </a:cubicBezTo>
                  <a:cubicBezTo>
                    <a:pt x="265" y="113"/>
                    <a:pt x="264" y="112"/>
                    <a:pt x="263" y="112"/>
                  </a:cubicBezTo>
                  <a:cubicBezTo>
                    <a:pt x="261" y="112"/>
                    <a:pt x="260" y="113"/>
                    <a:pt x="258" y="112"/>
                  </a:cubicBezTo>
                  <a:cubicBezTo>
                    <a:pt x="256" y="111"/>
                    <a:pt x="256" y="110"/>
                    <a:pt x="254" y="111"/>
                  </a:cubicBezTo>
                  <a:cubicBezTo>
                    <a:pt x="253" y="111"/>
                    <a:pt x="251" y="114"/>
                    <a:pt x="249" y="114"/>
                  </a:cubicBezTo>
                  <a:cubicBezTo>
                    <a:pt x="247" y="114"/>
                    <a:pt x="245" y="114"/>
                    <a:pt x="245" y="113"/>
                  </a:cubicBezTo>
                  <a:cubicBezTo>
                    <a:pt x="244" y="113"/>
                    <a:pt x="245" y="111"/>
                    <a:pt x="245" y="110"/>
                  </a:cubicBezTo>
                  <a:cubicBezTo>
                    <a:pt x="245" y="109"/>
                    <a:pt x="243" y="108"/>
                    <a:pt x="241" y="108"/>
                  </a:cubicBezTo>
                  <a:cubicBezTo>
                    <a:pt x="239" y="108"/>
                    <a:pt x="236" y="106"/>
                    <a:pt x="236" y="104"/>
                  </a:cubicBezTo>
                  <a:cubicBezTo>
                    <a:pt x="237" y="103"/>
                    <a:pt x="238" y="101"/>
                    <a:pt x="239" y="101"/>
                  </a:cubicBezTo>
                  <a:cubicBezTo>
                    <a:pt x="241" y="102"/>
                    <a:pt x="241" y="102"/>
                    <a:pt x="242" y="102"/>
                  </a:cubicBezTo>
                  <a:cubicBezTo>
                    <a:pt x="244" y="101"/>
                    <a:pt x="244" y="101"/>
                    <a:pt x="246" y="100"/>
                  </a:cubicBezTo>
                  <a:cubicBezTo>
                    <a:pt x="247" y="98"/>
                    <a:pt x="249" y="97"/>
                    <a:pt x="250" y="96"/>
                  </a:cubicBezTo>
                  <a:cubicBezTo>
                    <a:pt x="252" y="95"/>
                    <a:pt x="254" y="92"/>
                    <a:pt x="255" y="91"/>
                  </a:cubicBezTo>
                  <a:cubicBezTo>
                    <a:pt x="256" y="90"/>
                    <a:pt x="257" y="90"/>
                    <a:pt x="259" y="90"/>
                  </a:cubicBezTo>
                  <a:cubicBezTo>
                    <a:pt x="261" y="91"/>
                    <a:pt x="263" y="91"/>
                    <a:pt x="263" y="92"/>
                  </a:cubicBezTo>
                  <a:cubicBezTo>
                    <a:pt x="262" y="93"/>
                    <a:pt x="261" y="97"/>
                    <a:pt x="260" y="97"/>
                  </a:cubicBezTo>
                  <a:cubicBezTo>
                    <a:pt x="258" y="97"/>
                    <a:pt x="256" y="99"/>
                    <a:pt x="257" y="99"/>
                  </a:cubicBezTo>
                  <a:cubicBezTo>
                    <a:pt x="259" y="99"/>
                    <a:pt x="259" y="100"/>
                    <a:pt x="260" y="100"/>
                  </a:cubicBezTo>
                  <a:cubicBezTo>
                    <a:pt x="261" y="100"/>
                    <a:pt x="260" y="100"/>
                    <a:pt x="260" y="100"/>
                  </a:cubicBezTo>
                  <a:cubicBezTo>
                    <a:pt x="259" y="101"/>
                    <a:pt x="258" y="103"/>
                    <a:pt x="257" y="103"/>
                  </a:cubicBezTo>
                  <a:cubicBezTo>
                    <a:pt x="257" y="103"/>
                    <a:pt x="257" y="104"/>
                    <a:pt x="258" y="104"/>
                  </a:cubicBezTo>
                  <a:cubicBezTo>
                    <a:pt x="258" y="103"/>
                    <a:pt x="260" y="102"/>
                    <a:pt x="261" y="102"/>
                  </a:cubicBezTo>
                  <a:cubicBezTo>
                    <a:pt x="262" y="101"/>
                    <a:pt x="264" y="99"/>
                    <a:pt x="265" y="99"/>
                  </a:cubicBezTo>
                  <a:cubicBezTo>
                    <a:pt x="267" y="98"/>
                    <a:pt x="270" y="96"/>
                    <a:pt x="273" y="97"/>
                  </a:cubicBezTo>
                  <a:cubicBezTo>
                    <a:pt x="273" y="97"/>
                    <a:pt x="273" y="97"/>
                    <a:pt x="274" y="97"/>
                  </a:cubicBezTo>
                  <a:cubicBezTo>
                    <a:pt x="274" y="97"/>
                    <a:pt x="274" y="97"/>
                    <a:pt x="274" y="97"/>
                  </a:cubicBezTo>
                  <a:cubicBezTo>
                    <a:pt x="275" y="93"/>
                    <a:pt x="281" y="91"/>
                    <a:pt x="283" y="90"/>
                  </a:cubicBezTo>
                  <a:cubicBezTo>
                    <a:pt x="284" y="89"/>
                    <a:pt x="287" y="85"/>
                    <a:pt x="287" y="85"/>
                  </a:cubicBezTo>
                  <a:cubicBezTo>
                    <a:pt x="288" y="85"/>
                    <a:pt x="289" y="85"/>
                    <a:pt x="291" y="86"/>
                  </a:cubicBezTo>
                  <a:cubicBezTo>
                    <a:pt x="293" y="87"/>
                    <a:pt x="295" y="86"/>
                    <a:pt x="296" y="86"/>
                  </a:cubicBezTo>
                  <a:cubicBezTo>
                    <a:pt x="297" y="86"/>
                    <a:pt x="296" y="84"/>
                    <a:pt x="295" y="83"/>
                  </a:cubicBezTo>
                  <a:cubicBezTo>
                    <a:pt x="295" y="82"/>
                    <a:pt x="300" y="82"/>
                    <a:pt x="301" y="82"/>
                  </a:cubicBezTo>
                  <a:cubicBezTo>
                    <a:pt x="302" y="82"/>
                    <a:pt x="302" y="80"/>
                    <a:pt x="303" y="80"/>
                  </a:cubicBezTo>
                  <a:cubicBezTo>
                    <a:pt x="304" y="80"/>
                    <a:pt x="304" y="80"/>
                    <a:pt x="305" y="79"/>
                  </a:cubicBezTo>
                  <a:cubicBezTo>
                    <a:pt x="305" y="77"/>
                    <a:pt x="305" y="77"/>
                    <a:pt x="306" y="76"/>
                  </a:cubicBezTo>
                  <a:cubicBezTo>
                    <a:pt x="307" y="76"/>
                    <a:pt x="309" y="79"/>
                    <a:pt x="309" y="79"/>
                  </a:cubicBezTo>
                  <a:cubicBezTo>
                    <a:pt x="309" y="79"/>
                    <a:pt x="309" y="79"/>
                    <a:pt x="309" y="79"/>
                  </a:cubicBezTo>
                  <a:cubicBezTo>
                    <a:pt x="309" y="77"/>
                    <a:pt x="311" y="77"/>
                    <a:pt x="312" y="76"/>
                  </a:cubicBezTo>
                  <a:cubicBezTo>
                    <a:pt x="313" y="75"/>
                    <a:pt x="312" y="73"/>
                    <a:pt x="313" y="72"/>
                  </a:cubicBezTo>
                  <a:cubicBezTo>
                    <a:pt x="314" y="70"/>
                    <a:pt x="313" y="69"/>
                    <a:pt x="312" y="66"/>
                  </a:cubicBezTo>
                  <a:cubicBezTo>
                    <a:pt x="311" y="64"/>
                    <a:pt x="311" y="63"/>
                    <a:pt x="312" y="64"/>
                  </a:cubicBezTo>
                  <a:cubicBezTo>
                    <a:pt x="313" y="64"/>
                    <a:pt x="316" y="61"/>
                    <a:pt x="317" y="61"/>
                  </a:cubicBezTo>
                  <a:cubicBezTo>
                    <a:pt x="317" y="60"/>
                    <a:pt x="320" y="61"/>
                    <a:pt x="321" y="62"/>
                  </a:cubicBezTo>
                  <a:cubicBezTo>
                    <a:pt x="322" y="63"/>
                    <a:pt x="323" y="61"/>
                    <a:pt x="324" y="60"/>
                  </a:cubicBezTo>
                  <a:cubicBezTo>
                    <a:pt x="324" y="59"/>
                    <a:pt x="326" y="56"/>
                    <a:pt x="327" y="54"/>
                  </a:cubicBezTo>
                  <a:cubicBezTo>
                    <a:pt x="328" y="52"/>
                    <a:pt x="329" y="48"/>
                    <a:pt x="330" y="47"/>
                  </a:cubicBezTo>
                  <a:cubicBezTo>
                    <a:pt x="331" y="46"/>
                    <a:pt x="332" y="45"/>
                    <a:pt x="333" y="44"/>
                  </a:cubicBezTo>
                  <a:cubicBezTo>
                    <a:pt x="333" y="44"/>
                    <a:pt x="332" y="42"/>
                    <a:pt x="332" y="41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81" name="Freeform 696">
              <a:extLst>
                <a:ext uri="{FF2B5EF4-FFF2-40B4-BE49-F238E27FC236}">
                  <a16:creationId xmlns:a16="http://schemas.microsoft.com/office/drawing/2014/main" id="{A6077B8E-23D3-0F87-AE99-1D13A0F8D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461" y="3214998"/>
              <a:ext cx="561837" cy="239748"/>
            </a:xfrm>
            <a:custGeom>
              <a:avLst/>
              <a:gdLst>
                <a:gd name="T0" fmla="*/ 1 w 174"/>
                <a:gd name="T1" fmla="*/ 24 h 74"/>
                <a:gd name="T2" fmla="*/ 14 w 174"/>
                <a:gd name="T3" fmla="*/ 33 h 74"/>
                <a:gd name="T4" fmla="*/ 16 w 174"/>
                <a:gd name="T5" fmla="*/ 41 h 74"/>
                <a:gd name="T6" fmla="*/ 16 w 174"/>
                <a:gd name="T7" fmla="*/ 46 h 74"/>
                <a:gd name="T8" fmla="*/ 28 w 174"/>
                <a:gd name="T9" fmla="*/ 50 h 74"/>
                <a:gd name="T10" fmla="*/ 40 w 174"/>
                <a:gd name="T11" fmla="*/ 60 h 74"/>
                <a:gd name="T12" fmla="*/ 53 w 174"/>
                <a:gd name="T13" fmla="*/ 66 h 74"/>
                <a:gd name="T14" fmla="*/ 70 w 174"/>
                <a:gd name="T15" fmla="*/ 66 h 74"/>
                <a:gd name="T16" fmla="*/ 81 w 174"/>
                <a:gd name="T17" fmla="*/ 72 h 74"/>
                <a:gd name="T18" fmla="*/ 89 w 174"/>
                <a:gd name="T19" fmla="*/ 73 h 74"/>
                <a:gd name="T20" fmla="*/ 115 w 174"/>
                <a:gd name="T21" fmla="*/ 68 h 74"/>
                <a:gd name="T22" fmla="*/ 128 w 174"/>
                <a:gd name="T23" fmla="*/ 58 h 74"/>
                <a:gd name="T24" fmla="*/ 129 w 174"/>
                <a:gd name="T25" fmla="*/ 50 h 74"/>
                <a:gd name="T26" fmla="*/ 143 w 174"/>
                <a:gd name="T27" fmla="*/ 48 h 74"/>
                <a:gd name="T28" fmla="*/ 153 w 174"/>
                <a:gd name="T29" fmla="*/ 45 h 74"/>
                <a:gd name="T30" fmla="*/ 167 w 174"/>
                <a:gd name="T31" fmla="*/ 38 h 74"/>
                <a:gd name="T32" fmla="*/ 168 w 174"/>
                <a:gd name="T33" fmla="*/ 32 h 74"/>
                <a:gd name="T34" fmla="*/ 159 w 174"/>
                <a:gd name="T35" fmla="*/ 31 h 74"/>
                <a:gd name="T36" fmla="*/ 151 w 174"/>
                <a:gd name="T37" fmla="*/ 31 h 74"/>
                <a:gd name="T38" fmla="*/ 150 w 174"/>
                <a:gd name="T39" fmla="*/ 27 h 74"/>
                <a:gd name="T40" fmla="*/ 153 w 174"/>
                <a:gd name="T41" fmla="*/ 14 h 74"/>
                <a:gd name="T42" fmla="*/ 141 w 174"/>
                <a:gd name="T43" fmla="*/ 14 h 74"/>
                <a:gd name="T44" fmla="*/ 121 w 174"/>
                <a:gd name="T45" fmla="*/ 21 h 74"/>
                <a:gd name="T46" fmla="*/ 107 w 174"/>
                <a:gd name="T47" fmla="*/ 17 h 74"/>
                <a:gd name="T48" fmla="*/ 99 w 174"/>
                <a:gd name="T49" fmla="*/ 13 h 74"/>
                <a:gd name="T50" fmla="*/ 84 w 174"/>
                <a:gd name="T51" fmla="*/ 14 h 74"/>
                <a:gd name="T52" fmla="*/ 75 w 174"/>
                <a:gd name="T53" fmla="*/ 7 h 74"/>
                <a:gd name="T54" fmla="*/ 67 w 174"/>
                <a:gd name="T55" fmla="*/ 2 h 74"/>
                <a:gd name="T56" fmla="*/ 57 w 174"/>
                <a:gd name="T57" fmla="*/ 0 h 74"/>
                <a:gd name="T58" fmla="*/ 53 w 174"/>
                <a:gd name="T59" fmla="*/ 12 h 74"/>
                <a:gd name="T60" fmla="*/ 43 w 174"/>
                <a:gd name="T61" fmla="*/ 15 h 74"/>
                <a:gd name="T62" fmla="*/ 35 w 174"/>
                <a:gd name="T63" fmla="*/ 13 h 74"/>
                <a:gd name="T64" fmla="*/ 25 w 174"/>
                <a:gd name="T65" fmla="*/ 9 h 74"/>
                <a:gd name="T66" fmla="*/ 10 w 174"/>
                <a:gd name="T67" fmla="*/ 16 h 74"/>
                <a:gd name="T68" fmla="*/ 0 w 174"/>
                <a:gd name="T69" fmla="*/ 2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" h="74">
                  <a:moveTo>
                    <a:pt x="0" y="20"/>
                  </a:moveTo>
                  <a:cubicBezTo>
                    <a:pt x="0" y="20"/>
                    <a:pt x="0" y="21"/>
                    <a:pt x="1" y="24"/>
                  </a:cubicBezTo>
                  <a:cubicBezTo>
                    <a:pt x="2" y="27"/>
                    <a:pt x="7" y="28"/>
                    <a:pt x="9" y="29"/>
                  </a:cubicBezTo>
                  <a:cubicBezTo>
                    <a:pt x="12" y="30"/>
                    <a:pt x="13" y="31"/>
                    <a:pt x="14" y="33"/>
                  </a:cubicBezTo>
                  <a:cubicBezTo>
                    <a:pt x="15" y="35"/>
                    <a:pt x="16" y="37"/>
                    <a:pt x="17" y="39"/>
                  </a:cubicBezTo>
                  <a:cubicBezTo>
                    <a:pt x="18" y="40"/>
                    <a:pt x="17" y="40"/>
                    <a:pt x="16" y="41"/>
                  </a:cubicBezTo>
                  <a:cubicBezTo>
                    <a:pt x="16" y="41"/>
                    <a:pt x="17" y="42"/>
                    <a:pt x="17" y="43"/>
                  </a:cubicBezTo>
                  <a:cubicBezTo>
                    <a:pt x="17" y="44"/>
                    <a:pt x="16" y="45"/>
                    <a:pt x="16" y="46"/>
                  </a:cubicBezTo>
                  <a:cubicBezTo>
                    <a:pt x="15" y="48"/>
                    <a:pt x="17" y="48"/>
                    <a:pt x="19" y="49"/>
                  </a:cubicBezTo>
                  <a:cubicBezTo>
                    <a:pt x="21" y="50"/>
                    <a:pt x="26" y="50"/>
                    <a:pt x="28" y="50"/>
                  </a:cubicBezTo>
                  <a:cubicBezTo>
                    <a:pt x="31" y="51"/>
                    <a:pt x="34" y="54"/>
                    <a:pt x="35" y="55"/>
                  </a:cubicBezTo>
                  <a:cubicBezTo>
                    <a:pt x="35" y="55"/>
                    <a:pt x="39" y="57"/>
                    <a:pt x="40" y="60"/>
                  </a:cubicBezTo>
                  <a:cubicBezTo>
                    <a:pt x="42" y="63"/>
                    <a:pt x="43" y="64"/>
                    <a:pt x="44" y="65"/>
                  </a:cubicBezTo>
                  <a:cubicBezTo>
                    <a:pt x="44" y="66"/>
                    <a:pt x="50" y="66"/>
                    <a:pt x="53" y="66"/>
                  </a:cubicBezTo>
                  <a:cubicBezTo>
                    <a:pt x="56" y="66"/>
                    <a:pt x="62" y="65"/>
                    <a:pt x="62" y="65"/>
                  </a:cubicBezTo>
                  <a:cubicBezTo>
                    <a:pt x="63" y="65"/>
                    <a:pt x="69" y="66"/>
                    <a:pt x="70" y="66"/>
                  </a:cubicBezTo>
                  <a:cubicBezTo>
                    <a:pt x="72" y="67"/>
                    <a:pt x="74" y="69"/>
                    <a:pt x="75" y="70"/>
                  </a:cubicBezTo>
                  <a:cubicBezTo>
                    <a:pt x="76" y="70"/>
                    <a:pt x="79" y="70"/>
                    <a:pt x="81" y="72"/>
                  </a:cubicBezTo>
                  <a:cubicBezTo>
                    <a:pt x="84" y="73"/>
                    <a:pt x="85" y="72"/>
                    <a:pt x="86" y="72"/>
                  </a:cubicBezTo>
                  <a:cubicBezTo>
                    <a:pt x="87" y="72"/>
                    <a:pt x="88" y="73"/>
                    <a:pt x="89" y="73"/>
                  </a:cubicBezTo>
                  <a:cubicBezTo>
                    <a:pt x="90" y="74"/>
                    <a:pt x="90" y="74"/>
                    <a:pt x="95" y="71"/>
                  </a:cubicBezTo>
                  <a:cubicBezTo>
                    <a:pt x="100" y="68"/>
                    <a:pt x="110" y="68"/>
                    <a:pt x="115" y="68"/>
                  </a:cubicBezTo>
                  <a:cubicBezTo>
                    <a:pt x="120" y="67"/>
                    <a:pt x="122" y="62"/>
                    <a:pt x="124" y="61"/>
                  </a:cubicBezTo>
                  <a:cubicBezTo>
                    <a:pt x="126" y="60"/>
                    <a:pt x="128" y="59"/>
                    <a:pt x="128" y="58"/>
                  </a:cubicBezTo>
                  <a:cubicBezTo>
                    <a:pt x="128" y="57"/>
                    <a:pt x="126" y="56"/>
                    <a:pt x="126" y="54"/>
                  </a:cubicBezTo>
                  <a:cubicBezTo>
                    <a:pt x="126" y="53"/>
                    <a:pt x="127" y="50"/>
                    <a:pt x="129" y="50"/>
                  </a:cubicBezTo>
                  <a:cubicBezTo>
                    <a:pt x="131" y="50"/>
                    <a:pt x="134" y="52"/>
                    <a:pt x="137" y="52"/>
                  </a:cubicBezTo>
                  <a:cubicBezTo>
                    <a:pt x="139" y="52"/>
                    <a:pt x="142" y="49"/>
                    <a:pt x="143" y="48"/>
                  </a:cubicBezTo>
                  <a:cubicBezTo>
                    <a:pt x="144" y="47"/>
                    <a:pt x="146" y="48"/>
                    <a:pt x="148" y="48"/>
                  </a:cubicBezTo>
                  <a:cubicBezTo>
                    <a:pt x="149" y="48"/>
                    <a:pt x="152" y="46"/>
                    <a:pt x="153" y="45"/>
                  </a:cubicBezTo>
                  <a:cubicBezTo>
                    <a:pt x="154" y="44"/>
                    <a:pt x="154" y="42"/>
                    <a:pt x="155" y="41"/>
                  </a:cubicBezTo>
                  <a:cubicBezTo>
                    <a:pt x="156" y="40"/>
                    <a:pt x="165" y="39"/>
                    <a:pt x="167" y="38"/>
                  </a:cubicBezTo>
                  <a:cubicBezTo>
                    <a:pt x="169" y="38"/>
                    <a:pt x="171" y="39"/>
                    <a:pt x="172" y="39"/>
                  </a:cubicBezTo>
                  <a:cubicBezTo>
                    <a:pt x="174" y="39"/>
                    <a:pt x="170" y="35"/>
                    <a:pt x="168" y="32"/>
                  </a:cubicBezTo>
                  <a:cubicBezTo>
                    <a:pt x="166" y="29"/>
                    <a:pt x="164" y="30"/>
                    <a:pt x="162" y="30"/>
                  </a:cubicBezTo>
                  <a:cubicBezTo>
                    <a:pt x="161" y="30"/>
                    <a:pt x="160" y="31"/>
                    <a:pt x="159" y="31"/>
                  </a:cubicBezTo>
                  <a:cubicBezTo>
                    <a:pt x="158" y="32"/>
                    <a:pt x="157" y="31"/>
                    <a:pt x="154" y="30"/>
                  </a:cubicBezTo>
                  <a:cubicBezTo>
                    <a:pt x="151" y="30"/>
                    <a:pt x="152" y="31"/>
                    <a:pt x="151" y="31"/>
                  </a:cubicBezTo>
                  <a:cubicBezTo>
                    <a:pt x="150" y="32"/>
                    <a:pt x="149" y="30"/>
                    <a:pt x="149" y="29"/>
                  </a:cubicBezTo>
                  <a:cubicBezTo>
                    <a:pt x="149" y="29"/>
                    <a:pt x="150" y="28"/>
                    <a:pt x="150" y="27"/>
                  </a:cubicBezTo>
                  <a:cubicBezTo>
                    <a:pt x="150" y="26"/>
                    <a:pt x="155" y="16"/>
                    <a:pt x="155" y="16"/>
                  </a:cubicBezTo>
                  <a:cubicBezTo>
                    <a:pt x="154" y="15"/>
                    <a:pt x="153" y="15"/>
                    <a:pt x="153" y="14"/>
                  </a:cubicBezTo>
                  <a:cubicBezTo>
                    <a:pt x="151" y="13"/>
                    <a:pt x="150" y="16"/>
                    <a:pt x="147" y="15"/>
                  </a:cubicBezTo>
                  <a:cubicBezTo>
                    <a:pt x="145" y="14"/>
                    <a:pt x="142" y="13"/>
                    <a:pt x="141" y="14"/>
                  </a:cubicBezTo>
                  <a:cubicBezTo>
                    <a:pt x="139" y="14"/>
                    <a:pt x="136" y="17"/>
                    <a:pt x="133" y="18"/>
                  </a:cubicBezTo>
                  <a:cubicBezTo>
                    <a:pt x="131" y="19"/>
                    <a:pt x="122" y="21"/>
                    <a:pt x="121" y="21"/>
                  </a:cubicBezTo>
                  <a:cubicBezTo>
                    <a:pt x="119" y="21"/>
                    <a:pt x="116" y="20"/>
                    <a:pt x="114" y="20"/>
                  </a:cubicBezTo>
                  <a:cubicBezTo>
                    <a:pt x="112" y="20"/>
                    <a:pt x="108" y="18"/>
                    <a:pt x="107" y="17"/>
                  </a:cubicBezTo>
                  <a:cubicBezTo>
                    <a:pt x="106" y="16"/>
                    <a:pt x="105" y="15"/>
                    <a:pt x="104" y="15"/>
                  </a:cubicBezTo>
                  <a:cubicBezTo>
                    <a:pt x="102" y="15"/>
                    <a:pt x="100" y="13"/>
                    <a:pt x="99" y="13"/>
                  </a:cubicBezTo>
                  <a:cubicBezTo>
                    <a:pt x="98" y="13"/>
                    <a:pt x="96" y="12"/>
                    <a:pt x="93" y="12"/>
                  </a:cubicBezTo>
                  <a:cubicBezTo>
                    <a:pt x="90" y="11"/>
                    <a:pt x="86" y="14"/>
                    <a:pt x="84" y="14"/>
                  </a:cubicBezTo>
                  <a:cubicBezTo>
                    <a:pt x="83" y="14"/>
                    <a:pt x="80" y="13"/>
                    <a:pt x="78" y="12"/>
                  </a:cubicBezTo>
                  <a:cubicBezTo>
                    <a:pt x="76" y="11"/>
                    <a:pt x="75" y="8"/>
                    <a:pt x="75" y="7"/>
                  </a:cubicBezTo>
                  <a:cubicBezTo>
                    <a:pt x="75" y="5"/>
                    <a:pt x="74" y="5"/>
                    <a:pt x="73" y="5"/>
                  </a:cubicBezTo>
                  <a:cubicBezTo>
                    <a:pt x="71" y="4"/>
                    <a:pt x="69" y="3"/>
                    <a:pt x="67" y="2"/>
                  </a:cubicBezTo>
                  <a:cubicBezTo>
                    <a:pt x="65" y="2"/>
                    <a:pt x="63" y="2"/>
                    <a:pt x="62" y="2"/>
                  </a:cubicBezTo>
                  <a:cubicBezTo>
                    <a:pt x="60" y="1"/>
                    <a:pt x="58" y="0"/>
                    <a:pt x="57" y="0"/>
                  </a:cubicBezTo>
                  <a:cubicBezTo>
                    <a:pt x="56" y="0"/>
                    <a:pt x="51" y="5"/>
                    <a:pt x="50" y="6"/>
                  </a:cubicBezTo>
                  <a:cubicBezTo>
                    <a:pt x="50" y="8"/>
                    <a:pt x="52" y="11"/>
                    <a:pt x="53" y="12"/>
                  </a:cubicBezTo>
                  <a:cubicBezTo>
                    <a:pt x="53" y="14"/>
                    <a:pt x="50" y="15"/>
                    <a:pt x="49" y="16"/>
                  </a:cubicBezTo>
                  <a:cubicBezTo>
                    <a:pt x="48" y="18"/>
                    <a:pt x="45" y="16"/>
                    <a:pt x="43" y="15"/>
                  </a:cubicBezTo>
                  <a:cubicBezTo>
                    <a:pt x="41" y="14"/>
                    <a:pt x="41" y="15"/>
                    <a:pt x="39" y="15"/>
                  </a:cubicBezTo>
                  <a:cubicBezTo>
                    <a:pt x="37" y="15"/>
                    <a:pt x="36" y="14"/>
                    <a:pt x="35" y="13"/>
                  </a:cubicBezTo>
                  <a:cubicBezTo>
                    <a:pt x="34" y="13"/>
                    <a:pt x="34" y="11"/>
                    <a:pt x="32" y="10"/>
                  </a:cubicBezTo>
                  <a:cubicBezTo>
                    <a:pt x="30" y="10"/>
                    <a:pt x="27" y="9"/>
                    <a:pt x="25" y="9"/>
                  </a:cubicBezTo>
                  <a:cubicBezTo>
                    <a:pt x="23" y="8"/>
                    <a:pt x="19" y="11"/>
                    <a:pt x="17" y="12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9" y="17"/>
                    <a:pt x="4" y="18"/>
                    <a:pt x="3" y="19"/>
                  </a:cubicBezTo>
                  <a:cubicBezTo>
                    <a:pt x="3" y="19"/>
                    <a:pt x="2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86" name="Freeform 701">
              <a:extLst>
                <a:ext uri="{FF2B5EF4-FFF2-40B4-BE49-F238E27FC236}">
                  <a16:creationId xmlns:a16="http://schemas.microsoft.com/office/drawing/2014/main" id="{1C10CEAD-7FA8-D4A3-4A8C-8FF7D2572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4718" y="3160510"/>
              <a:ext cx="52067" cy="116241"/>
            </a:xfrm>
            <a:custGeom>
              <a:avLst/>
              <a:gdLst>
                <a:gd name="T0" fmla="*/ 14 w 16"/>
                <a:gd name="T1" fmla="*/ 30 h 36"/>
                <a:gd name="T2" fmla="*/ 11 w 16"/>
                <a:gd name="T3" fmla="*/ 17 h 36"/>
                <a:gd name="T4" fmla="*/ 11 w 16"/>
                <a:gd name="T5" fmla="*/ 12 h 36"/>
                <a:gd name="T6" fmla="*/ 9 w 16"/>
                <a:gd name="T7" fmla="*/ 3 h 36"/>
                <a:gd name="T8" fmla="*/ 8 w 16"/>
                <a:gd name="T9" fmla="*/ 1 h 36"/>
                <a:gd name="T10" fmla="*/ 6 w 16"/>
                <a:gd name="T11" fmla="*/ 1 h 36"/>
                <a:gd name="T12" fmla="*/ 8 w 16"/>
                <a:gd name="T13" fmla="*/ 5 h 36"/>
                <a:gd name="T14" fmla="*/ 5 w 16"/>
                <a:gd name="T15" fmla="*/ 7 h 36"/>
                <a:gd name="T16" fmla="*/ 4 w 16"/>
                <a:gd name="T17" fmla="*/ 8 h 36"/>
                <a:gd name="T18" fmla="*/ 2 w 16"/>
                <a:gd name="T19" fmla="*/ 15 h 36"/>
                <a:gd name="T20" fmla="*/ 1 w 16"/>
                <a:gd name="T21" fmla="*/ 18 h 36"/>
                <a:gd name="T22" fmla="*/ 5 w 16"/>
                <a:gd name="T23" fmla="*/ 23 h 36"/>
                <a:gd name="T24" fmla="*/ 5 w 16"/>
                <a:gd name="T25" fmla="*/ 28 h 36"/>
                <a:gd name="T26" fmla="*/ 5 w 16"/>
                <a:gd name="T27" fmla="*/ 36 h 36"/>
                <a:gd name="T28" fmla="*/ 16 w 16"/>
                <a:gd name="T29" fmla="*/ 36 h 36"/>
                <a:gd name="T30" fmla="*/ 14 w 16"/>
                <a:gd name="T31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36">
                  <a:moveTo>
                    <a:pt x="14" y="30"/>
                  </a:moveTo>
                  <a:cubicBezTo>
                    <a:pt x="14" y="28"/>
                    <a:pt x="11" y="18"/>
                    <a:pt x="11" y="17"/>
                  </a:cubicBezTo>
                  <a:cubicBezTo>
                    <a:pt x="10" y="15"/>
                    <a:pt x="11" y="14"/>
                    <a:pt x="11" y="12"/>
                  </a:cubicBezTo>
                  <a:cubicBezTo>
                    <a:pt x="11" y="11"/>
                    <a:pt x="10" y="5"/>
                    <a:pt x="9" y="3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6" y="1"/>
                    <a:pt x="5" y="0"/>
                    <a:pt x="6" y="1"/>
                  </a:cubicBezTo>
                  <a:cubicBezTo>
                    <a:pt x="7" y="2"/>
                    <a:pt x="8" y="5"/>
                    <a:pt x="8" y="5"/>
                  </a:cubicBezTo>
                  <a:cubicBezTo>
                    <a:pt x="7" y="6"/>
                    <a:pt x="6" y="7"/>
                    <a:pt x="5" y="7"/>
                  </a:cubicBezTo>
                  <a:cubicBezTo>
                    <a:pt x="4" y="7"/>
                    <a:pt x="4" y="7"/>
                    <a:pt x="4" y="8"/>
                  </a:cubicBezTo>
                  <a:cubicBezTo>
                    <a:pt x="4" y="9"/>
                    <a:pt x="3" y="15"/>
                    <a:pt x="2" y="15"/>
                  </a:cubicBezTo>
                  <a:cubicBezTo>
                    <a:pt x="1" y="16"/>
                    <a:pt x="0" y="16"/>
                    <a:pt x="1" y="18"/>
                  </a:cubicBezTo>
                  <a:cubicBezTo>
                    <a:pt x="3" y="20"/>
                    <a:pt x="5" y="22"/>
                    <a:pt x="5" y="23"/>
                  </a:cubicBezTo>
                  <a:cubicBezTo>
                    <a:pt x="5" y="25"/>
                    <a:pt x="6" y="26"/>
                    <a:pt x="5" y="28"/>
                  </a:cubicBezTo>
                  <a:cubicBezTo>
                    <a:pt x="5" y="29"/>
                    <a:pt x="5" y="33"/>
                    <a:pt x="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5" y="33"/>
                    <a:pt x="14" y="31"/>
                    <a:pt x="14" y="3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87" name="Freeform 702">
              <a:extLst>
                <a:ext uri="{FF2B5EF4-FFF2-40B4-BE49-F238E27FC236}">
                  <a16:creationId xmlns:a16="http://schemas.microsoft.com/office/drawing/2014/main" id="{81DF97FA-CD9E-A935-F1C9-CE7F7F38F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405" y="3276751"/>
              <a:ext cx="54489" cy="81127"/>
            </a:xfrm>
            <a:custGeom>
              <a:avLst/>
              <a:gdLst>
                <a:gd name="T0" fmla="*/ 13 w 17"/>
                <a:gd name="T1" fmla="*/ 0 h 25"/>
                <a:gd name="T2" fmla="*/ 2 w 17"/>
                <a:gd name="T3" fmla="*/ 0 h 25"/>
                <a:gd name="T4" fmla="*/ 2 w 17"/>
                <a:gd name="T5" fmla="*/ 2 h 25"/>
                <a:gd name="T6" fmla="*/ 1 w 17"/>
                <a:gd name="T7" fmla="*/ 9 h 25"/>
                <a:gd name="T8" fmla="*/ 1 w 17"/>
                <a:gd name="T9" fmla="*/ 15 h 25"/>
                <a:gd name="T10" fmla="*/ 0 w 17"/>
                <a:gd name="T11" fmla="*/ 22 h 25"/>
                <a:gd name="T12" fmla="*/ 1 w 17"/>
                <a:gd name="T13" fmla="*/ 24 h 25"/>
                <a:gd name="T14" fmla="*/ 4 w 17"/>
                <a:gd name="T15" fmla="*/ 21 h 25"/>
                <a:gd name="T16" fmla="*/ 8 w 17"/>
                <a:gd name="T17" fmla="*/ 21 h 25"/>
                <a:gd name="T18" fmla="*/ 10 w 17"/>
                <a:gd name="T19" fmla="*/ 24 h 25"/>
                <a:gd name="T20" fmla="*/ 8 w 17"/>
                <a:gd name="T21" fmla="*/ 19 h 25"/>
                <a:gd name="T22" fmla="*/ 4 w 17"/>
                <a:gd name="T23" fmla="*/ 13 h 25"/>
                <a:gd name="T24" fmla="*/ 4 w 17"/>
                <a:gd name="T25" fmla="*/ 7 h 25"/>
                <a:gd name="T26" fmla="*/ 7 w 17"/>
                <a:gd name="T27" fmla="*/ 4 h 25"/>
                <a:gd name="T28" fmla="*/ 9 w 17"/>
                <a:gd name="T29" fmla="*/ 2 h 25"/>
                <a:gd name="T30" fmla="*/ 13 w 17"/>
                <a:gd name="T31" fmla="*/ 3 h 25"/>
                <a:gd name="T32" fmla="*/ 16 w 17"/>
                <a:gd name="T33" fmla="*/ 5 h 25"/>
                <a:gd name="T34" fmla="*/ 13 w 17"/>
                <a:gd name="T3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25">
                  <a:moveTo>
                    <a:pt x="1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1" y="4"/>
                    <a:pt x="1" y="8"/>
                    <a:pt x="1" y="9"/>
                  </a:cubicBezTo>
                  <a:cubicBezTo>
                    <a:pt x="2" y="10"/>
                    <a:pt x="1" y="12"/>
                    <a:pt x="1" y="15"/>
                  </a:cubicBezTo>
                  <a:cubicBezTo>
                    <a:pt x="1" y="17"/>
                    <a:pt x="0" y="20"/>
                    <a:pt x="0" y="22"/>
                  </a:cubicBezTo>
                  <a:cubicBezTo>
                    <a:pt x="1" y="24"/>
                    <a:pt x="1" y="25"/>
                    <a:pt x="1" y="24"/>
                  </a:cubicBezTo>
                  <a:cubicBezTo>
                    <a:pt x="2" y="23"/>
                    <a:pt x="2" y="20"/>
                    <a:pt x="4" y="21"/>
                  </a:cubicBezTo>
                  <a:cubicBezTo>
                    <a:pt x="6" y="21"/>
                    <a:pt x="8" y="20"/>
                    <a:pt x="8" y="21"/>
                  </a:cubicBezTo>
                  <a:cubicBezTo>
                    <a:pt x="8" y="23"/>
                    <a:pt x="10" y="25"/>
                    <a:pt x="10" y="24"/>
                  </a:cubicBezTo>
                  <a:cubicBezTo>
                    <a:pt x="10" y="22"/>
                    <a:pt x="10" y="21"/>
                    <a:pt x="8" y="19"/>
                  </a:cubicBezTo>
                  <a:cubicBezTo>
                    <a:pt x="7" y="17"/>
                    <a:pt x="5" y="15"/>
                    <a:pt x="4" y="13"/>
                  </a:cubicBezTo>
                  <a:cubicBezTo>
                    <a:pt x="4" y="11"/>
                    <a:pt x="3" y="8"/>
                    <a:pt x="4" y="7"/>
                  </a:cubicBezTo>
                  <a:cubicBezTo>
                    <a:pt x="5" y="6"/>
                    <a:pt x="7" y="5"/>
                    <a:pt x="7" y="4"/>
                  </a:cubicBezTo>
                  <a:cubicBezTo>
                    <a:pt x="7" y="3"/>
                    <a:pt x="7" y="3"/>
                    <a:pt x="9" y="2"/>
                  </a:cubicBezTo>
                  <a:cubicBezTo>
                    <a:pt x="11" y="2"/>
                    <a:pt x="11" y="1"/>
                    <a:pt x="13" y="3"/>
                  </a:cubicBezTo>
                  <a:cubicBezTo>
                    <a:pt x="15" y="4"/>
                    <a:pt x="17" y="7"/>
                    <a:pt x="16" y="5"/>
                  </a:cubicBezTo>
                  <a:cubicBezTo>
                    <a:pt x="15" y="4"/>
                    <a:pt x="14" y="2"/>
                    <a:pt x="13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88" name="Freeform 703">
              <a:extLst>
                <a:ext uri="{FF2B5EF4-FFF2-40B4-BE49-F238E27FC236}">
                  <a16:creationId xmlns:a16="http://schemas.microsoft.com/office/drawing/2014/main" id="{1B3C0929-F368-9811-89BF-B3468D673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9853" y="3516499"/>
              <a:ext cx="71440" cy="90813"/>
            </a:xfrm>
            <a:custGeom>
              <a:avLst/>
              <a:gdLst>
                <a:gd name="T0" fmla="*/ 6 w 22"/>
                <a:gd name="T1" fmla="*/ 2 h 28"/>
                <a:gd name="T2" fmla="*/ 3 w 22"/>
                <a:gd name="T3" fmla="*/ 5 h 28"/>
                <a:gd name="T4" fmla="*/ 3 w 22"/>
                <a:gd name="T5" fmla="*/ 6 h 28"/>
                <a:gd name="T6" fmla="*/ 4 w 22"/>
                <a:gd name="T7" fmla="*/ 9 h 28"/>
                <a:gd name="T8" fmla="*/ 4 w 22"/>
                <a:gd name="T9" fmla="*/ 11 h 28"/>
                <a:gd name="T10" fmla="*/ 1 w 22"/>
                <a:gd name="T11" fmla="*/ 11 h 28"/>
                <a:gd name="T12" fmla="*/ 3 w 22"/>
                <a:gd name="T13" fmla="*/ 13 h 28"/>
                <a:gd name="T14" fmla="*/ 3 w 22"/>
                <a:gd name="T15" fmla="*/ 15 h 28"/>
                <a:gd name="T16" fmla="*/ 3 w 22"/>
                <a:gd name="T17" fmla="*/ 16 h 28"/>
                <a:gd name="T18" fmla="*/ 3 w 22"/>
                <a:gd name="T19" fmla="*/ 18 h 28"/>
                <a:gd name="T20" fmla="*/ 2 w 22"/>
                <a:gd name="T21" fmla="*/ 21 h 28"/>
                <a:gd name="T22" fmla="*/ 1 w 22"/>
                <a:gd name="T23" fmla="*/ 23 h 28"/>
                <a:gd name="T24" fmla="*/ 2 w 22"/>
                <a:gd name="T25" fmla="*/ 23 h 28"/>
                <a:gd name="T26" fmla="*/ 3 w 22"/>
                <a:gd name="T27" fmla="*/ 24 h 28"/>
                <a:gd name="T28" fmla="*/ 2 w 22"/>
                <a:gd name="T29" fmla="*/ 24 h 28"/>
                <a:gd name="T30" fmla="*/ 2 w 22"/>
                <a:gd name="T31" fmla="*/ 25 h 28"/>
                <a:gd name="T32" fmla="*/ 1 w 22"/>
                <a:gd name="T33" fmla="*/ 26 h 28"/>
                <a:gd name="T34" fmla="*/ 0 w 22"/>
                <a:gd name="T35" fmla="*/ 27 h 28"/>
                <a:gd name="T36" fmla="*/ 2 w 22"/>
                <a:gd name="T37" fmla="*/ 26 h 28"/>
                <a:gd name="T38" fmla="*/ 3 w 22"/>
                <a:gd name="T39" fmla="*/ 27 h 28"/>
                <a:gd name="T40" fmla="*/ 5 w 22"/>
                <a:gd name="T41" fmla="*/ 26 h 28"/>
                <a:gd name="T42" fmla="*/ 7 w 22"/>
                <a:gd name="T43" fmla="*/ 25 h 28"/>
                <a:gd name="T44" fmla="*/ 8 w 22"/>
                <a:gd name="T45" fmla="*/ 26 h 28"/>
                <a:gd name="T46" fmla="*/ 9 w 22"/>
                <a:gd name="T47" fmla="*/ 24 h 28"/>
                <a:gd name="T48" fmla="*/ 10 w 22"/>
                <a:gd name="T49" fmla="*/ 24 h 28"/>
                <a:gd name="T50" fmla="*/ 11 w 22"/>
                <a:gd name="T51" fmla="*/ 25 h 28"/>
                <a:gd name="T52" fmla="*/ 11 w 22"/>
                <a:gd name="T53" fmla="*/ 24 h 28"/>
                <a:gd name="T54" fmla="*/ 14 w 22"/>
                <a:gd name="T55" fmla="*/ 24 h 28"/>
                <a:gd name="T56" fmla="*/ 15 w 22"/>
                <a:gd name="T57" fmla="*/ 24 h 28"/>
                <a:gd name="T58" fmla="*/ 15 w 22"/>
                <a:gd name="T59" fmla="*/ 23 h 28"/>
                <a:gd name="T60" fmla="*/ 18 w 22"/>
                <a:gd name="T61" fmla="*/ 22 h 28"/>
                <a:gd name="T62" fmla="*/ 19 w 22"/>
                <a:gd name="T63" fmla="*/ 21 h 28"/>
                <a:gd name="T64" fmla="*/ 21 w 22"/>
                <a:gd name="T65" fmla="*/ 21 h 28"/>
                <a:gd name="T66" fmla="*/ 22 w 22"/>
                <a:gd name="T67" fmla="*/ 22 h 28"/>
                <a:gd name="T68" fmla="*/ 22 w 22"/>
                <a:gd name="T69" fmla="*/ 20 h 28"/>
                <a:gd name="T70" fmla="*/ 19 w 22"/>
                <a:gd name="T71" fmla="*/ 17 h 28"/>
                <a:gd name="T72" fmla="*/ 19 w 22"/>
                <a:gd name="T73" fmla="*/ 15 h 28"/>
                <a:gd name="T74" fmla="*/ 17 w 22"/>
                <a:gd name="T75" fmla="*/ 8 h 28"/>
                <a:gd name="T76" fmla="*/ 14 w 22"/>
                <a:gd name="T77" fmla="*/ 2 h 28"/>
                <a:gd name="T78" fmla="*/ 13 w 22"/>
                <a:gd name="T79" fmla="*/ 0 h 28"/>
                <a:gd name="T80" fmla="*/ 13 w 22"/>
                <a:gd name="T81" fmla="*/ 0 h 28"/>
                <a:gd name="T82" fmla="*/ 6 w 22"/>
                <a:gd name="T83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2" h="28">
                  <a:moveTo>
                    <a:pt x="6" y="2"/>
                  </a:moveTo>
                  <a:cubicBezTo>
                    <a:pt x="5" y="2"/>
                    <a:pt x="4" y="4"/>
                    <a:pt x="3" y="5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4" y="7"/>
                    <a:pt x="3" y="8"/>
                    <a:pt x="4" y="9"/>
                  </a:cubicBezTo>
                  <a:cubicBezTo>
                    <a:pt x="5" y="9"/>
                    <a:pt x="5" y="11"/>
                    <a:pt x="4" y="11"/>
                  </a:cubicBezTo>
                  <a:cubicBezTo>
                    <a:pt x="3" y="11"/>
                    <a:pt x="0" y="10"/>
                    <a:pt x="1" y="11"/>
                  </a:cubicBezTo>
                  <a:cubicBezTo>
                    <a:pt x="1" y="12"/>
                    <a:pt x="2" y="12"/>
                    <a:pt x="3" y="13"/>
                  </a:cubicBezTo>
                  <a:cubicBezTo>
                    <a:pt x="3" y="14"/>
                    <a:pt x="4" y="15"/>
                    <a:pt x="3" y="15"/>
                  </a:cubicBezTo>
                  <a:cubicBezTo>
                    <a:pt x="2" y="15"/>
                    <a:pt x="2" y="16"/>
                    <a:pt x="3" y="16"/>
                  </a:cubicBezTo>
                  <a:cubicBezTo>
                    <a:pt x="3" y="17"/>
                    <a:pt x="4" y="18"/>
                    <a:pt x="3" y="18"/>
                  </a:cubicBezTo>
                  <a:cubicBezTo>
                    <a:pt x="2" y="19"/>
                    <a:pt x="2" y="19"/>
                    <a:pt x="2" y="21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3"/>
                    <a:pt x="1" y="24"/>
                    <a:pt x="2" y="23"/>
                  </a:cubicBezTo>
                  <a:cubicBezTo>
                    <a:pt x="3" y="23"/>
                    <a:pt x="3" y="24"/>
                    <a:pt x="3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3" y="24"/>
                    <a:pt x="2" y="24"/>
                    <a:pt x="2" y="25"/>
                  </a:cubicBezTo>
                  <a:cubicBezTo>
                    <a:pt x="2" y="26"/>
                    <a:pt x="1" y="26"/>
                    <a:pt x="1" y="26"/>
                  </a:cubicBezTo>
                  <a:cubicBezTo>
                    <a:pt x="0" y="26"/>
                    <a:pt x="0" y="28"/>
                    <a:pt x="0" y="27"/>
                  </a:cubicBezTo>
                  <a:cubicBezTo>
                    <a:pt x="1" y="27"/>
                    <a:pt x="2" y="25"/>
                    <a:pt x="2" y="26"/>
                  </a:cubicBezTo>
                  <a:cubicBezTo>
                    <a:pt x="2" y="27"/>
                    <a:pt x="2" y="28"/>
                    <a:pt x="3" y="27"/>
                  </a:cubicBezTo>
                  <a:cubicBezTo>
                    <a:pt x="4" y="26"/>
                    <a:pt x="5" y="26"/>
                    <a:pt x="5" y="26"/>
                  </a:cubicBezTo>
                  <a:cubicBezTo>
                    <a:pt x="6" y="25"/>
                    <a:pt x="6" y="24"/>
                    <a:pt x="7" y="25"/>
                  </a:cubicBezTo>
                  <a:cubicBezTo>
                    <a:pt x="7" y="26"/>
                    <a:pt x="7" y="27"/>
                    <a:pt x="8" y="26"/>
                  </a:cubicBezTo>
                  <a:cubicBezTo>
                    <a:pt x="8" y="25"/>
                    <a:pt x="8" y="25"/>
                    <a:pt x="9" y="24"/>
                  </a:cubicBezTo>
                  <a:cubicBezTo>
                    <a:pt x="9" y="24"/>
                    <a:pt x="9" y="24"/>
                    <a:pt x="10" y="24"/>
                  </a:cubicBezTo>
                  <a:cubicBezTo>
                    <a:pt x="10" y="25"/>
                    <a:pt x="10" y="26"/>
                    <a:pt x="11" y="2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2" y="24"/>
                    <a:pt x="13" y="24"/>
                    <a:pt x="14" y="24"/>
                  </a:cubicBezTo>
                  <a:cubicBezTo>
                    <a:pt x="14" y="24"/>
                    <a:pt x="15" y="24"/>
                    <a:pt x="15" y="24"/>
                  </a:cubicBezTo>
                  <a:cubicBezTo>
                    <a:pt x="14" y="23"/>
                    <a:pt x="14" y="23"/>
                    <a:pt x="15" y="23"/>
                  </a:cubicBezTo>
                  <a:cubicBezTo>
                    <a:pt x="16" y="23"/>
                    <a:pt x="18" y="22"/>
                    <a:pt x="18" y="22"/>
                  </a:cubicBezTo>
                  <a:cubicBezTo>
                    <a:pt x="19" y="21"/>
                    <a:pt x="18" y="21"/>
                    <a:pt x="19" y="21"/>
                  </a:cubicBezTo>
                  <a:cubicBezTo>
                    <a:pt x="20" y="20"/>
                    <a:pt x="21" y="20"/>
                    <a:pt x="21" y="21"/>
                  </a:cubicBezTo>
                  <a:cubicBezTo>
                    <a:pt x="21" y="22"/>
                    <a:pt x="22" y="23"/>
                    <a:pt x="22" y="22"/>
                  </a:cubicBezTo>
                  <a:cubicBezTo>
                    <a:pt x="22" y="21"/>
                    <a:pt x="22" y="21"/>
                    <a:pt x="22" y="20"/>
                  </a:cubicBezTo>
                  <a:cubicBezTo>
                    <a:pt x="21" y="19"/>
                    <a:pt x="20" y="17"/>
                    <a:pt x="19" y="17"/>
                  </a:cubicBezTo>
                  <a:cubicBezTo>
                    <a:pt x="19" y="16"/>
                    <a:pt x="19" y="16"/>
                    <a:pt x="19" y="15"/>
                  </a:cubicBezTo>
                  <a:cubicBezTo>
                    <a:pt x="19" y="13"/>
                    <a:pt x="18" y="11"/>
                    <a:pt x="17" y="8"/>
                  </a:cubicBezTo>
                  <a:cubicBezTo>
                    <a:pt x="16" y="5"/>
                    <a:pt x="14" y="3"/>
                    <a:pt x="14" y="2"/>
                  </a:cubicBezTo>
                  <a:cubicBezTo>
                    <a:pt x="13" y="1"/>
                    <a:pt x="13" y="1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0" y="3"/>
                    <a:pt x="7" y="2"/>
                    <a:pt x="6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89" name="Freeform 704">
              <a:extLst>
                <a:ext uri="{FF2B5EF4-FFF2-40B4-BE49-F238E27FC236}">
                  <a16:creationId xmlns:a16="http://schemas.microsoft.com/office/drawing/2014/main" id="{E3A01CD6-0BE2-7B4D-2AC4-8A14BC975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160" y="3422053"/>
              <a:ext cx="113820" cy="110187"/>
            </a:xfrm>
            <a:custGeom>
              <a:avLst/>
              <a:gdLst>
                <a:gd name="T0" fmla="*/ 35 w 35"/>
                <a:gd name="T1" fmla="*/ 3 h 34"/>
                <a:gd name="T2" fmla="*/ 32 w 35"/>
                <a:gd name="T3" fmla="*/ 0 h 34"/>
                <a:gd name="T4" fmla="*/ 31 w 35"/>
                <a:gd name="T5" fmla="*/ 3 h 34"/>
                <a:gd name="T6" fmla="*/ 29 w 35"/>
                <a:gd name="T7" fmla="*/ 4 h 34"/>
                <a:gd name="T8" fmla="*/ 27 w 35"/>
                <a:gd name="T9" fmla="*/ 6 h 34"/>
                <a:gd name="T10" fmla="*/ 21 w 35"/>
                <a:gd name="T11" fmla="*/ 7 h 34"/>
                <a:gd name="T12" fmla="*/ 22 w 35"/>
                <a:gd name="T13" fmla="*/ 10 h 34"/>
                <a:gd name="T14" fmla="*/ 17 w 35"/>
                <a:gd name="T15" fmla="*/ 10 h 34"/>
                <a:gd name="T16" fmla="*/ 13 w 35"/>
                <a:gd name="T17" fmla="*/ 9 h 34"/>
                <a:gd name="T18" fmla="*/ 9 w 35"/>
                <a:gd name="T19" fmla="*/ 14 h 34"/>
                <a:gd name="T20" fmla="*/ 0 w 35"/>
                <a:gd name="T21" fmla="*/ 21 h 34"/>
                <a:gd name="T22" fmla="*/ 0 w 35"/>
                <a:gd name="T23" fmla="*/ 21 h 34"/>
                <a:gd name="T24" fmla="*/ 5 w 35"/>
                <a:gd name="T25" fmla="*/ 23 h 34"/>
                <a:gd name="T26" fmla="*/ 6 w 35"/>
                <a:gd name="T27" fmla="*/ 24 h 34"/>
                <a:gd name="T28" fmla="*/ 5 w 35"/>
                <a:gd name="T29" fmla="*/ 27 h 34"/>
                <a:gd name="T30" fmla="*/ 6 w 35"/>
                <a:gd name="T31" fmla="*/ 28 h 34"/>
                <a:gd name="T32" fmla="*/ 6 w 35"/>
                <a:gd name="T33" fmla="*/ 28 h 34"/>
                <a:gd name="T34" fmla="*/ 3 w 35"/>
                <a:gd name="T35" fmla="*/ 31 h 34"/>
                <a:gd name="T36" fmla="*/ 3 w 35"/>
                <a:gd name="T37" fmla="*/ 32 h 34"/>
                <a:gd name="T38" fmla="*/ 4 w 35"/>
                <a:gd name="T39" fmla="*/ 33 h 34"/>
                <a:gd name="T40" fmla="*/ 5 w 35"/>
                <a:gd name="T41" fmla="*/ 33 h 34"/>
                <a:gd name="T42" fmla="*/ 6 w 35"/>
                <a:gd name="T43" fmla="*/ 33 h 34"/>
                <a:gd name="T44" fmla="*/ 6 w 35"/>
                <a:gd name="T45" fmla="*/ 34 h 34"/>
                <a:gd name="T46" fmla="*/ 9 w 35"/>
                <a:gd name="T47" fmla="*/ 33 h 34"/>
                <a:gd name="T48" fmla="*/ 11 w 35"/>
                <a:gd name="T49" fmla="*/ 34 h 34"/>
                <a:gd name="T50" fmla="*/ 13 w 35"/>
                <a:gd name="T51" fmla="*/ 34 h 34"/>
                <a:gd name="T52" fmla="*/ 16 w 35"/>
                <a:gd name="T53" fmla="*/ 31 h 34"/>
                <a:gd name="T54" fmla="*/ 23 w 35"/>
                <a:gd name="T55" fmla="*/ 29 h 34"/>
                <a:gd name="T56" fmla="*/ 23 w 35"/>
                <a:gd name="T57" fmla="*/ 29 h 34"/>
                <a:gd name="T58" fmla="*/ 19 w 35"/>
                <a:gd name="T59" fmla="*/ 26 h 34"/>
                <a:gd name="T60" fmla="*/ 18 w 35"/>
                <a:gd name="T61" fmla="*/ 24 h 34"/>
                <a:gd name="T62" fmla="*/ 20 w 35"/>
                <a:gd name="T63" fmla="*/ 21 h 34"/>
                <a:gd name="T64" fmla="*/ 25 w 35"/>
                <a:gd name="T65" fmla="*/ 18 h 34"/>
                <a:gd name="T66" fmla="*/ 29 w 35"/>
                <a:gd name="T67" fmla="*/ 15 h 34"/>
                <a:gd name="T68" fmla="*/ 30 w 35"/>
                <a:gd name="T69" fmla="*/ 10 h 34"/>
                <a:gd name="T70" fmla="*/ 31 w 35"/>
                <a:gd name="T71" fmla="*/ 7 h 34"/>
                <a:gd name="T72" fmla="*/ 35 w 35"/>
                <a:gd name="T73" fmla="*/ 3 h 34"/>
                <a:gd name="T74" fmla="*/ 35 w 35"/>
                <a:gd name="T75" fmla="*/ 3 h 34"/>
                <a:gd name="T76" fmla="*/ 35 w 35"/>
                <a:gd name="T77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5" h="34">
                  <a:moveTo>
                    <a:pt x="35" y="3"/>
                  </a:moveTo>
                  <a:cubicBezTo>
                    <a:pt x="35" y="3"/>
                    <a:pt x="33" y="0"/>
                    <a:pt x="32" y="0"/>
                  </a:cubicBezTo>
                  <a:cubicBezTo>
                    <a:pt x="31" y="1"/>
                    <a:pt x="31" y="1"/>
                    <a:pt x="31" y="3"/>
                  </a:cubicBezTo>
                  <a:cubicBezTo>
                    <a:pt x="30" y="4"/>
                    <a:pt x="30" y="4"/>
                    <a:pt x="29" y="4"/>
                  </a:cubicBezTo>
                  <a:cubicBezTo>
                    <a:pt x="28" y="4"/>
                    <a:pt x="28" y="6"/>
                    <a:pt x="27" y="6"/>
                  </a:cubicBezTo>
                  <a:cubicBezTo>
                    <a:pt x="26" y="6"/>
                    <a:pt x="21" y="6"/>
                    <a:pt x="21" y="7"/>
                  </a:cubicBezTo>
                  <a:cubicBezTo>
                    <a:pt x="22" y="8"/>
                    <a:pt x="23" y="10"/>
                    <a:pt x="22" y="10"/>
                  </a:cubicBezTo>
                  <a:cubicBezTo>
                    <a:pt x="21" y="10"/>
                    <a:pt x="19" y="11"/>
                    <a:pt x="17" y="10"/>
                  </a:cubicBezTo>
                  <a:cubicBezTo>
                    <a:pt x="15" y="9"/>
                    <a:pt x="14" y="9"/>
                    <a:pt x="13" y="9"/>
                  </a:cubicBezTo>
                  <a:cubicBezTo>
                    <a:pt x="13" y="9"/>
                    <a:pt x="10" y="13"/>
                    <a:pt x="9" y="14"/>
                  </a:cubicBezTo>
                  <a:cubicBezTo>
                    <a:pt x="7" y="15"/>
                    <a:pt x="1" y="17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22"/>
                    <a:pt x="4" y="23"/>
                    <a:pt x="5" y="23"/>
                  </a:cubicBezTo>
                  <a:cubicBezTo>
                    <a:pt x="6" y="23"/>
                    <a:pt x="6" y="22"/>
                    <a:pt x="6" y="24"/>
                  </a:cubicBezTo>
                  <a:cubicBezTo>
                    <a:pt x="6" y="25"/>
                    <a:pt x="5" y="27"/>
                    <a:pt x="5" y="27"/>
                  </a:cubicBezTo>
                  <a:cubicBezTo>
                    <a:pt x="5" y="28"/>
                    <a:pt x="5" y="28"/>
                    <a:pt x="6" y="28"/>
                  </a:cubicBezTo>
                  <a:cubicBezTo>
                    <a:pt x="7" y="28"/>
                    <a:pt x="7" y="28"/>
                    <a:pt x="6" y="28"/>
                  </a:cubicBezTo>
                  <a:cubicBezTo>
                    <a:pt x="4" y="28"/>
                    <a:pt x="3" y="30"/>
                    <a:pt x="3" y="31"/>
                  </a:cubicBezTo>
                  <a:cubicBezTo>
                    <a:pt x="3" y="32"/>
                    <a:pt x="2" y="32"/>
                    <a:pt x="3" y="32"/>
                  </a:cubicBezTo>
                  <a:cubicBezTo>
                    <a:pt x="4" y="32"/>
                    <a:pt x="4" y="33"/>
                    <a:pt x="4" y="33"/>
                  </a:cubicBezTo>
                  <a:cubicBezTo>
                    <a:pt x="4" y="34"/>
                    <a:pt x="5" y="33"/>
                    <a:pt x="5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4"/>
                    <a:pt x="5" y="34"/>
                    <a:pt x="6" y="34"/>
                  </a:cubicBezTo>
                  <a:cubicBezTo>
                    <a:pt x="7" y="34"/>
                    <a:pt x="7" y="33"/>
                    <a:pt x="9" y="33"/>
                  </a:cubicBezTo>
                  <a:cubicBezTo>
                    <a:pt x="10" y="34"/>
                    <a:pt x="10" y="34"/>
                    <a:pt x="11" y="34"/>
                  </a:cubicBezTo>
                  <a:cubicBezTo>
                    <a:pt x="12" y="34"/>
                    <a:pt x="12" y="34"/>
                    <a:pt x="13" y="34"/>
                  </a:cubicBezTo>
                  <a:cubicBezTo>
                    <a:pt x="14" y="33"/>
                    <a:pt x="15" y="31"/>
                    <a:pt x="16" y="31"/>
                  </a:cubicBezTo>
                  <a:cubicBezTo>
                    <a:pt x="17" y="31"/>
                    <a:pt x="20" y="32"/>
                    <a:pt x="23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2" y="28"/>
                    <a:pt x="21" y="27"/>
                    <a:pt x="19" y="26"/>
                  </a:cubicBezTo>
                  <a:cubicBezTo>
                    <a:pt x="17" y="25"/>
                    <a:pt x="17" y="25"/>
                    <a:pt x="18" y="24"/>
                  </a:cubicBezTo>
                  <a:cubicBezTo>
                    <a:pt x="19" y="23"/>
                    <a:pt x="18" y="23"/>
                    <a:pt x="20" y="21"/>
                  </a:cubicBezTo>
                  <a:cubicBezTo>
                    <a:pt x="21" y="20"/>
                    <a:pt x="23" y="20"/>
                    <a:pt x="25" y="18"/>
                  </a:cubicBezTo>
                  <a:cubicBezTo>
                    <a:pt x="26" y="17"/>
                    <a:pt x="28" y="15"/>
                    <a:pt x="29" y="15"/>
                  </a:cubicBezTo>
                  <a:cubicBezTo>
                    <a:pt x="31" y="14"/>
                    <a:pt x="31" y="11"/>
                    <a:pt x="30" y="10"/>
                  </a:cubicBezTo>
                  <a:cubicBezTo>
                    <a:pt x="30" y="9"/>
                    <a:pt x="30" y="8"/>
                    <a:pt x="31" y="7"/>
                  </a:cubicBezTo>
                  <a:cubicBezTo>
                    <a:pt x="32" y="7"/>
                    <a:pt x="33" y="5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</p:grpSp>
      <p:grpSp>
        <p:nvGrpSpPr>
          <p:cNvPr id="906" name="Agrupar 905">
            <a:extLst>
              <a:ext uri="{FF2B5EF4-FFF2-40B4-BE49-F238E27FC236}">
                <a16:creationId xmlns:a16="http://schemas.microsoft.com/office/drawing/2014/main" id="{4A040E32-A037-7CB7-D3FC-166FB87162D7}"/>
              </a:ext>
            </a:extLst>
          </p:cNvPr>
          <p:cNvGrpSpPr/>
          <p:nvPr/>
        </p:nvGrpSpPr>
        <p:grpSpPr>
          <a:xfrm>
            <a:off x="2450181" y="2076210"/>
            <a:ext cx="1562963" cy="1577633"/>
            <a:chOff x="3651774" y="2677383"/>
            <a:chExt cx="902088" cy="910555"/>
          </a:xfrm>
        </p:grpSpPr>
        <p:sp>
          <p:nvSpPr>
            <p:cNvPr id="442" name="Freeform 352">
              <a:extLst>
                <a:ext uri="{FF2B5EF4-FFF2-40B4-BE49-F238E27FC236}">
                  <a16:creationId xmlns:a16="http://schemas.microsoft.com/office/drawing/2014/main" id="{A31BDA57-15E9-12A5-66EA-21619EC9D3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2902" y="3044268"/>
              <a:ext cx="142881" cy="219163"/>
            </a:xfrm>
            <a:custGeom>
              <a:avLst/>
              <a:gdLst>
                <a:gd name="T0" fmla="*/ 13 w 44"/>
                <a:gd name="T1" fmla="*/ 1 h 68"/>
                <a:gd name="T2" fmla="*/ 6 w 44"/>
                <a:gd name="T3" fmla="*/ 2 h 68"/>
                <a:gd name="T4" fmla="*/ 5 w 44"/>
                <a:gd name="T5" fmla="*/ 4 h 68"/>
                <a:gd name="T6" fmla="*/ 2 w 44"/>
                <a:gd name="T7" fmla="*/ 9 h 68"/>
                <a:gd name="T8" fmla="*/ 3 w 44"/>
                <a:gd name="T9" fmla="*/ 15 h 68"/>
                <a:gd name="T10" fmla="*/ 6 w 44"/>
                <a:gd name="T11" fmla="*/ 16 h 68"/>
                <a:gd name="T12" fmla="*/ 5 w 44"/>
                <a:gd name="T13" fmla="*/ 18 h 68"/>
                <a:gd name="T14" fmla="*/ 3 w 44"/>
                <a:gd name="T15" fmla="*/ 21 h 68"/>
                <a:gd name="T16" fmla="*/ 1 w 44"/>
                <a:gd name="T17" fmla="*/ 23 h 68"/>
                <a:gd name="T18" fmla="*/ 3 w 44"/>
                <a:gd name="T19" fmla="*/ 25 h 68"/>
                <a:gd name="T20" fmla="*/ 5 w 44"/>
                <a:gd name="T21" fmla="*/ 25 h 68"/>
                <a:gd name="T22" fmla="*/ 6 w 44"/>
                <a:gd name="T23" fmla="*/ 24 h 68"/>
                <a:gd name="T24" fmla="*/ 6 w 44"/>
                <a:gd name="T25" fmla="*/ 22 h 68"/>
                <a:gd name="T26" fmla="*/ 7 w 44"/>
                <a:gd name="T27" fmla="*/ 23 h 68"/>
                <a:gd name="T28" fmla="*/ 7 w 44"/>
                <a:gd name="T29" fmla="*/ 28 h 68"/>
                <a:gd name="T30" fmla="*/ 9 w 44"/>
                <a:gd name="T31" fmla="*/ 31 h 68"/>
                <a:gd name="T32" fmla="*/ 15 w 44"/>
                <a:gd name="T33" fmla="*/ 30 h 68"/>
                <a:gd name="T34" fmla="*/ 15 w 44"/>
                <a:gd name="T35" fmla="*/ 34 h 68"/>
                <a:gd name="T36" fmla="*/ 18 w 44"/>
                <a:gd name="T37" fmla="*/ 36 h 68"/>
                <a:gd name="T38" fmla="*/ 18 w 44"/>
                <a:gd name="T39" fmla="*/ 42 h 68"/>
                <a:gd name="T40" fmla="*/ 10 w 44"/>
                <a:gd name="T41" fmla="*/ 43 h 68"/>
                <a:gd name="T42" fmla="*/ 12 w 44"/>
                <a:gd name="T43" fmla="*/ 46 h 68"/>
                <a:gd name="T44" fmla="*/ 11 w 44"/>
                <a:gd name="T45" fmla="*/ 48 h 68"/>
                <a:gd name="T46" fmla="*/ 6 w 44"/>
                <a:gd name="T47" fmla="*/ 53 h 68"/>
                <a:gd name="T48" fmla="*/ 10 w 44"/>
                <a:gd name="T49" fmla="*/ 54 h 68"/>
                <a:gd name="T50" fmla="*/ 13 w 44"/>
                <a:gd name="T51" fmla="*/ 56 h 68"/>
                <a:gd name="T52" fmla="*/ 20 w 44"/>
                <a:gd name="T53" fmla="*/ 55 h 68"/>
                <a:gd name="T54" fmla="*/ 16 w 44"/>
                <a:gd name="T55" fmla="*/ 58 h 68"/>
                <a:gd name="T56" fmla="*/ 10 w 44"/>
                <a:gd name="T57" fmla="*/ 59 h 68"/>
                <a:gd name="T58" fmla="*/ 8 w 44"/>
                <a:gd name="T59" fmla="*/ 61 h 68"/>
                <a:gd name="T60" fmla="*/ 4 w 44"/>
                <a:gd name="T61" fmla="*/ 66 h 68"/>
                <a:gd name="T62" fmla="*/ 6 w 44"/>
                <a:gd name="T63" fmla="*/ 66 h 68"/>
                <a:gd name="T64" fmla="*/ 12 w 44"/>
                <a:gd name="T65" fmla="*/ 64 h 68"/>
                <a:gd name="T66" fmla="*/ 18 w 44"/>
                <a:gd name="T67" fmla="*/ 61 h 68"/>
                <a:gd name="T68" fmla="*/ 25 w 44"/>
                <a:gd name="T69" fmla="*/ 61 h 68"/>
                <a:gd name="T70" fmla="*/ 35 w 44"/>
                <a:gd name="T71" fmla="*/ 61 h 68"/>
                <a:gd name="T72" fmla="*/ 41 w 44"/>
                <a:gd name="T73" fmla="*/ 57 h 68"/>
                <a:gd name="T74" fmla="*/ 41 w 44"/>
                <a:gd name="T75" fmla="*/ 53 h 68"/>
                <a:gd name="T76" fmla="*/ 40 w 44"/>
                <a:gd name="T77" fmla="*/ 45 h 68"/>
                <a:gd name="T78" fmla="*/ 35 w 44"/>
                <a:gd name="T79" fmla="*/ 45 h 68"/>
                <a:gd name="T80" fmla="*/ 31 w 44"/>
                <a:gd name="T81" fmla="*/ 39 h 68"/>
                <a:gd name="T82" fmla="*/ 33 w 44"/>
                <a:gd name="T83" fmla="*/ 36 h 68"/>
                <a:gd name="T84" fmla="*/ 23 w 44"/>
                <a:gd name="T85" fmla="*/ 24 h 68"/>
                <a:gd name="T86" fmla="*/ 15 w 44"/>
                <a:gd name="T87" fmla="*/ 22 h 68"/>
                <a:gd name="T88" fmla="*/ 19 w 44"/>
                <a:gd name="T89" fmla="*/ 19 h 68"/>
                <a:gd name="T90" fmla="*/ 21 w 44"/>
                <a:gd name="T91" fmla="*/ 15 h 68"/>
                <a:gd name="T92" fmla="*/ 21 w 44"/>
                <a:gd name="T93" fmla="*/ 8 h 68"/>
                <a:gd name="T94" fmla="*/ 11 w 44"/>
                <a:gd name="T95" fmla="*/ 9 h 68"/>
                <a:gd name="T96" fmla="*/ 12 w 44"/>
                <a:gd name="T97" fmla="*/ 8 h 68"/>
                <a:gd name="T98" fmla="*/ 15 w 44"/>
                <a:gd name="T99" fmla="*/ 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4" h="68">
                  <a:moveTo>
                    <a:pt x="16" y="1"/>
                  </a:moveTo>
                  <a:cubicBezTo>
                    <a:pt x="15" y="1"/>
                    <a:pt x="14" y="1"/>
                    <a:pt x="13" y="1"/>
                  </a:cubicBezTo>
                  <a:cubicBezTo>
                    <a:pt x="12" y="1"/>
                    <a:pt x="12" y="1"/>
                    <a:pt x="10" y="1"/>
                  </a:cubicBezTo>
                  <a:cubicBezTo>
                    <a:pt x="8" y="1"/>
                    <a:pt x="6" y="0"/>
                    <a:pt x="6" y="2"/>
                  </a:cubicBezTo>
                  <a:cubicBezTo>
                    <a:pt x="6" y="3"/>
                    <a:pt x="7" y="4"/>
                    <a:pt x="5" y="4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" y="5"/>
                    <a:pt x="5" y="6"/>
                    <a:pt x="4" y="7"/>
                  </a:cubicBezTo>
                  <a:cubicBezTo>
                    <a:pt x="3" y="7"/>
                    <a:pt x="2" y="7"/>
                    <a:pt x="2" y="9"/>
                  </a:cubicBezTo>
                  <a:cubicBezTo>
                    <a:pt x="3" y="10"/>
                    <a:pt x="4" y="10"/>
                    <a:pt x="4" y="11"/>
                  </a:cubicBezTo>
                  <a:cubicBezTo>
                    <a:pt x="4" y="13"/>
                    <a:pt x="3" y="14"/>
                    <a:pt x="3" y="15"/>
                  </a:cubicBezTo>
                  <a:cubicBezTo>
                    <a:pt x="2" y="16"/>
                    <a:pt x="3" y="17"/>
                    <a:pt x="3" y="17"/>
                  </a:cubicBezTo>
                  <a:cubicBezTo>
                    <a:pt x="4" y="17"/>
                    <a:pt x="5" y="16"/>
                    <a:pt x="6" y="16"/>
                  </a:cubicBezTo>
                  <a:cubicBezTo>
                    <a:pt x="6" y="16"/>
                    <a:pt x="5" y="16"/>
                    <a:pt x="5" y="16"/>
                  </a:cubicBezTo>
                  <a:cubicBezTo>
                    <a:pt x="5" y="17"/>
                    <a:pt x="5" y="18"/>
                    <a:pt x="5" y="18"/>
                  </a:cubicBezTo>
                  <a:cubicBezTo>
                    <a:pt x="5" y="18"/>
                    <a:pt x="6" y="18"/>
                    <a:pt x="5" y="19"/>
                  </a:cubicBezTo>
                  <a:cubicBezTo>
                    <a:pt x="4" y="19"/>
                    <a:pt x="4" y="20"/>
                    <a:pt x="3" y="21"/>
                  </a:cubicBezTo>
                  <a:cubicBezTo>
                    <a:pt x="2" y="21"/>
                    <a:pt x="1" y="21"/>
                    <a:pt x="1" y="22"/>
                  </a:cubicBezTo>
                  <a:cubicBezTo>
                    <a:pt x="1" y="22"/>
                    <a:pt x="0" y="23"/>
                    <a:pt x="1" y="23"/>
                  </a:cubicBezTo>
                  <a:cubicBezTo>
                    <a:pt x="1" y="23"/>
                    <a:pt x="3" y="21"/>
                    <a:pt x="3" y="22"/>
                  </a:cubicBezTo>
                  <a:cubicBezTo>
                    <a:pt x="3" y="23"/>
                    <a:pt x="4" y="24"/>
                    <a:pt x="3" y="25"/>
                  </a:cubicBezTo>
                  <a:cubicBezTo>
                    <a:pt x="2" y="25"/>
                    <a:pt x="2" y="27"/>
                    <a:pt x="2" y="27"/>
                  </a:cubicBezTo>
                  <a:cubicBezTo>
                    <a:pt x="3" y="26"/>
                    <a:pt x="4" y="25"/>
                    <a:pt x="5" y="25"/>
                  </a:cubicBezTo>
                  <a:cubicBezTo>
                    <a:pt x="5" y="26"/>
                    <a:pt x="6" y="27"/>
                    <a:pt x="6" y="26"/>
                  </a:cubicBezTo>
                  <a:cubicBezTo>
                    <a:pt x="6" y="25"/>
                    <a:pt x="6" y="25"/>
                    <a:pt x="6" y="24"/>
                  </a:cubicBezTo>
                  <a:cubicBezTo>
                    <a:pt x="6" y="23"/>
                    <a:pt x="5" y="23"/>
                    <a:pt x="4" y="22"/>
                  </a:cubicBezTo>
                  <a:cubicBezTo>
                    <a:pt x="4" y="21"/>
                    <a:pt x="5" y="22"/>
                    <a:pt x="6" y="22"/>
                  </a:cubicBezTo>
                  <a:cubicBezTo>
                    <a:pt x="6" y="22"/>
                    <a:pt x="7" y="22"/>
                    <a:pt x="8" y="22"/>
                  </a:cubicBezTo>
                  <a:cubicBezTo>
                    <a:pt x="9" y="22"/>
                    <a:pt x="8" y="22"/>
                    <a:pt x="7" y="23"/>
                  </a:cubicBezTo>
                  <a:cubicBezTo>
                    <a:pt x="7" y="24"/>
                    <a:pt x="7" y="24"/>
                    <a:pt x="7" y="25"/>
                  </a:cubicBezTo>
                  <a:cubicBezTo>
                    <a:pt x="8" y="26"/>
                    <a:pt x="8" y="27"/>
                    <a:pt x="7" y="28"/>
                  </a:cubicBezTo>
                  <a:cubicBezTo>
                    <a:pt x="6" y="29"/>
                    <a:pt x="6" y="30"/>
                    <a:pt x="7" y="31"/>
                  </a:cubicBezTo>
                  <a:cubicBezTo>
                    <a:pt x="7" y="31"/>
                    <a:pt x="8" y="31"/>
                    <a:pt x="9" y="31"/>
                  </a:cubicBezTo>
                  <a:cubicBezTo>
                    <a:pt x="10" y="31"/>
                    <a:pt x="10" y="31"/>
                    <a:pt x="11" y="31"/>
                  </a:cubicBezTo>
                  <a:cubicBezTo>
                    <a:pt x="12" y="31"/>
                    <a:pt x="12" y="29"/>
                    <a:pt x="15" y="30"/>
                  </a:cubicBezTo>
                  <a:cubicBezTo>
                    <a:pt x="17" y="30"/>
                    <a:pt x="18" y="30"/>
                    <a:pt x="16" y="30"/>
                  </a:cubicBezTo>
                  <a:cubicBezTo>
                    <a:pt x="15" y="31"/>
                    <a:pt x="15" y="32"/>
                    <a:pt x="15" y="34"/>
                  </a:cubicBezTo>
                  <a:cubicBezTo>
                    <a:pt x="16" y="35"/>
                    <a:pt x="16" y="37"/>
                    <a:pt x="17" y="36"/>
                  </a:cubicBezTo>
                  <a:cubicBezTo>
                    <a:pt x="17" y="36"/>
                    <a:pt x="18" y="36"/>
                    <a:pt x="18" y="36"/>
                  </a:cubicBezTo>
                  <a:cubicBezTo>
                    <a:pt x="18" y="36"/>
                    <a:pt x="17" y="39"/>
                    <a:pt x="18" y="40"/>
                  </a:cubicBezTo>
                  <a:cubicBezTo>
                    <a:pt x="18" y="42"/>
                    <a:pt x="19" y="42"/>
                    <a:pt x="18" y="42"/>
                  </a:cubicBezTo>
                  <a:cubicBezTo>
                    <a:pt x="17" y="43"/>
                    <a:pt x="14" y="43"/>
                    <a:pt x="13" y="43"/>
                  </a:cubicBezTo>
                  <a:cubicBezTo>
                    <a:pt x="12" y="43"/>
                    <a:pt x="11" y="43"/>
                    <a:pt x="10" y="43"/>
                  </a:cubicBezTo>
                  <a:cubicBezTo>
                    <a:pt x="10" y="44"/>
                    <a:pt x="9" y="44"/>
                    <a:pt x="9" y="45"/>
                  </a:cubicBezTo>
                  <a:cubicBezTo>
                    <a:pt x="9" y="46"/>
                    <a:pt x="11" y="45"/>
                    <a:pt x="12" y="46"/>
                  </a:cubicBezTo>
                  <a:cubicBezTo>
                    <a:pt x="13" y="47"/>
                    <a:pt x="11" y="47"/>
                    <a:pt x="10" y="47"/>
                  </a:cubicBezTo>
                  <a:cubicBezTo>
                    <a:pt x="9" y="48"/>
                    <a:pt x="10" y="48"/>
                    <a:pt x="11" y="48"/>
                  </a:cubicBezTo>
                  <a:cubicBezTo>
                    <a:pt x="11" y="49"/>
                    <a:pt x="10" y="50"/>
                    <a:pt x="9" y="51"/>
                  </a:cubicBezTo>
                  <a:cubicBezTo>
                    <a:pt x="8" y="52"/>
                    <a:pt x="7" y="53"/>
                    <a:pt x="6" y="53"/>
                  </a:cubicBezTo>
                  <a:cubicBezTo>
                    <a:pt x="5" y="54"/>
                    <a:pt x="6" y="56"/>
                    <a:pt x="7" y="55"/>
                  </a:cubicBezTo>
                  <a:cubicBezTo>
                    <a:pt x="8" y="55"/>
                    <a:pt x="9" y="54"/>
                    <a:pt x="10" y="54"/>
                  </a:cubicBezTo>
                  <a:cubicBezTo>
                    <a:pt x="11" y="54"/>
                    <a:pt x="10" y="54"/>
                    <a:pt x="11" y="55"/>
                  </a:cubicBezTo>
                  <a:cubicBezTo>
                    <a:pt x="12" y="55"/>
                    <a:pt x="11" y="55"/>
                    <a:pt x="13" y="56"/>
                  </a:cubicBezTo>
                  <a:cubicBezTo>
                    <a:pt x="15" y="56"/>
                    <a:pt x="16" y="57"/>
                    <a:pt x="17" y="56"/>
                  </a:cubicBezTo>
                  <a:cubicBezTo>
                    <a:pt x="18" y="56"/>
                    <a:pt x="21" y="53"/>
                    <a:pt x="20" y="55"/>
                  </a:cubicBezTo>
                  <a:cubicBezTo>
                    <a:pt x="20" y="56"/>
                    <a:pt x="19" y="56"/>
                    <a:pt x="19" y="57"/>
                  </a:cubicBezTo>
                  <a:cubicBezTo>
                    <a:pt x="18" y="58"/>
                    <a:pt x="17" y="58"/>
                    <a:pt x="16" y="58"/>
                  </a:cubicBezTo>
                  <a:cubicBezTo>
                    <a:pt x="15" y="58"/>
                    <a:pt x="15" y="58"/>
                    <a:pt x="14" y="58"/>
                  </a:cubicBezTo>
                  <a:cubicBezTo>
                    <a:pt x="13" y="58"/>
                    <a:pt x="11" y="59"/>
                    <a:pt x="10" y="59"/>
                  </a:cubicBezTo>
                  <a:cubicBezTo>
                    <a:pt x="9" y="58"/>
                    <a:pt x="10" y="57"/>
                    <a:pt x="9" y="57"/>
                  </a:cubicBezTo>
                  <a:cubicBezTo>
                    <a:pt x="9" y="58"/>
                    <a:pt x="10" y="60"/>
                    <a:pt x="8" y="61"/>
                  </a:cubicBezTo>
                  <a:cubicBezTo>
                    <a:pt x="7" y="63"/>
                    <a:pt x="6" y="65"/>
                    <a:pt x="5" y="65"/>
                  </a:cubicBezTo>
                  <a:cubicBezTo>
                    <a:pt x="3" y="66"/>
                    <a:pt x="2" y="66"/>
                    <a:pt x="4" y="66"/>
                  </a:cubicBezTo>
                  <a:cubicBezTo>
                    <a:pt x="5" y="66"/>
                    <a:pt x="6" y="66"/>
                    <a:pt x="5" y="67"/>
                  </a:cubicBezTo>
                  <a:cubicBezTo>
                    <a:pt x="5" y="67"/>
                    <a:pt x="5" y="68"/>
                    <a:pt x="6" y="66"/>
                  </a:cubicBezTo>
                  <a:cubicBezTo>
                    <a:pt x="7" y="65"/>
                    <a:pt x="9" y="64"/>
                    <a:pt x="10" y="64"/>
                  </a:cubicBezTo>
                  <a:cubicBezTo>
                    <a:pt x="11" y="64"/>
                    <a:pt x="11" y="64"/>
                    <a:pt x="12" y="64"/>
                  </a:cubicBezTo>
                  <a:cubicBezTo>
                    <a:pt x="13" y="65"/>
                    <a:pt x="14" y="65"/>
                    <a:pt x="15" y="64"/>
                  </a:cubicBezTo>
                  <a:cubicBezTo>
                    <a:pt x="15" y="63"/>
                    <a:pt x="15" y="61"/>
                    <a:pt x="18" y="61"/>
                  </a:cubicBezTo>
                  <a:cubicBezTo>
                    <a:pt x="20" y="61"/>
                    <a:pt x="21" y="63"/>
                    <a:pt x="22" y="62"/>
                  </a:cubicBezTo>
                  <a:cubicBezTo>
                    <a:pt x="23" y="62"/>
                    <a:pt x="24" y="61"/>
                    <a:pt x="25" y="61"/>
                  </a:cubicBezTo>
                  <a:cubicBezTo>
                    <a:pt x="26" y="62"/>
                    <a:pt x="26" y="62"/>
                    <a:pt x="27" y="62"/>
                  </a:cubicBezTo>
                  <a:cubicBezTo>
                    <a:pt x="29" y="62"/>
                    <a:pt x="32" y="61"/>
                    <a:pt x="35" y="61"/>
                  </a:cubicBezTo>
                  <a:cubicBezTo>
                    <a:pt x="37" y="61"/>
                    <a:pt x="39" y="60"/>
                    <a:pt x="40" y="59"/>
                  </a:cubicBezTo>
                  <a:cubicBezTo>
                    <a:pt x="42" y="58"/>
                    <a:pt x="43" y="57"/>
                    <a:pt x="41" y="57"/>
                  </a:cubicBezTo>
                  <a:cubicBezTo>
                    <a:pt x="40" y="57"/>
                    <a:pt x="36" y="57"/>
                    <a:pt x="37" y="56"/>
                  </a:cubicBezTo>
                  <a:cubicBezTo>
                    <a:pt x="38" y="55"/>
                    <a:pt x="40" y="54"/>
                    <a:pt x="41" y="53"/>
                  </a:cubicBezTo>
                  <a:cubicBezTo>
                    <a:pt x="42" y="51"/>
                    <a:pt x="44" y="49"/>
                    <a:pt x="43" y="48"/>
                  </a:cubicBezTo>
                  <a:cubicBezTo>
                    <a:pt x="43" y="46"/>
                    <a:pt x="41" y="45"/>
                    <a:pt x="40" y="45"/>
                  </a:cubicBezTo>
                  <a:cubicBezTo>
                    <a:pt x="38" y="45"/>
                    <a:pt x="37" y="46"/>
                    <a:pt x="36" y="46"/>
                  </a:cubicBezTo>
                  <a:cubicBezTo>
                    <a:pt x="34" y="46"/>
                    <a:pt x="35" y="45"/>
                    <a:pt x="35" y="45"/>
                  </a:cubicBezTo>
                  <a:cubicBezTo>
                    <a:pt x="36" y="44"/>
                    <a:pt x="36" y="42"/>
                    <a:pt x="34" y="41"/>
                  </a:cubicBezTo>
                  <a:cubicBezTo>
                    <a:pt x="33" y="40"/>
                    <a:pt x="32" y="40"/>
                    <a:pt x="31" y="39"/>
                  </a:cubicBezTo>
                  <a:cubicBezTo>
                    <a:pt x="30" y="39"/>
                    <a:pt x="32" y="39"/>
                    <a:pt x="33" y="39"/>
                  </a:cubicBezTo>
                  <a:cubicBezTo>
                    <a:pt x="34" y="39"/>
                    <a:pt x="34" y="37"/>
                    <a:pt x="33" y="36"/>
                  </a:cubicBezTo>
                  <a:cubicBezTo>
                    <a:pt x="31" y="34"/>
                    <a:pt x="29" y="34"/>
                    <a:pt x="28" y="32"/>
                  </a:cubicBezTo>
                  <a:cubicBezTo>
                    <a:pt x="26" y="31"/>
                    <a:pt x="25" y="26"/>
                    <a:pt x="23" y="24"/>
                  </a:cubicBezTo>
                  <a:cubicBezTo>
                    <a:pt x="21" y="23"/>
                    <a:pt x="20" y="21"/>
                    <a:pt x="19" y="22"/>
                  </a:cubicBezTo>
                  <a:cubicBezTo>
                    <a:pt x="18" y="22"/>
                    <a:pt x="17" y="23"/>
                    <a:pt x="15" y="22"/>
                  </a:cubicBezTo>
                  <a:cubicBezTo>
                    <a:pt x="13" y="21"/>
                    <a:pt x="14" y="21"/>
                    <a:pt x="15" y="21"/>
                  </a:cubicBezTo>
                  <a:cubicBezTo>
                    <a:pt x="17" y="21"/>
                    <a:pt x="20" y="19"/>
                    <a:pt x="19" y="19"/>
                  </a:cubicBezTo>
                  <a:cubicBezTo>
                    <a:pt x="17" y="19"/>
                    <a:pt x="14" y="19"/>
                    <a:pt x="17" y="18"/>
                  </a:cubicBezTo>
                  <a:cubicBezTo>
                    <a:pt x="19" y="17"/>
                    <a:pt x="20" y="19"/>
                    <a:pt x="21" y="15"/>
                  </a:cubicBezTo>
                  <a:cubicBezTo>
                    <a:pt x="23" y="12"/>
                    <a:pt x="25" y="11"/>
                    <a:pt x="24" y="9"/>
                  </a:cubicBezTo>
                  <a:cubicBezTo>
                    <a:pt x="23" y="8"/>
                    <a:pt x="23" y="8"/>
                    <a:pt x="21" y="8"/>
                  </a:cubicBezTo>
                  <a:cubicBezTo>
                    <a:pt x="19" y="8"/>
                    <a:pt x="15" y="8"/>
                    <a:pt x="14" y="8"/>
                  </a:cubicBezTo>
                  <a:cubicBezTo>
                    <a:pt x="14" y="8"/>
                    <a:pt x="12" y="9"/>
                    <a:pt x="11" y="9"/>
                  </a:cubicBezTo>
                  <a:cubicBezTo>
                    <a:pt x="10" y="9"/>
                    <a:pt x="10" y="9"/>
                    <a:pt x="11" y="9"/>
                  </a:cubicBezTo>
                  <a:cubicBezTo>
                    <a:pt x="12" y="8"/>
                    <a:pt x="14" y="8"/>
                    <a:pt x="12" y="8"/>
                  </a:cubicBezTo>
                  <a:cubicBezTo>
                    <a:pt x="11" y="7"/>
                    <a:pt x="9" y="8"/>
                    <a:pt x="11" y="7"/>
                  </a:cubicBezTo>
                  <a:cubicBezTo>
                    <a:pt x="12" y="6"/>
                    <a:pt x="14" y="5"/>
                    <a:pt x="15" y="4"/>
                  </a:cubicBezTo>
                  <a:cubicBezTo>
                    <a:pt x="17" y="3"/>
                    <a:pt x="19" y="1"/>
                    <a:pt x="16" y="1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59" name="Freeform 469">
              <a:extLst>
                <a:ext uri="{FF2B5EF4-FFF2-40B4-BE49-F238E27FC236}">
                  <a16:creationId xmlns:a16="http://schemas.microsoft.com/office/drawing/2014/main" id="{4F749137-E742-EF0F-295E-5967FFB06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8079" y="3415998"/>
              <a:ext cx="15741" cy="42380"/>
            </a:xfrm>
            <a:custGeom>
              <a:avLst/>
              <a:gdLst>
                <a:gd name="T0" fmla="*/ 5 w 5"/>
                <a:gd name="T1" fmla="*/ 1 h 13"/>
                <a:gd name="T2" fmla="*/ 4 w 5"/>
                <a:gd name="T3" fmla="*/ 8 h 13"/>
                <a:gd name="T4" fmla="*/ 3 w 5"/>
                <a:gd name="T5" fmla="*/ 11 h 13"/>
                <a:gd name="T6" fmla="*/ 0 w 5"/>
                <a:gd name="T7" fmla="*/ 5 h 13"/>
                <a:gd name="T8" fmla="*/ 5 w 5"/>
                <a:gd name="T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3">
                  <a:moveTo>
                    <a:pt x="5" y="1"/>
                  </a:moveTo>
                  <a:cubicBezTo>
                    <a:pt x="5" y="3"/>
                    <a:pt x="5" y="7"/>
                    <a:pt x="4" y="8"/>
                  </a:cubicBezTo>
                  <a:cubicBezTo>
                    <a:pt x="3" y="10"/>
                    <a:pt x="5" y="13"/>
                    <a:pt x="3" y="11"/>
                  </a:cubicBezTo>
                  <a:cubicBezTo>
                    <a:pt x="1" y="10"/>
                    <a:pt x="0" y="8"/>
                    <a:pt x="0" y="5"/>
                  </a:cubicBezTo>
                  <a:cubicBezTo>
                    <a:pt x="1" y="3"/>
                    <a:pt x="5" y="0"/>
                    <a:pt x="5" y="1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60" name="Freeform 470">
              <a:extLst>
                <a:ext uri="{FF2B5EF4-FFF2-40B4-BE49-F238E27FC236}">
                  <a16:creationId xmlns:a16="http://schemas.microsoft.com/office/drawing/2014/main" id="{B87D6C39-9353-3208-3A36-B8CB404CE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8392" y="3458378"/>
              <a:ext cx="32693" cy="48434"/>
            </a:xfrm>
            <a:custGeom>
              <a:avLst/>
              <a:gdLst>
                <a:gd name="T0" fmla="*/ 8 w 10"/>
                <a:gd name="T1" fmla="*/ 2 h 15"/>
                <a:gd name="T2" fmla="*/ 6 w 10"/>
                <a:gd name="T3" fmla="*/ 0 h 15"/>
                <a:gd name="T4" fmla="*/ 2 w 10"/>
                <a:gd name="T5" fmla="*/ 2 h 15"/>
                <a:gd name="T6" fmla="*/ 0 w 10"/>
                <a:gd name="T7" fmla="*/ 2 h 15"/>
                <a:gd name="T8" fmla="*/ 1 w 10"/>
                <a:gd name="T9" fmla="*/ 6 h 15"/>
                <a:gd name="T10" fmla="*/ 3 w 10"/>
                <a:gd name="T11" fmla="*/ 12 h 15"/>
                <a:gd name="T12" fmla="*/ 4 w 10"/>
                <a:gd name="T13" fmla="*/ 15 h 15"/>
                <a:gd name="T14" fmla="*/ 9 w 10"/>
                <a:gd name="T15" fmla="*/ 11 h 15"/>
                <a:gd name="T16" fmla="*/ 8 w 10"/>
                <a:gd name="T1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5">
                  <a:moveTo>
                    <a:pt x="8" y="2"/>
                  </a:moveTo>
                  <a:cubicBezTo>
                    <a:pt x="6" y="2"/>
                    <a:pt x="8" y="0"/>
                    <a:pt x="6" y="0"/>
                  </a:cubicBezTo>
                  <a:cubicBezTo>
                    <a:pt x="4" y="1"/>
                    <a:pt x="3" y="4"/>
                    <a:pt x="2" y="2"/>
                  </a:cubicBezTo>
                  <a:cubicBezTo>
                    <a:pt x="1" y="1"/>
                    <a:pt x="0" y="0"/>
                    <a:pt x="0" y="2"/>
                  </a:cubicBezTo>
                  <a:cubicBezTo>
                    <a:pt x="0" y="4"/>
                    <a:pt x="1" y="4"/>
                    <a:pt x="1" y="6"/>
                  </a:cubicBezTo>
                  <a:cubicBezTo>
                    <a:pt x="1" y="9"/>
                    <a:pt x="3" y="11"/>
                    <a:pt x="3" y="12"/>
                  </a:cubicBezTo>
                  <a:cubicBezTo>
                    <a:pt x="2" y="14"/>
                    <a:pt x="3" y="15"/>
                    <a:pt x="4" y="15"/>
                  </a:cubicBezTo>
                  <a:cubicBezTo>
                    <a:pt x="5" y="14"/>
                    <a:pt x="9" y="14"/>
                    <a:pt x="9" y="11"/>
                  </a:cubicBezTo>
                  <a:cubicBezTo>
                    <a:pt x="9" y="8"/>
                    <a:pt x="10" y="2"/>
                    <a:pt x="8" y="2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63" name="Freeform 473">
              <a:extLst>
                <a:ext uri="{FF2B5EF4-FFF2-40B4-BE49-F238E27FC236}">
                  <a16:creationId xmlns:a16="http://schemas.microsoft.com/office/drawing/2014/main" id="{571AE0AD-A104-E1EB-79E9-550957414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9937" y="3574619"/>
              <a:ext cx="58121" cy="13319"/>
            </a:xfrm>
            <a:custGeom>
              <a:avLst/>
              <a:gdLst>
                <a:gd name="T0" fmla="*/ 9 w 18"/>
                <a:gd name="T1" fmla="*/ 4 h 4"/>
                <a:gd name="T2" fmla="*/ 3 w 18"/>
                <a:gd name="T3" fmla="*/ 2 h 4"/>
                <a:gd name="T4" fmla="*/ 2 w 18"/>
                <a:gd name="T5" fmla="*/ 0 h 4"/>
                <a:gd name="T6" fmla="*/ 7 w 18"/>
                <a:gd name="T7" fmla="*/ 0 h 4"/>
                <a:gd name="T8" fmla="*/ 14 w 18"/>
                <a:gd name="T9" fmla="*/ 2 h 4"/>
                <a:gd name="T10" fmla="*/ 17 w 18"/>
                <a:gd name="T11" fmla="*/ 1 h 4"/>
                <a:gd name="T12" fmla="*/ 13 w 18"/>
                <a:gd name="T13" fmla="*/ 4 h 4"/>
                <a:gd name="T14" fmla="*/ 9 w 18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4">
                  <a:moveTo>
                    <a:pt x="9" y="4"/>
                  </a:moveTo>
                  <a:cubicBezTo>
                    <a:pt x="7" y="4"/>
                    <a:pt x="5" y="3"/>
                    <a:pt x="3" y="2"/>
                  </a:cubicBezTo>
                  <a:cubicBezTo>
                    <a:pt x="1" y="1"/>
                    <a:pt x="0" y="0"/>
                    <a:pt x="2" y="0"/>
                  </a:cubicBezTo>
                  <a:cubicBezTo>
                    <a:pt x="3" y="0"/>
                    <a:pt x="4" y="0"/>
                    <a:pt x="7" y="0"/>
                  </a:cubicBezTo>
                  <a:cubicBezTo>
                    <a:pt x="9" y="0"/>
                    <a:pt x="12" y="2"/>
                    <a:pt x="14" y="2"/>
                  </a:cubicBezTo>
                  <a:cubicBezTo>
                    <a:pt x="16" y="2"/>
                    <a:pt x="18" y="1"/>
                    <a:pt x="17" y="1"/>
                  </a:cubicBezTo>
                  <a:cubicBezTo>
                    <a:pt x="16" y="2"/>
                    <a:pt x="15" y="4"/>
                    <a:pt x="13" y="4"/>
                  </a:cubicBezTo>
                  <a:cubicBezTo>
                    <a:pt x="11" y="4"/>
                    <a:pt x="10" y="4"/>
                    <a:pt x="9" y="4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64" name="Freeform 474">
              <a:extLst>
                <a:ext uri="{FF2B5EF4-FFF2-40B4-BE49-F238E27FC236}">
                  <a16:creationId xmlns:a16="http://schemas.microsoft.com/office/drawing/2014/main" id="{61C25ECA-EF05-83C6-C598-AA3DB8740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8142" y="3044268"/>
              <a:ext cx="29061" cy="25428"/>
            </a:xfrm>
            <a:custGeom>
              <a:avLst/>
              <a:gdLst>
                <a:gd name="T0" fmla="*/ 1 w 9"/>
                <a:gd name="T1" fmla="*/ 4 h 8"/>
                <a:gd name="T2" fmla="*/ 2 w 9"/>
                <a:gd name="T3" fmla="*/ 1 h 8"/>
                <a:gd name="T4" fmla="*/ 7 w 9"/>
                <a:gd name="T5" fmla="*/ 1 h 8"/>
                <a:gd name="T6" fmla="*/ 1 w 9"/>
                <a:gd name="T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8">
                  <a:moveTo>
                    <a:pt x="1" y="4"/>
                  </a:moveTo>
                  <a:cubicBezTo>
                    <a:pt x="0" y="0"/>
                    <a:pt x="0" y="1"/>
                    <a:pt x="2" y="1"/>
                  </a:cubicBezTo>
                  <a:cubicBezTo>
                    <a:pt x="5" y="0"/>
                    <a:pt x="9" y="0"/>
                    <a:pt x="7" y="1"/>
                  </a:cubicBezTo>
                  <a:cubicBezTo>
                    <a:pt x="5" y="2"/>
                    <a:pt x="1" y="8"/>
                    <a:pt x="1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65" name="Freeform 475">
              <a:extLst>
                <a:ext uri="{FF2B5EF4-FFF2-40B4-BE49-F238E27FC236}">
                  <a16:creationId xmlns:a16="http://schemas.microsoft.com/office/drawing/2014/main" id="{70B16ECB-EA06-053B-BD5B-F24FF9AB6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4509" y="3030949"/>
              <a:ext cx="23006" cy="13319"/>
            </a:xfrm>
            <a:custGeom>
              <a:avLst/>
              <a:gdLst>
                <a:gd name="T0" fmla="*/ 4 w 7"/>
                <a:gd name="T1" fmla="*/ 3 h 4"/>
                <a:gd name="T2" fmla="*/ 2 w 7"/>
                <a:gd name="T3" fmla="*/ 2 h 4"/>
                <a:gd name="T4" fmla="*/ 6 w 7"/>
                <a:gd name="T5" fmla="*/ 1 h 4"/>
                <a:gd name="T6" fmla="*/ 4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4" y="3"/>
                  </a:moveTo>
                  <a:cubicBezTo>
                    <a:pt x="3" y="3"/>
                    <a:pt x="0" y="2"/>
                    <a:pt x="2" y="2"/>
                  </a:cubicBezTo>
                  <a:cubicBezTo>
                    <a:pt x="4" y="1"/>
                    <a:pt x="6" y="0"/>
                    <a:pt x="6" y="1"/>
                  </a:cubicBezTo>
                  <a:cubicBezTo>
                    <a:pt x="6" y="2"/>
                    <a:pt x="7" y="4"/>
                    <a:pt x="4" y="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66" name="Freeform 476">
              <a:extLst>
                <a:ext uri="{FF2B5EF4-FFF2-40B4-BE49-F238E27FC236}">
                  <a16:creationId xmlns:a16="http://schemas.microsoft.com/office/drawing/2014/main" id="{E1B187D0-309D-FF31-DE2A-76A8AEC49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2756" y="3060009"/>
              <a:ext cx="13319" cy="35115"/>
            </a:xfrm>
            <a:custGeom>
              <a:avLst/>
              <a:gdLst>
                <a:gd name="T0" fmla="*/ 4 w 4"/>
                <a:gd name="T1" fmla="*/ 1 h 11"/>
                <a:gd name="T2" fmla="*/ 0 w 4"/>
                <a:gd name="T3" fmla="*/ 6 h 11"/>
                <a:gd name="T4" fmla="*/ 1 w 4"/>
                <a:gd name="T5" fmla="*/ 9 h 11"/>
                <a:gd name="T6" fmla="*/ 4 w 4"/>
                <a:gd name="T7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1">
                  <a:moveTo>
                    <a:pt x="4" y="1"/>
                  </a:moveTo>
                  <a:cubicBezTo>
                    <a:pt x="4" y="0"/>
                    <a:pt x="0" y="4"/>
                    <a:pt x="0" y="6"/>
                  </a:cubicBezTo>
                  <a:cubicBezTo>
                    <a:pt x="0" y="8"/>
                    <a:pt x="0" y="11"/>
                    <a:pt x="1" y="9"/>
                  </a:cubicBezTo>
                  <a:cubicBezTo>
                    <a:pt x="2" y="7"/>
                    <a:pt x="4" y="3"/>
                    <a:pt x="4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67" name="Freeform 477">
              <a:extLst>
                <a:ext uri="{FF2B5EF4-FFF2-40B4-BE49-F238E27FC236}">
                  <a16:creationId xmlns:a16="http://schemas.microsoft.com/office/drawing/2014/main" id="{7FE9CB14-A488-F8EC-1211-00B571F42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762" y="2994624"/>
              <a:ext cx="15741" cy="13319"/>
            </a:xfrm>
            <a:custGeom>
              <a:avLst/>
              <a:gdLst>
                <a:gd name="T0" fmla="*/ 4 w 5"/>
                <a:gd name="T1" fmla="*/ 3 h 4"/>
                <a:gd name="T2" fmla="*/ 1 w 5"/>
                <a:gd name="T3" fmla="*/ 2 h 4"/>
                <a:gd name="T4" fmla="*/ 4 w 5"/>
                <a:gd name="T5" fmla="*/ 1 h 4"/>
                <a:gd name="T6" fmla="*/ 4 w 5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3"/>
                  </a:moveTo>
                  <a:cubicBezTo>
                    <a:pt x="3" y="4"/>
                    <a:pt x="0" y="3"/>
                    <a:pt x="1" y="2"/>
                  </a:cubicBezTo>
                  <a:cubicBezTo>
                    <a:pt x="2" y="1"/>
                    <a:pt x="4" y="0"/>
                    <a:pt x="4" y="1"/>
                  </a:cubicBezTo>
                  <a:cubicBezTo>
                    <a:pt x="4" y="2"/>
                    <a:pt x="5" y="3"/>
                    <a:pt x="4" y="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68" name="Freeform 478">
              <a:extLst>
                <a:ext uri="{FF2B5EF4-FFF2-40B4-BE49-F238E27FC236}">
                  <a16:creationId xmlns:a16="http://schemas.microsoft.com/office/drawing/2014/main" id="{05BCEB67-078A-5F78-959A-0887BF7A8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0459" y="3108443"/>
              <a:ext cx="25428" cy="35115"/>
            </a:xfrm>
            <a:custGeom>
              <a:avLst/>
              <a:gdLst>
                <a:gd name="T0" fmla="*/ 7 w 8"/>
                <a:gd name="T1" fmla="*/ 2 h 11"/>
                <a:gd name="T2" fmla="*/ 8 w 8"/>
                <a:gd name="T3" fmla="*/ 5 h 11"/>
                <a:gd name="T4" fmla="*/ 6 w 8"/>
                <a:gd name="T5" fmla="*/ 8 h 11"/>
                <a:gd name="T6" fmla="*/ 6 w 8"/>
                <a:gd name="T7" fmla="*/ 10 h 11"/>
                <a:gd name="T8" fmla="*/ 3 w 8"/>
                <a:gd name="T9" fmla="*/ 8 h 11"/>
                <a:gd name="T10" fmla="*/ 1 w 8"/>
                <a:gd name="T11" fmla="*/ 5 h 11"/>
                <a:gd name="T12" fmla="*/ 1 w 8"/>
                <a:gd name="T13" fmla="*/ 3 h 11"/>
                <a:gd name="T14" fmla="*/ 3 w 8"/>
                <a:gd name="T15" fmla="*/ 2 h 11"/>
                <a:gd name="T16" fmla="*/ 5 w 8"/>
                <a:gd name="T17" fmla="*/ 4 h 11"/>
                <a:gd name="T18" fmla="*/ 7 w 8"/>
                <a:gd name="T1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1">
                  <a:moveTo>
                    <a:pt x="7" y="2"/>
                  </a:moveTo>
                  <a:cubicBezTo>
                    <a:pt x="7" y="0"/>
                    <a:pt x="8" y="4"/>
                    <a:pt x="8" y="5"/>
                  </a:cubicBezTo>
                  <a:cubicBezTo>
                    <a:pt x="8" y="7"/>
                    <a:pt x="7" y="7"/>
                    <a:pt x="6" y="8"/>
                  </a:cubicBezTo>
                  <a:cubicBezTo>
                    <a:pt x="6" y="9"/>
                    <a:pt x="7" y="11"/>
                    <a:pt x="6" y="10"/>
                  </a:cubicBezTo>
                  <a:cubicBezTo>
                    <a:pt x="5" y="10"/>
                    <a:pt x="5" y="9"/>
                    <a:pt x="3" y="8"/>
                  </a:cubicBezTo>
                  <a:cubicBezTo>
                    <a:pt x="2" y="7"/>
                    <a:pt x="2" y="6"/>
                    <a:pt x="1" y="5"/>
                  </a:cubicBezTo>
                  <a:cubicBezTo>
                    <a:pt x="1" y="4"/>
                    <a:pt x="0" y="3"/>
                    <a:pt x="1" y="3"/>
                  </a:cubicBezTo>
                  <a:cubicBezTo>
                    <a:pt x="1" y="3"/>
                    <a:pt x="2" y="3"/>
                    <a:pt x="3" y="2"/>
                  </a:cubicBezTo>
                  <a:cubicBezTo>
                    <a:pt x="3" y="1"/>
                    <a:pt x="4" y="3"/>
                    <a:pt x="5" y="4"/>
                  </a:cubicBezTo>
                  <a:cubicBezTo>
                    <a:pt x="6" y="5"/>
                    <a:pt x="7" y="3"/>
                    <a:pt x="7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69" name="Freeform 479">
              <a:extLst>
                <a:ext uri="{FF2B5EF4-FFF2-40B4-BE49-F238E27FC236}">
                  <a16:creationId xmlns:a16="http://schemas.microsoft.com/office/drawing/2014/main" id="{F4E9BC97-1B93-1397-7403-8E5F786C1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453" y="3121763"/>
              <a:ext cx="23006" cy="21795"/>
            </a:xfrm>
            <a:custGeom>
              <a:avLst/>
              <a:gdLst>
                <a:gd name="T0" fmla="*/ 6 w 7"/>
                <a:gd name="T1" fmla="*/ 6 h 7"/>
                <a:gd name="T2" fmla="*/ 4 w 7"/>
                <a:gd name="T3" fmla="*/ 6 h 7"/>
                <a:gd name="T4" fmla="*/ 3 w 7"/>
                <a:gd name="T5" fmla="*/ 5 h 7"/>
                <a:gd name="T6" fmla="*/ 1 w 7"/>
                <a:gd name="T7" fmla="*/ 2 h 7"/>
                <a:gd name="T8" fmla="*/ 3 w 7"/>
                <a:gd name="T9" fmla="*/ 1 h 7"/>
                <a:gd name="T10" fmla="*/ 6 w 7"/>
                <a:gd name="T11" fmla="*/ 2 h 7"/>
                <a:gd name="T12" fmla="*/ 6 w 7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cubicBezTo>
                    <a:pt x="5" y="7"/>
                    <a:pt x="4" y="5"/>
                    <a:pt x="4" y="6"/>
                  </a:cubicBezTo>
                  <a:cubicBezTo>
                    <a:pt x="3" y="6"/>
                    <a:pt x="4" y="5"/>
                    <a:pt x="3" y="5"/>
                  </a:cubicBezTo>
                  <a:cubicBezTo>
                    <a:pt x="2" y="4"/>
                    <a:pt x="0" y="3"/>
                    <a:pt x="1" y="2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4" y="2"/>
                    <a:pt x="5" y="1"/>
                    <a:pt x="6" y="2"/>
                  </a:cubicBezTo>
                  <a:cubicBezTo>
                    <a:pt x="6" y="3"/>
                    <a:pt x="7" y="5"/>
                    <a:pt x="6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70" name="Freeform 480">
              <a:extLst>
                <a:ext uri="{FF2B5EF4-FFF2-40B4-BE49-F238E27FC236}">
                  <a16:creationId xmlns:a16="http://schemas.microsoft.com/office/drawing/2014/main" id="{E98A4BC8-BE38-0666-0656-514723DC17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5470" y="3481384"/>
              <a:ext cx="21795" cy="19374"/>
            </a:xfrm>
            <a:custGeom>
              <a:avLst/>
              <a:gdLst>
                <a:gd name="T0" fmla="*/ 6 w 7"/>
                <a:gd name="T1" fmla="*/ 3 h 6"/>
                <a:gd name="T2" fmla="*/ 4 w 7"/>
                <a:gd name="T3" fmla="*/ 5 h 6"/>
                <a:gd name="T4" fmla="*/ 3 w 7"/>
                <a:gd name="T5" fmla="*/ 4 h 6"/>
                <a:gd name="T6" fmla="*/ 1 w 7"/>
                <a:gd name="T7" fmla="*/ 4 h 6"/>
                <a:gd name="T8" fmla="*/ 5 w 7"/>
                <a:gd name="T9" fmla="*/ 1 h 6"/>
                <a:gd name="T10" fmla="*/ 6 w 7"/>
                <a:gd name="T1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6" y="3"/>
                  </a:moveTo>
                  <a:cubicBezTo>
                    <a:pt x="7" y="3"/>
                    <a:pt x="5" y="6"/>
                    <a:pt x="4" y="5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2" y="4"/>
                    <a:pt x="0" y="5"/>
                    <a:pt x="1" y="4"/>
                  </a:cubicBezTo>
                  <a:cubicBezTo>
                    <a:pt x="2" y="3"/>
                    <a:pt x="5" y="0"/>
                    <a:pt x="5" y="1"/>
                  </a:cubicBezTo>
                  <a:cubicBezTo>
                    <a:pt x="5" y="2"/>
                    <a:pt x="4" y="3"/>
                    <a:pt x="6" y="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71" name="Freeform 481">
              <a:extLst>
                <a:ext uri="{FF2B5EF4-FFF2-40B4-BE49-F238E27FC236}">
                  <a16:creationId xmlns:a16="http://schemas.microsoft.com/office/drawing/2014/main" id="{589B09C0-A298-D87A-1D83-9D7D30E41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3528" y="3046690"/>
              <a:ext cx="19374" cy="23006"/>
            </a:xfrm>
            <a:custGeom>
              <a:avLst/>
              <a:gdLst>
                <a:gd name="T0" fmla="*/ 5 w 6"/>
                <a:gd name="T1" fmla="*/ 1 h 7"/>
                <a:gd name="T2" fmla="*/ 4 w 6"/>
                <a:gd name="T3" fmla="*/ 4 h 7"/>
                <a:gd name="T4" fmla="*/ 3 w 6"/>
                <a:gd name="T5" fmla="*/ 6 h 7"/>
                <a:gd name="T6" fmla="*/ 1 w 6"/>
                <a:gd name="T7" fmla="*/ 6 h 7"/>
                <a:gd name="T8" fmla="*/ 1 w 6"/>
                <a:gd name="T9" fmla="*/ 4 h 7"/>
                <a:gd name="T10" fmla="*/ 5 w 6"/>
                <a:gd name="T1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5" y="1"/>
                  </a:moveTo>
                  <a:cubicBezTo>
                    <a:pt x="6" y="2"/>
                    <a:pt x="5" y="4"/>
                    <a:pt x="4" y="4"/>
                  </a:cubicBezTo>
                  <a:cubicBezTo>
                    <a:pt x="4" y="5"/>
                    <a:pt x="4" y="5"/>
                    <a:pt x="3" y="6"/>
                  </a:cubicBezTo>
                  <a:cubicBezTo>
                    <a:pt x="2" y="6"/>
                    <a:pt x="2" y="7"/>
                    <a:pt x="1" y="6"/>
                  </a:cubicBezTo>
                  <a:cubicBezTo>
                    <a:pt x="1" y="5"/>
                    <a:pt x="0" y="5"/>
                    <a:pt x="1" y="4"/>
                  </a:cubicBezTo>
                  <a:cubicBezTo>
                    <a:pt x="2" y="3"/>
                    <a:pt x="4" y="0"/>
                    <a:pt x="5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72" name="Freeform 482">
              <a:extLst>
                <a:ext uri="{FF2B5EF4-FFF2-40B4-BE49-F238E27FC236}">
                  <a16:creationId xmlns:a16="http://schemas.microsoft.com/office/drawing/2014/main" id="{19D4763D-7124-C7FB-CA24-177370D34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9582" y="3073329"/>
              <a:ext cx="13319" cy="12108"/>
            </a:xfrm>
            <a:custGeom>
              <a:avLst/>
              <a:gdLst>
                <a:gd name="T0" fmla="*/ 4 w 4"/>
                <a:gd name="T1" fmla="*/ 0 h 4"/>
                <a:gd name="T2" fmla="*/ 2 w 4"/>
                <a:gd name="T3" fmla="*/ 1 h 4"/>
                <a:gd name="T4" fmla="*/ 1 w 4"/>
                <a:gd name="T5" fmla="*/ 2 h 4"/>
                <a:gd name="T6" fmla="*/ 3 w 4"/>
                <a:gd name="T7" fmla="*/ 3 h 4"/>
                <a:gd name="T8" fmla="*/ 4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cubicBezTo>
                    <a:pt x="3" y="1"/>
                    <a:pt x="3" y="0"/>
                    <a:pt x="2" y="1"/>
                  </a:cubicBezTo>
                  <a:cubicBezTo>
                    <a:pt x="1" y="1"/>
                    <a:pt x="0" y="1"/>
                    <a:pt x="1" y="2"/>
                  </a:cubicBezTo>
                  <a:cubicBezTo>
                    <a:pt x="2" y="3"/>
                    <a:pt x="2" y="4"/>
                    <a:pt x="3" y="3"/>
                  </a:cubicBezTo>
                  <a:cubicBezTo>
                    <a:pt x="4" y="2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73" name="Freeform 483">
              <a:extLst>
                <a:ext uri="{FF2B5EF4-FFF2-40B4-BE49-F238E27FC236}">
                  <a16:creationId xmlns:a16="http://schemas.microsoft.com/office/drawing/2014/main" id="{BB93231F-A6D3-6F2E-062B-3C3439BA00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534" y="3083016"/>
              <a:ext cx="6054" cy="2422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1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2" y="0"/>
                    <a:pt x="1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74" name="Freeform 484">
              <a:extLst>
                <a:ext uri="{FF2B5EF4-FFF2-40B4-BE49-F238E27FC236}">
                  <a16:creationId xmlns:a16="http://schemas.microsoft.com/office/drawing/2014/main" id="{2747AE98-B80A-93BD-3232-8567FE786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2902" y="3092702"/>
              <a:ext cx="6054" cy="9687"/>
            </a:xfrm>
            <a:custGeom>
              <a:avLst/>
              <a:gdLst>
                <a:gd name="T0" fmla="*/ 1 w 2"/>
                <a:gd name="T1" fmla="*/ 1 h 3"/>
                <a:gd name="T2" fmla="*/ 0 w 2"/>
                <a:gd name="T3" fmla="*/ 2 h 3"/>
                <a:gd name="T4" fmla="*/ 1 w 2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1" y="1"/>
                    <a:pt x="0" y="3"/>
                    <a:pt x="0" y="2"/>
                  </a:cubicBezTo>
                  <a:cubicBezTo>
                    <a:pt x="1" y="2"/>
                    <a:pt x="2" y="0"/>
                    <a:pt x="1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75" name="Freeform 485">
              <a:extLst>
                <a:ext uri="{FF2B5EF4-FFF2-40B4-BE49-F238E27FC236}">
                  <a16:creationId xmlns:a16="http://schemas.microsoft.com/office/drawing/2014/main" id="{8F634B17-DB84-A553-1BE7-74B5E1E82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2902" y="3102389"/>
              <a:ext cx="9687" cy="2422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2 w 3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2" y="1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76" name="Freeform 486">
              <a:extLst>
                <a:ext uri="{FF2B5EF4-FFF2-40B4-BE49-F238E27FC236}">
                  <a16:creationId xmlns:a16="http://schemas.microsoft.com/office/drawing/2014/main" id="{9FAF2055-1E9F-5B38-19A0-30BA2A182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962" y="3153245"/>
              <a:ext cx="3633" cy="7265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0 w 1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77" name="Freeform 487">
              <a:extLst>
                <a:ext uri="{FF2B5EF4-FFF2-40B4-BE49-F238E27FC236}">
                  <a16:creationId xmlns:a16="http://schemas.microsoft.com/office/drawing/2014/main" id="{E7F2E30C-84AB-8698-0714-680756E2F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4029" y="2992202"/>
              <a:ext cx="9687" cy="15741"/>
            </a:xfrm>
            <a:custGeom>
              <a:avLst/>
              <a:gdLst>
                <a:gd name="T0" fmla="*/ 2 w 3"/>
                <a:gd name="T1" fmla="*/ 4 h 5"/>
                <a:gd name="T2" fmla="*/ 1 w 3"/>
                <a:gd name="T3" fmla="*/ 2 h 5"/>
                <a:gd name="T4" fmla="*/ 3 w 3"/>
                <a:gd name="T5" fmla="*/ 1 h 5"/>
                <a:gd name="T6" fmla="*/ 2 w 3"/>
                <a:gd name="T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2" y="4"/>
                  </a:moveTo>
                  <a:cubicBezTo>
                    <a:pt x="1" y="4"/>
                    <a:pt x="0" y="4"/>
                    <a:pt x="1" y="2"/>
                  </a:cubicBezTo>
                  <a:cubicBezTo>
                    <a:pt x="2" y="1"/>
                    <a:pt x="3" y="0"/>
                    <a:pt x="3" y="1"/>
                  </a:cubicBezTo>
                  <a:cubicBezTo>
                    <a:pt x="3" y="2"/>
                    <a:pt x="2" y="5"/>
                    <a:pt x="2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79" name="Rectangle 594">
              <a:extLst>
                <a:ext uri="{FF2B5EF4-FFF2-40B4-BE49-F238E27FC236}">
                  <a16:creationId xmlns:a16="http://schemas.microsoft.com/office/drawing/2014/main" id="{08E0681A-02D9-0D39-E5B9-4DF6A383EB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0062" y="2768196"/>
              <a:ext cx="3633" cy="1211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11" name="Freeform 626">
              <a:extLst>
                <a:ext uri="{FF2B5EF4-FFF2-40B4-BE49-F238E27FC236}">
                  <a16:creationId xmlns:a16="http://schemas.microsoft.com/office/drawing/2014/main" id="{13F7E273-712A-39F9-D209-904AE7A5CA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9833" y="3231950"/>
              <a:ext cx="112610" cy="60542"/>
            </a:xfrm>
            <a:custGeom>
              <a:avLst/>
              <a:gdLst>
                <a:gd name="T0" fmla="*/ 13 w 35"/>
                <a:gd name="T1" fmla="*/ 19 h 19"/>
                <a:gd name="T2" fmla="*/ 15 w 35"/>
                <a:gd name="T3" fmla="*/ 16 h 19"/>
                <a:gd name="T4" fmla="*/ 21 w 35"/>
                <a:gd name="T5" fmla="*/ 18 h 19"/>
                <a:gd name="T6" fmla="*/ 25 w 35"/>
                <a:gd name="T7" fmla="*/ 18 h 19"/>
                <a:gd name="T8" fmla="*/ 29 w 35"/>
                <a:gd name="T9" fmla="*/ 17 h 19"/>
                <a:gd name="T10" fmla="*/ 32 w 35"/>
                <a:gd name="T11" fmla="*/ 15 h 19"/>
                <a:gd name="T12" fmla="*/ 35 w 35"/>
                <a:gd name="T13" fmla="*/ 12 h 19"/>
                <a:gd name="T14" fmla="*/ 30 w 35"/>
                <a:gd name="T15" fmla="*/ 8 h 19"/>
                <a:gd name="T16" fmla="*/ 27 w 35"/>
                <a:gd name="T17" fmla="*/ 6 h 19"/>
                <a:gd name="T18" fmla="*/ 23 w 35"/>
                <a:gd name="T19" fmla="*/ 8 h 19"/>
                <a:gd name="T20" fmla="*/ 21 w 35"/>
                <a:gd name="T21" fmla="*/ 6 h 19"/>
                <a:gd name="T22" fmla="*/ 19 w 35"/>
                <a:gd name="T23" fmla="*/ 4 h 19"/>
                <a:gd name="T24" fmla="*/ 16 w 35"/>
                <a:gd name="T25" fmla="*/ 2 h 19"/>
                <a:gd name="T26" fmla="*/ 16 w 35"/>
                <a:gd name="T27" fmla="*/ 1 h 19"/>
                <a:gd name="T28" fmla="*/ 16 w 35"/>
                <a:gd name="T29" fmla="*/ 1 h 19"/>
                <a:gd name="T30" fmla="*/ 15 w 35"/>
                <a:gd name="T31" fmla="*/ 3 h 19"/>
                <a:gd name="T32" fmla="*/ 12 w 35"/>
                <a:gd name="T33" fmla="*/ 1 h 19"/>
                <a:gd name="T34" fmla="*/ 10 w 35"/>
                <a:gd name="T35" fmla="*/ 3 h 19"/>
                <a:gd name="T36" fmla="*/ 4 w 35"/>
                <a:gd name="T37" fmla="*/ 6 h 19"/>
                <a:gd name="T38" fmla="*/ 1 w 35"/>
                <a:gd name="T39" fmla="*/ 8 h 19"/>
                <a:gd name="T40" fmla="*/ 3 w 35"/>
                <a:gd name="T41" fmla="*/ 11 h 19"/>
                <a:gd name="T42" fmla="*/ 11 w 35"/>
                <a:gd name="T43" fmla="*/ 19 h 19"/>
                <a:gd name="T44" fmla="*/ 13 w 35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" h="19">
                  <a:moveTo>
                    <a:pt x="13" y="19"/>
                  </a:moveTo>
                  <a:cubicBezTo>
                    <a:pt x="15" y="19"/>
                    <a:pt x="14" y="16"/>
                    <a:pt x="15" y="16"/>
                  </a:cubicBezTo>
                  <a:cubicBezTo>
                    <a:pt x="17" y="16"/>
                    <a:pt x="20" y="18"/>
                    <a:pt x="21" y="18"/>
                  </a:cubicBezTo>
                  <a:cubicBezTo>
                    <a:pt x="22" y="18"/>
                    <a:pt x="25" y="18"/>
                    <a:pt x="25" y="18"/>
                  </a:cubicBezTo>
                  <a:cubicBezTo>
                    <a:pt x="25" y="17"/>
                    <a:pt x="27" y="17"/>
                    <a:pt x="29" y="17"/>
                  </a:cubicBezTo>
                  <a:cubicBezTo>
                    <a:pt x="31" y="17"/>
                    <a:pt x="31" y="16"/>
                    <a:pt x="32" y="15"/>
                  </a:cubicBezTo>
                  <a:cubicBezTo>
                    <a:pt x="33" y="14"/>
                    <a:pt x="35" y="12"/>
                    <a:pt x="35" y="12"/>
                  </a:cubicBezTo>
                  <a:cubicBezTo>
                    <a:pt x="35" y="11"/>
                    <a:pt x="32" y="9"/>
                    <a:pt x="30" y="8"/>
                  </a:cubicBezTo>
                  <a:cubicBezTo>
                    <a:pt x="29" y="7"/>
                    <a:pt x="28" y="7"/>
                    <a:pt x="27" y="6"/>
                  </a:cubicBezTo>
                  <a:cubicBezTo>
                    <a:pt x="25" y="5"/>
                    <a:pt x="25" y="7"/>
                    <a:pt x="23" y="8"/>
                  </a:cubicBezTo>
                  <a:cubicBezTo>
                    <a:pt x="22" y="8"/>
                    <a:pt x="22" y="6"/>
                    <a:pt x="21" y="6"/>
                  </a:cubicBezTo>
                  <a:cubicBezTo>
                    <a:pt x="21" y="5"/>
                    <a:pt x="21" y="4"/>
                    <a:pt x="19" y="4"/>
                  </a:cubicBezTo>
                  <a:cubicBezTo>
                    <a:pt x="17" y="3"/>
                    <a:pt x="16" y="2"/>
                    <a:pt x="16" y="2"/>
                  </a:cubicBezTo>
                  <a:cubicBezTo>
                    <a:pt x="16" y="2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5" y="2"/>
                    <a:pt x="15" y="3"/>
                  </a:cubicBezTo>
                  <a:cubicBezTo>
                    <a:pt x="14" y="4"/>
                    <a:pt x="13" y="2"/>
                    <a:pt x="12" y="1"/>
                  </a:cubicBezTo>
                  <a:cubicBezTo>
                    <a:pt x="12" y="0"/>
                    <a:pt x="11" y="2"/>
                    <a:pt x="10" y="3"/>
                  </a:cubicBezTo>
                  <a:cubicBezTo>
                    <a:pt x="9" y="4"/>
                    <a:pt x="5" y="5"/>
                    <a:pt x="4" y="6"/>
                  </a:cubicBezTo>
                  <a:cubicBezTo>
                    <a:pt x="3" y="7"/>
                    <a:pt x="0" y="6"/>
                    <a:pt x="1" y="8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3"/>
                    <a:pt x="11" y="18"/>
                    <a:pt x="11" y="19"/>
                  </a:cubicBezTo>
                  <a:cubicBezTo>
                    <a:pt x="11" y="19"/>
                    <a:pt x="11" y="19"/>
                    <a:pt x="13" y="19"/>
                  </a:cubicBezTo>
                  <a:close/>
                </a:path>
              </a:pathLst>
            </a:custGeom>
            <a:solidFill>
              <a:srgbClr val="F2F2F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12" name="Freeform 627">
              <a:extLst>
                <a:ext uri="{FF2B5EF4-FFF2-40B4-BE49-F238E27FC236}">
                  <a16:creationId xmlns:a16="http://schemas.microsoft.com/office/drawing/2014/main" id="{5A07D053-8DAD-99B9-96A0-B8680F514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820" y="3282806"/>
              <a:ext cx="129562" cy="61753"/>
            </a:xfrm>
            <a:custGeom>
              <a:avLst/>
              <a:gdLst>
                <a:gd name="T0" fmla="*/ 35 w 40"/>
                <a:gd name="T1" fmla="*/ 2 h 19"/>
                <a:gd name="T2" fmla="*/ 29 w 40"/>
                <a:gd name="T3" fmla="*/ 0 h 19"/>
                <a:gd name="T4" fmla="*/ 27 w 40"/>
                <a:gd name="T5" fmla="*/ 3 h 19"/>
                <a:gd name="T6" fmla="*/ 25 w 40"/>
                <a:gd name="T7" fmla="*/ 3 h 19"/>
                <a:gd name="T8" fmla="*/ 22 w 40"/>
                <a:gd name="T9" fmla="*/ 4 h 19"/>
                <a:gd name="T10" fmla="*/ 19 w 40"/>
                <a:gd name="T11" fmla="*/ 6 h 19"/>
                <a:gd name="T12" fmla="*/ 20 w 40"/>
                <a:gd name="T13" fmla="*/ 10 h 19"/>
                <a:gd name="T14" fmla="*/ 16 w 40"/>
                <a:gd name="T15" fmla="*/ 10 h 19"/>
                <a:gd name="T16" fmla="*/ 10 w 40"/>
                <a:gd name="T17" fmla="*/ 12 h 19"/>
                <a:gd name="T18" fmla="*/ 8 w 40"/>
                <a:gd name="T19" fmla="*/ 11 h 19"/>
                <a:gd name="T20" fmla="*/ 5 w 40"/>
                <a:gd name="T21" fmla="*/ 12 h 19"/>
                <a:gd name="T22" fmla="*/ 1 w 40"/>
                <a:gd name="T23" fmla="*/ 10 h 19"/>
                <a:gd name="T24" fmla="*/ 0 w 40"/>
                <a:gd name="T25" fmla="*/ 10 h 19"/>
                <a:gd name="T26" fmla="*/ 0 w 40"/>
                <a:gd name="T27" fmla="*/ 10 h 19"/>
                <a:gd name="T28" fmla="*/ 1 w 40"/>
                <a:gd name="T29" fmla="*/ 13 h 19"/>
                <a:gd name="T30" fmla="*/ 6 w 40"/>
                <a:gd name="T31" fmla="*/ 15 h 19"/>
                <a:gd name="T32" fmla="*/ 8 w 40"/>
                <a:gd name="T33" fmla="*/ 16 h 19"/>
                <a:gd name="T34" fmla="*/ 11 w 40"/>
                <a:gd name="T35" fmla="*/ 15 h 19"/>
                <a:gd name="T36" fmla="*/ 14 w 40"/>
                <a:gd name="T37" fmla="*/ 15 h 19"/>
                <a:gd name="T38" fmla="*/ 16 w 40"/>
                <a:gd name="T39" fmla="*/ 17 h 19"/>
                <a:gd name="T40" fmla="*/ 25 w 40"/>
                <a:gd name="T41" fmla="*/ 18 h 19"/>
                <a:gd name="T42" fmla="*/ 28 w 40"/>
                <a:gd name="T43" fmla="*/ 17 h 19"/>
                <a:gd name="T44" fmla="*/ 32 w 40"/>
                <a:gd name="T45" fmla="*/ 16 h 19"/>
                <a:gd name="T46" fmla="*/ 36 w 40"/>
                <a:gd name="T47" fmla="*/ 15 h 19"/>
                <a:gd name="T48" fmla="*/ 36 w 40"/>
                <a:gd name="T49" fmla="*/ 15 h 19"/>
                <a:gd name="T50" fmla="*/ 36 w 40"/>
                <a:gd name="T51" fmla="*/ 15 h 19"/>
                <a:gd name="T52" fmla="*/ 36 w 40"/>
                <a:gd name="T53" fmla="*/ 14 h 19"/>
                <a:gd name="T54" fmla="*/ 37 w 40"/>
                <a:gd name="T55" fmla="*/ 9 h 19"/>
                <a:gd name="T56" fmla="*/ 39 w 40"/>
                <a:gd name="T57" fmla="*/ 9 h 19"/>
                <a:gd name="T58" fmla="*/ 40 w 40"/>
                <a:gd name="T59" fmla="*/ 6 h 19"/>
                <a:gd name="T60" fmla="*/ 39 w 40"/>
                <a:gd name="T61" fmla="*/ 2 h 19"/>
                <a:gd name="T62" fmla="*/ 35 w 40"/>
                <a:gd name="T63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" h="19">
                  <a:moveTo>
                    <a:pt x="35" y="2"/>
                  </a:moveTo>
                  <a:cubicBezTo>
                    <a:pt x="34" y="2"/>
                    <a:pt x="31" y="0"/>
                    <a:pt x="29" y="0"/>
                  </a:cubicBezTo>
                  <a:cubicBezTo>
                    <a:pt x="28" y="0"/>
                    <a:pt x="29" y="3"/>
                    <a:pt x="27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4"/>
                    <a:pt x="23" y="3"/>
                    <a:pt x="22" y="4"/>
                  </a:cubicBezTo>
                  <a:cubicBezTo>
                    <a:pt x="21" y="4"/>
                    <a:pt x="21" y="5"/>
                    <a:pt x="19" y="6"/>
                  </a:cubicBezTo>
                  <a:cubicBezTo>
                    <a:pt x="17" y="7"/>
                    <a:pt x="19" y="8"/>
                    <a:pt x="20" y="10"/>
                  </a:cubicBezTo>
                  <a:cubicBezTo>
                    <a:pt x="21" y="12"/>
                    <a:pt x="18" y="10"/>
                    <a:pt x="16" y="10"/>
                  </a:cubicBezTo>
                  <a:cubicBezTo>
                    <a:pt x="14" y="10"/>
                    <a:pt x="12" y="11"/>
                    <a:pt x="10" y="12"/>
                  </a:cubicBezTo>
                  <a:cubicBezTo>
                    <a:pt x="9" y="12"/>
                    <a:pt x="9" y="11"/>
                    <a:pt x="8" y="11"/>
                  </a:cubicBezTo>
                  <a:cubicBezTo>
                    <a:pt x="6" y="10"/>
                    <a:pt x="6" y="11"/>
                    <a:pt x="5" y="12"/>
                  </a:cubicBezTo>
                  <a:cubicBezTo>
                    <a:pt x="5" y="13"/>
                    <a:pt x="3" y="11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2"/>
                    <a:pt x="1" y="13"/>
                  </a:cubicBezTo>
                  <a:cubicBezTo>
                    <a:pt x="2" y="14"/>
                    <a:pt x="6" y="15"/>
                    <a:pt x="6" y="15"/>
                  </a:cubicBezTo>
                  <a:cubicBezTo>
                    <a:pt x="6" y="14"/>
                    <a:pt x="8" y="16"/>
                    <a:pt x="8" y="16"/>
                  </a:cubicBezTo>
                  <a:cubicBezTo>
                    <a:pt x="9" y="16"/>
                    <a:pt x="10" y="15"/>
                    <a:pt x="11" y="15"/>
                  </a:cubicBezTo>
                  <a:cubicBezTo>
                    <a:pt x="11" y="15"/>
                    <a:pt x="13" y="15"/>
                    <a:pt x="14" y="15"/>
                  </a:cubicBezTo>
                  <a:cubicBezTo>
                    <a:pt x="15" y="15"/>
                    <a:pt x="14" y="16"/>
                    <a:pt x="16" y="17"/>
                  </a:cubicBezTo>
                  <a:cubicBezTo>
                    <a:pt x="18" y="17"/>
                    <a:pt x="24" y="18"/>
                    <a:pt x="25" y="18"/>
                  </a:cubicBezTo>
                  <a:cubicBezTo>
                    <a:pt x="27" y="19"/>
                    <a:pt x="27" y="17"/>
                    <a:pt x="28" y="17"/>
                  </a:cubicBezTo>
                  <a:cubicBezTo>
                    <a:pt x="29" y="16"/>
                    <a:pt x="30" y="16"/>
                    <a:pt x="32" y="16"/>
                  </a:cubicBezTo>
                  <a:cubicBezTo>
                    <a:pt x="34" y="16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6" y="14"/>
                    <a:pt x="36" y="14"/>
                  </a:cubicBezTo>
                  <a:cubicBezTo>
                    <a:pt x="38" y="14"/>
                    <a:pt x="37" y="10"/>
                    <a:pt x="37" y="9"/>
                  </a:cubicBezTo>
                  <a:cubicBezTo>
                    <a:pt x="37" y="9"/>
                    <a:pt x="38" y="9"/>
                    <a:pt x="39" y="9"/>
                  </a:cubicBezTo>
                  <a:cubicBezTo>
                    <a:pt x="40" y="9"/>
                    <a:pt x="40" y="6"/>
                    <a:pt x="40" y="6"/>
                  </a:cubicBezTo>
                  <a:cubicBezTo>
                    <a:pt x="39" y="5"/>
                    <a:pt x="39" y="3"/>
                    <a:pt x="39" y="2"/>
                  </a:cubicBezTo>
                  <a:cubicBezTo>
                    <a:pt x="39" y="2"/>
                    <a:pt x="36" y="2"/>
                    <a:pt x="35" y="2"/>
                  </a:cubicBezTo>
                  <a:close/>
                </a:path>
              </a:pathLst>
            </a:custGeom>
            <a:solidFill>
              <a:srgbClr val="F2F2F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13" name="Freeform 628">
              <a:extLst>
                <a:ext uri="{FF2B5EF4-FFF2-40B4-BE49-F238E27FC236}">
                  <a16:creationId xmlns:a16="http://schemas.microsoft.com/office/drawing/2014/main" id="{F8E945C1-0429-C7EC-C7B5-B2F803460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386" y="3328818"/>
              <a:ext cx="201002" cy="197368"/>
            </a:xfrm>
            <a:custGeom>
              <a:avLst/>
              <a:gdLst>
                <a:gd name="T0" fmla="*/ 44 w 62"/>
                <a:gd name="T1" fmla="*/ 11 h 61"/>
                <a:gd name="T2" fmla="*/ 48 w 62"/>
                <a:gd name="T3" fmla="*/ 6 h 61"/>
                <a:gd name="T4" fmla="*/ 51 w 62"/>
                <a:gd name="T5" fmla="*/ 1 h 61"/>
                <a:gd name="T6" fmla="*/ 51 w 62"/>
                <a:gd name="T7" fmla="*/ 1 h 61"/>
                <a:gd name="T8" fmla="*/ 43 w 62"/>
                <a:gd name="T9" fmla="*/ 3 h 61"/>
                <a:gd name="T10" fmla="*/ 31 w 62"/>
                <a:gd name="T11" fmla="*/ 3 h 61"/>
                <a:gd name="T12" fmla="*/ 26 w 62"/>
                <a:gd name="T13" fmla="*/ 1 h 61"/>
                <a:gd name="T14" fmla="*/ 21 w 62"/>
                <a:gd name="T15" fmla="*/ 1 h 61"/>
                <a:gd name="T16" fmla="*/ 18 w 62"/>
                <a:gd name="T17" fmla="*/ 5 h 61"/>
                <a:gd name="T18" fmla="*/ 14 w 62"/>
                <a:gd name="T19" fmla="*/ 6 h 61"/>
                <a:gd name="T20" fmla="*/ 9 w 62"/>
                <a:gd name="T21" fmla="*/ 5 h 61"/>
                <a:gd name="T22" fmla="*/ 0 w 62"/>
                <a:gd name="T23" fmla="*/ 7 h 61"/>
                <a:gd name="T24" fmla="*/ 2 w 62"/>
                <a:gd name="T25" fmla="*/ 12 h 61"/>
                <a:gd name="T26" fmla="*/ 2 w 62"/>
                <a:gd name="T27" fmla="*/ 19 h 61"/>
                <a:gd name="T28" fmla="*/ 4 w 62"/>
                <a:gd name="T29" fmla="*/ 23 h 61"/>
                <a:gd name="T30" fmla="*/ 12 w 62"/>
                <a:gd name="T31" fmla="*/ 18 h 61"/>
                <a:gd name="T32" fmla="*/ 19 w 62"/>
                <a:gd name="T33" fmla="*/ 24 h 61"/>
                <a:gd name="T34" fmla="*/ 27 w 62"/>
                <a:gd name="T35" fmla="*/ 33 h 61"/>
                <a:gd name="T36" fmla="*/ 39 w 62"/>
                <a:gd name="T37" fmla="*/ 41 h 61"/>
                <a:gd name="T38" fmla="*/ 48 w 62"/>
                <a:gd name="T39" fmla="*/ 48 h 61"/>
                <a:gd name="T40" fmla="*/ 49 w 62"/>
                <a:gd name="T41" fmla="*/ 57 h 61"/>
                <a:gd name="T42" fmla="*/ 52 w 62"/>
                <a:gd name="T43" fmla="*/ 56 h 61"/>
                <a:gd name="T44" fmla="*/ 55 w 62"/>
                <a:gd name="T45" fmla="*/ 52 h 61"/>
                <a:gd name="T46" fmla="*/ 53 w 62"/>
                <a:gd name="T47" fmla="*/ 46 h 61"/>
                <a:gd name="T48" fmla="*/ 60 w 62"/>
                <a:gd name="T49" fmla="*/ 46 h 61"/>
                <a:gd name="T50" fmla="*/ 61 w 62"/>
                <a:gd name="T51" fmla="*/ 44 h 61"/>
                <a:gd name="T52" fmla="*/ 49 w 62"/>
                <a:gd name="T53" fmla="*/ 37 h 61"/>
                <a:gd name="T54" fmla="*/ 47 w 62"/>
                <a:gd name="T55" fmla="*/ 35 h 61"/>
                <a:gd name="T56" fmla="*/ 38 w 62"/>
                <a:gd name="T57" fmla="*/ 27 h 61"/>
                <a:gd name="T58" fmla="*/ 31 w 62"/>
                <a:gd name="T59" fmla="*/ 19 h 61"/>
                <a:gd name="T60" fmla="*/ 31 w 62"/>
                <a:gd name="T61" fmla="*/ 14 h 61"/>
                <a:gd name="T62" fmla="*/ 34 w 62"/>
                <a:gd name="T63" fmla="*/ 10 h 61"/>
                <a:gd name="T64" fmla="*/ 38 w 62"/>
                <a:gd name="T65" fmla="*/ 9 h 61"/>
                <a:gd name="T66" fmla="*/ 38 w 62"/>
                <a:gd name="T67" fmla="*/ 1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2" h="61">
                  <a:moveTo>
                    <a:pt x="41" y="10"/>
                  </a:moveTo>
                  <a:cubicBezTo>
                    <a:pt x="42" y="10"/>
                    <a:pt x="43" y="11"/>
                    <a:pt x="44" y="11"/>
                  </a:cubicBezTo>
                  <a:cubicBezTo>
                    <a:pt x="45" y="11"/>
                    <a:pt x="46" y="10"/>
                    <a:pt x="47" y="9"/>
                  </a:cubicBezTo>
                  <a:cubicBezTo>
                    <a:pt x="48" y="9"/>
                    <a:pt x="47" y="7"/>
                    <a:pt x="48" y="6"/>
                  </a:cubicBezTo>
                  <a:cubicBezTo>
                    <a:pt x="48" y="5"/>
                    <a:pt x="51" y="3"/>
                    <a:pt x="51" y="3"/>
                  </a:cubicBezTo>
                  <a:cubicBezTo>
                    <a:pt x="51" y="2"/>
                    <a:pt x="51" y="2"/>
                    <a:pt x="51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1" y="1"/>
                    <a:pt x="49" y="2"/>
                    <a:pt x="47" y="2"/>
                  </a:cubicBezTo>
                  <a:cubicBezTo>
                    <a:pt x="45" y="2"/>
                    <a:pt x="44" y="2"/>
                    <a:pt x="43" y="3"/>
                  </a:cubicBezTo>
                  <a:cubicBezTo>
                    <a:pt x="42" y="3"/>
                    <a:pt x="42" y="5"/>
                    <a:pt x="40" y="4"/>
                  </a:cubicBezTo>
                  <a:cubicBezTo>
                    <a:pt x="39" y="4"/>
                    <a:pt x="33" y="3"/>
                    <a:pt x="31" y="3"/>
                  </a:cubicBezTo>
                  <a:cubicBezTo>
                    <a:pt x="29" y="2"/>
                    <a:pt x="30" y="1"/>
                    <a:pt x="29" y="1"/>
                  </a:cubicBezTo>
                  <a:cubicBezTo>
                    <a:pt x="28" y="1"/>
                    <a:pt x="26" y="1"/>
                    <a:pt x="26" y="1"/>
                  </a:cubicBezTo>
                  <a:cubicBezTo>
                    <a:pt x="25" y="1"/>
                    <a:pt x="24" y="2"/>
                    <a:pt x="23" y="2"/>
                  </a:cubicBezTo>
                  <a:cubicBezTo>
                    <a:pt x="23" y="2"/>
                    <a:pt x="21" y="0"/>
                    <a:pt x="21" y="1"/>
                  </a:cubicBezTo>
                  <a:cubicBezTo>
                    <a:pt x="20" y="2"/>
                    <a:pt x="21" y="3"/>
                    <a:pt x="20" y="3"/>
                  </a:cubicBezTo>
                  <a:cubicBezTo>
                    <a:pt x="19" y="3"/>
                    <a:pt x="20" y="5"/>
                    <a:pt x="18" y="5"/>
                  </a:cubicBezTo>
                  <a:cubicBezTo>
                    <a:pt x="17" y="5"/>
                    <a:pt x="15" y="6"/>
                    <a:pt x="15" y="5"/>
                  </a:cubicBezTo>
                  <a:cubicBezTo>
                    <a:pt x="14" y="4"/>
                    <a:pt x="14" y="5"/>
                    <a:pt x="14" y="6"/>
                  </a:cubicBezTo>
                  <a:cubicBezTo>
                    <a:pt x="13" y="7"/>
                    <a:pt x="13" y="9"/>
                    <a:pt x="12" y="8"/>
                  </a:cubicBezTo>
                  <a:cubicBezTo>
                    <a:pt x="11" y="8"/>
                    <a:pt x="10" y="4"/>
                    <a:pt x="9" y="5"/>
                  </a:cubicBezTo>
                  <a:cubicBezTo>
                    <a:pt x="8" y="6"/>
                    <a:pt x="7" y="7"/>
                    <a:pt x="6" y="7"/>
                  </a:cubicBezTo>
                  <a:cubicBezTo>
                    <a:pt x="5" y="7"/>
                    <a:pt x="0" y="7"/>
                    <a:pt x="0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1" y="10"/>
                    <a:pt x="2" y="11"/>
                    <a:pt x="2" y="12"/>
                  </a:cubicBezTo>
                  <a:cubicBezTo>
                    <a:pt x="1" y="13"/>
                    <a:pt x="0" y="14"/>
                    <a:pt x="0" y="15"/>
                  </a:cubicBezTo>
                  <a:cubicBezTo>
                    <a:pt x="0" y="15"/>
                    <a:pt x="1" y="18"/>
                    <a:pt x="2" y="19"/>
                  </a:cubicBezTo>
                  <a:cubicBezTo>
                    <a:pt x="2" y="21"/>
                    <a:pt x="5" y="20"/>
                    <a:pt x="5" y="21"/>
                  </a:cubicBezTo>
                  <a:cubicBezTo>
                    <a:pt x="5" y="21"/>
                    <a:pt x="5" y="22"/>
                    <a:pt x="4" y="23"/>
                  </a:cubicBezTo>
                  <a:cubicBezTo>
                    <a:pt x="6" y="22"/>
                    <a:pt x="8" y="21"/>
                    <a:pt x="8" y="21"/>
                  </a:cubicBezTo>
                  <a:cubicBezTo>
                    <a:pt x="10" y="19"/>
                    <a:pt x="10" y="18"/>
                    <a:pt x="12" y="18"/>
                  </a:cubicBezTo>
                  <a:cubicBezTo>
                    <a:pt x="14" y="18"/>
                    <a:pt x="16" y="21"/>
                    <a:pt x="17" y="21"/>
                  </a:cubicBezTo>
                  <a:cubicBezTo>
                    <a:pt x="18" y="21"/>
                    <a:pt x="19" y="23"/>
                    <a:pt x="19" y="24"/>
                  </a:cubicBezTo>
                  <a:cubicBezTo>
                    <a:pt x="20" y="25"/>
                    <a:pt x="20" y="27"/>
                    <a:pt x="21" y="28"/>
                  </a:cubicBezTo>
                  <a:cubicBezTo>
                    <a:pt x="21" y="29"/>
                    <a:pt x="26" y="32"/>
                    <a:pt x="27" y="33"/>
                  </a:cubicBezTo>
                  <a:cubicBezTo>
                    <a:pt x="29" y="35"/>
                    <a:pt x="33" y="39"/>
                    <a:pt x="34" y="39"/>
                  </a:cubicBezTo>
                  <a:cubicBezTo>
                    <a:pt x="35" y="39"/>
                    <a:pt x="37" y="39"/>
                    <a:pt x="39" y="41"/>
                  </a:cubicBezTo>
                  <a:cubicBezTo>
                    <a:pt x="42" y="43"/>
                    <a:pt x="43" y="44"/>
                    <a:pt x="44" y="45"/>
                  </a:cubicBezTo>
                  <a:cubicBezTo>
                    <a:pt x="46" y="47"/>
                    <a:pt x="48" y="47"/>
                    <a:pt x="48" y="48"/>
                  </a:cubicBezTo>
                  <a:cubicBezTo>
                    <a:pt x="49" y="49"/>
                    <a:pt x="50" y="52"/>
                    <a:pt x="50" y="53"/>
                  </a:cubicBezTo>
                  <a:cubicBezTo>
                    <a:pt x="50" y="54"/>
                    <a:pt x="49" y="56"/>
                    <a:pt x="49" y="57"/>
                  </a:cubicBezTo>
                  <a:cubicBezTo>
                    <a:pt x="48" y="58"/>
                    <a:pt x="49" y="61"/>
                    <a:pt x="49" y="61"/>
                  </a:cubicBezTo>
                  <a:cubicBezTo>
                    <a:pt x="49" y="60"/>
                    <a:pt x="52" y="57"/>
                    <a:pt x="52" y="56"/>
                  </a:cubicBezTo>
                  <a:cubicBezTo>
                    <a:pt x="53" y="55"/>
                    <a:pt x="53" y="54"/>
                    <a:pt x="54" y="54"/>
                  </a:cubicBezTo>
                  <a:cubicBezTo>
                    <a:pt x="55" y="54"/>
                    <a:pt x="56" y="53"/>
                    <a:pt x="55" y="52"/>
                  </a:cubicBezTo>
                  <a:cubicBezTo>
                    <a:pt x="55" y="51"/>
                    <a:pt x="52" y="50"/>
                    <a:pt x="52" y="49"/>
                  </a:cubicBezTo>
                  <a:cubicBezTo>
                    <a:pt x="52" y="48"/>
                    <a:pt x="52" y="46"/>
                    <a:pt x="53" y="46"/>
                  </a:cubicBezTo>
                  <a:cubicBezTo>
                    <a:pt x="54" y="45"/>
                    <a:pt x="55" y="44"/>
                    <a:pt x="56" y="44"/>
                  </a:cubicBezTo>
                  <a:cubicBezTo>
                    <a:pt x="57" y="45"/>
                    <a:pt x="59" y="45"/>
                    <a:pt x="60" y="46"/>
                  </a:cubicBezTo>
                  <a:cubicBezTo>
                    <a:pt x="60" y="48"/>
                    <a:pt x="61" y="48"/>
                    <a:pt x="62" y="48"/>
                  </a:cubicBezTo>
                  <a:cubicBezTo>
                    <a:pt x="62" y="48"/>
                    <a:pt x="62" y="46"/>
                    <a:pt x="61" y="44"/>
                  </a:cubicBezTo>
                  <a:cubicBezTo>
                    <a:pt x="59" y="42"/>
                    <a:pt x="56" y="41"/>
                    <a:pt x="55" y="40"/>
                  </a:cubicBezTo>
                  <a:cubicBezTo>
                    <a:pt x="54" y="40"/>
                    <a:pt x="49" y="38"/>
                    <a:pt x="49" y="37"/>
                  </a:cubicBezTo>
                  <a:cubicBezTo>
                    <a:pt x="49" y="36"/>
                    <a:pt x="51" y="36"/>
                    <a:pt x="50" y="35"/>
                  </a:cubicBezTo>
                  <a:cubicBezTo>
                    <a:pt x="49" y="35"/>
                    <a:pt x="49" y="35"/>
                    <a:pt x="47" y="35"/>
                  </a:cubicBezTo>
                  <a:cubicBezTo>
                    <a:pt x="45" y="35"/>
                    <a:pt x="44" y="34"/>
                    <a:pt x="43" y="33"/>
                  </a:cubicBezTo>
                  <a:cubicBezTo>
                    <a:pt x="42" y="32"/>
                    <a:pt x="39" y="29"/>
                    <a:pt x="38" y="27"/>
                  </a:cubicBezTo>
                  <a:cubicBezTo>
                    <a:pt x="38" y="25"/>
                    <a:pt x="38" y="24"/>
                    <a:pt x="36" y="23"/>
                  </a:cubicBezTo>
                  <a:cubicBezTo>
                    <a:pt x="34" y="22"/>
                    <a:pt x="31" y="20"/>
                    <a:pt x="31" y="19"/>
                  </a:cubicBezTo>
                  <a:cubicBezTo>
                    <a:pt x="30" y="17"/>
                    <a:pt x="31" y="16"/>
                    <a:pt x="31" y="15"/>
                  </a:cubicBezTo>
                  <a:cubicBezTo>
                    <a:pt x="32" y="15"/>
                    <a:pt x="32" y="15"/>
                    <a:pt x="31" y="14"/>
                  </a:cubicBezTo>
                  <a:cubicBezTo>
                    <a:pt x="31" y="13"/>
                    <a:pt x="31" y="11"/>
                    <a:pt x="32" y="11"/>
                  </a:cubicBezTo>
                  <a:cubicBezTo>
                    <a:pt x="33" y="10"/>
                    <a:pt x="34" y="11"/>
                    <a:pt x="34" y="10"/>
                  </a:cubicBezTo>
                  <a:cubicBezTo>
                    <a:pt x="34" y="10"/>
                    <a:pt x="34" y="9"/>
                    <a:pt x="35" y="9"/>
                  </a:cubicBezTo>
                  <a:cubicBezTo>
                    <a:pt x="36" y="9"/>
                    <a:pt x="38" y="8"/>
                    <a:pt x="38" y="9"/>
                  </a:cubicBezTo>
                  <a:cubicBezTo>
                    <a:pt x="38" y="10"/>
                    <a:pt x="38" y="10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9" y="11"/>
                    <a:pt x="41" y="10"/>
                    <a:pt x="41" y="10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14" name="Freeform 629">
              <a:extLst>
                <a:ext uri="{FF2B5EF4-FFF2-40B4-BE49-F238E27FC236}">
                  <a16:creationId xmlns:a16="http://schemas.microsoft.com/office/drawing/2014/main" id="{14B8C8D5-5F69-9625-3F30-FAE685811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8893" y="3338505"/>
              <a:ext cx="93236" cy="90813"/>
            </a:xfrm>
            <a:custGeom>
              <a:avLst/>
              <a:gdLst>
                <a:gd name="T0" fmla="*/ 12 w 29"/>
                <a:gd name="T1" fmla="*/ 11 h 28"/>
                <a:gd name="T2" fmla="*/ 21 w 29"/>
                <a:gd name="T3" fmla="*/ 10 h 28"/>
                <a:gd name="T4" fmla="*/ 29 w 29"/>
                <a:gd name="T5" fmla="*/ 13 h 28"/>
                <a:gd name="T6" fmla="*/ 29 w 29"/>
                <a:gd name="T7" fmla="*/ 13 h 28"/>
                <a:gd name="T8" fmla="*/ 29 w 29"/>
                <a:gd name="T9" fmla="*/ 12 h 28"/>
                <a:gd name="T10" fmla="*/ 26 w 29"/>
                <a:gd name="T11" fmla="*/ 5 h 28"/>
                <a:gd name="T12" fmla="*/ 19 w 29"/>
                <a:gd name="T13" fmla="*/ 4 h 28"/>
                <a:gd name="T14" fmla="*/ 13 w 29"/>
                <a:gd name="T15" fmla="*/ 0 h 28"/>
                <a:gd name="T16" fmla="*/ 10 w 29"/>
                <a:gd name="T17" fmla="*/ 3 h 28"/>
                <a:gd name="T18" fmla="*/ 9 w 29"/>
                <a:gd name="T19" fmla="*/ 6 h 28"/>
                <a:gd name="T20" fmla="*/ 6 w 29"/>
                <a:gd name="T21" fmla="*/ 8 h 28"/>
                <a:gd name="T22" fmla="*/ 3 w 29"/>
                <a:gd name="T23" fmla="*/ 7 h 28"/>
                <a:gd name="T24" fmla="*/ 0 w 29"/>
                <a:gd name="T25" fmla="*/ 8 h 28"/>
                <a:gd name="T26" fmla="*/ 0 w 29"/>
                <a:gd name="T27" fmla="*/ 8 h 28"/>
                <a:gd name="T28" fmla="*/ 0 w 29"/>
                <a:gd name="T29" fmla="*/ 9 h 28"/>
                <a:gd name="T30" fmla="*/ 1 w 29"/>
                <a:gd name="T31" fmla="*/ 12 h 28"/>
                <a:gd name="T32" fmla="*/ 3 w 29"/>
                <a:gd name="T33" fmla="*/ 12 h 28"/>
                <a:gd name="T34" fmla="*/ 4 w 29"/>
                <a:gd name="T35" fmla="*/ 14 h 28"/>
                <a:gd name="T36" fmla="*/ 4 w 29"/>
                <a:gd name="T37" fmla="*/ 11 h 28"/>
                <a:gd name="T38" fmla="*/ 6 w 29"/>
                <a:gd name="T39" fmla="*/ 11 h 28"/>
                <a:gd name="T40" fmla="*/ 8 w 29"/>
                <a:gd name="T41" fmla="*/ 15 h 28"/>
                <a:gd name="T42" fmla="*/ 11 w 29"/>
                <a:gd name="T43" fmla="*/ 19 h 28"/>
                <a:gd name="T44" fmla="*/ 14 w 29"/>
                <a:gd name="T45" fmla="*/ 21 h 28"/>
                <a:gd name="T46" fmla="*/ 18 w 29"/>
                <a:gd name="T47" fmla="*/ 24 h 28"/>
                <a:gd name="T48" fmla="*/ 25 w 29"/>
                <a:gd name="T49" fmla="*/ 28 h 28"/>
                <a:gd name="T50" fmla="*/ 25 w 29"/>
                <a:gd name="T51" fmla="*/ 26 h 28"/>
                <a:gd name="T52" fmla="*/ 14 w 29"/>
                <a:gd name="T53" fmla="*/ 19 h 28"/>
                <a:gd name="T54" fmla="*/ 12 w 29"/>
                <a:gd name="T55" fmla="*/ 13 h 28"/>
                <a:gd name="T56" fmla="*/ 12 w 29"/>
                <a:gd name="T57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" h="28">
                  <a:moveTo>
                    <a:pt x="12" y="11"/>
                  </a:moveTo>
                  <a:cubicBezTo>
                    <a:pt x="14" y="11"/>
                    <a:pt x="17" y="10"/>
                    <a:pt x="21" y="10"/>
                  </a:cubicBezTo>
                  <a:cubicBezTo>
                    <a:pt x="24" y="10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8" y="9"/>
                    <a:pt x="26" y="5"/>
                    <a:pt x="26" y="5"/>
                  </a:cubicBezTo>
                  <a:cubicBezTo>
                    <a:pt x="25" y="6"/>
                    <a:pt x="21" y="5"/>
                    <a:pt x="19" y="4"/>
                  </a:cubicBezTo>
                  <a:cubicBezTo>
                    <a:pt x="17" y="3"/>
                    <a:pt x="14" y="1"/>
                    <a:pt x="13" y="0"/>
                  </a:cubicBezTo>
                  <a:cubicBezTo>
                    <a:pt x="13" y="0"/>
                    <a:pt x="10" y="2"/>
                    <a:pt x="10" y="3"/>
                  </a:cubicBezTo>
                  <a:cubicBezTo>
                    <a:pt x="9" y="4"/>
                    <a:pt x="10" y="6"/>
                    <a:pt x="9" y="6"/>
                  </a:cubicBezTo>
                  <a:cubicBezTo>
                    <a:pt x="8" y="7"/>
                    <a:pt x="7" y="8"/>
                    <a:pt x="6" y="8"/>
                  </a:cubicBezTo>
                  <a:cubicBezTo>
                    <a:pt x="5" y="8"/>
                    <a:pt x="4" y="7"/>
                    <a:pt x="3" y="7"/>
                  </a:cubicBezTo>
                  <a:cubicBezTo>
                    <a:pt x="3" y="7"/>
                    <a:pt x="1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10"/>
                    <a:pt x="1" y="13"/>
                    <a:pt x="1" y="12"/>
                  </a:cubicBezTo>
                  <a:cubicBezTo>
                    <a:pt x="1" y="11"/>
                    <a:pt x="3" y="11"/>
                    <a:pt x="3" y="12"/>
                  </a:cubicBezTo>
                  <a:cubicBezTo>
                    <a:pt x="3" y="13"/>
                    <a:pt x="3" y="15"/>
                    <a:pt x="4" y="14"/>
                  </a:cubicBezTo>
                  <a:cubicBezTo>
                    <a:pt x="4" y="13"/>
                    <a:pt x="3" y="11"/>
                    <a:pt x="4" y="11"/>
                  </a:cubicBezTo>
                  <a:cubicBezTo>
                    <a:pt x="4" y="10"/>
                    <a:pt x="5" y="10"/>
                    <a:pt x="6" y="11"/>
                  </a:cubicBezTo>
                  <a:cubicBezTo>
                    <a:pt x="6" y="13"/>
                    <a:pt x="7" y="15"/>
                    <a:pt x="8" y="15"/>
                  </a:cubicBezTo>
                  <a:cubicBezTo>
                    <a:pt x="9" y="16"/>
                    <a:pt x="9" y="18"/>
                    <a:pt x="11" y="19"/>
                  </a:cubicBezTo>
                  <a:cubicBezTo>
                    <a:pt x="12" y="20"/>
                    <a:pt x="13" y="21"/>
                    <a:pt x="14" y="21"/>
                  </a:cubicBezTo>
                  <a:cubicBezTo>
                    <a:pt x="15" y="21"/>
                    <a:pt x="16" y="22"/>
                    <a:pt x="18" y="24"/>
                  </a:cubicBezTo>
                  <a:cubicBezTo>
                    <a:pt x="20" y="25"/>
                    <a:pt x="22" y="27"/>
                    <a:pt x="25" y="28"/>
                  </a:cubicBezTo>
                  <a:cubicBezTo>
                    <a:pt x="25" y="28"/>
                    <a:pt x="25" y="27"/>
                    <a:pt x="25" y="26"/>
                  </a:cubicBezTo>
                  <a:cubicBezTo>
                    <a:pt x="25" y="26"/>
                    <a:pt x="16" y="21"/>
                    <a:pt x="14" y="19"/>
                  </a:cubicBezTo>
                  <a:cubicBezTo>
                    <a:pt x="13" y="17"/>
                    <a:pt x="13" y="14"/>
                    <a:pt x="12" y="13"/>
                  </a:cubicBezTo>
                  <a:cubicBezTo>
                    <a:pt x="11" y="12"/>
                    <a:pt x="10" y="11"/>
                    <a:pt x="12" y="11"/>
                  </a:cubicBezTo>
                  <a:close/>
                </a:path>
              </a:pathLst>
            </a:custGeom>
            <a:solidFill>
              <a:srgbClr val="F2F2F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15" name="Freeform 630">
              <a:extLst>
                <a:ext uri="{FF2B5EF4-FFF2-40B4-BE49-F238E27FC236}">
                  <a16:creationId xmlns:a16="http://schemas.microsoft.com/office/drawing/2014/main" id="{1F6517BD-B370-195D-F865-22C0AA970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5908" y="3234372"/>
              <a:ext cx="236117" cy="201000"/>
            </a:xfrm>
            <a:custGeom>
              <a:avLst/>
              <a:gdLst>
                <a:gd name="T0" fmla="*/ 63 w 73"/>
                <a:gd name="T1" fmla="*/ 34 h 62"/>
                <a:gd name="T2" fmla="*/ 63 w 73"/>
                <a:gd name="T3" fmla="*/ 31 h 62"/>
                <a:gd name="T4" fmla="*/ 67 w 73"/>
                <a:gd name="T5" fmla="*/ 26 h 62"/>
                <a:gd name="T6" fmla="*/ 70 w 73"/>
                <a:gd name="T7" fmla="*/ 25 h 62"/>
                <a:gd name="T8" fmla="*/ 70 w 73"/>
                <a:gd name="T9" fmla="*/ 25 h 62"/>
                <a:gd name="T10" fmla="*/ 72 w 73"/>
                <a:gd name="T11" fmla="*/ 16 h 62"/>
                <a:gd name="T12" fmla="*/ 63 w 73"/>
                <a:gd name="T13" fmla="*/ 12 h 62"/>
                <a:gd name="T14" fmla="*/ 57 w 73"/>
                <a:gd name="T15" fmla="*/ 11 h 62"/>
                <a:gd name="T16" fmla="*/ 52 w 73"/>
                <a:gd name="T17" fmla="*/ 9 h 62"/>
                <a:gd name="T18" fmla="*/ 46 w 73"/>
                <a:gd name="T19" fmla="*/ 4 h 62"/>
                <a:gd name="T20" fmla="*/ 42 w 73"/>
                <a:gd name="T21" fmla="*/ 0 h 62"/>
                <a:gd name="T22" fmla="*/ 42 w 73"/>
                <a:gd name="T23" fmla="*/ 0 h 62"/>
                <a:gd name="T24" fmla="*/ 36 w 73"/>
                <a:gd name="T25" fmla="*/ 4 h 62"/>
                <a:gd name="T26" fmla="*/ 31 w 73"/>
                <a:gd name="T27" fmla="*/ 9 h 62"/>
                <a:gd name="T28" fmla="*/ 27 w 73"/>
                <a:gd name="T29" fmla="*/ 13 h 62"/>
                <a:gd name="T30" fmla="*/ 19 w 73"/>
                <a:gd name="T31" fmla="*/ 10 h 62"/>
                <a:gd name="T32" fmla="*/ 19 w 73"/>
                <a:gd name="T33" fmla="*/ 16 h 62"/>
                <a:gd name="T34" fmla="*/ 14 w 73"/>
                <a:gd name="T35" fmla="*/ 18 h 62"/>
                <a:gd name="T36" fmla="*/ 8 w 73"/>
                <a:gd name="T37" fmla="*/ 16 h 62"/>
                <a:gd name="T38" fmla="*/ 1 w 73"/>
                <a:gd name="T39" fmla="*/ 19 h 62"/>
                <a:gd name="T40" fmla="*/ 1 w 73"/>
                <a:gd name="T41" fmla="*/ 22 h 62"/>
                <a:gd name="T42" fmla="*/ 13 w 73"/>
                <a:gd name="T43" fmla="*/ 26 h 62"/>
                <a:gd name="T44" fmla="*/ 16 w 73"/>
                <a:gd name="T45" fmla="*/ 28 h 62"/>
                <a:gd name="T46" fmla="*/ 20 w 73"/>
                <a:gd name="T47" fmla="*/ 34 h 62"/>
                <a:gd name="T48" fmla="*/ 22 w 73"/>
                <a:gd name="T49" fmla="*/ 39 h 62"/>
                <a:gd name="T50" fmla="*/ 21 w 73"/>
                <a:gd name="T51" fmla="*/ 40 h 62"/>
                <a:gd name="T52" fmla="*/ 18 w 73"/>
                <a:gd name="T53" fmla="*/ 54 h 62"/>
                <a:gd name="T54" fmla="*/ 31 w 73"/>
                <a:gd name="T55" fmla="*/ 58 h 62"/>
                <a:gd name="T56" fmla="*/ 39 w 73"/>
                <a:gd name="T57" fmla="*/ 61 h 62"/>
                <a:gd name="T58" fmla="*/ 44 w 73"/>
                <a:gd name="T59" fmla="*/ 57 h 62"/>
                <a:gd name="T60" fmla="*/ 53 w 73"/>
                <a:gd name="T61" fmla="*/ 53 h 62"/>
                <a:gd name="T62" fmla="*/ 66 w 73"/>
                <a:gd name="T63" fmla="*/ 53 h 62"/>
                <a:gd name="T64" fmla="*/ 70 w 73"/>
                <a:gd name="T65" fmla="*/ 50 h 62"/>
                <a:gd name="T66" fmla="*/ 65 w 73"/>
                <a:gd name="T67" fmla="*/ 44 h 62"/>
                <a:gd name="T68" fmla="*/ 65 w 73"/>
                <a:gd name="T69" fmla="*/ 38 h 62"/>
                <a:gd name="T70" fmla="*/ 65 w 73"/>
                <a:gd name="T71" fmla="*/ 36 h 62"/>
                <a:gd name="T72" fmla="*/ 65 w 73"/>
                <a:gd name="T73" fmla="*/ 3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3" h="62">
                  <a:moveTo>
                    <a:pt x="65" y="34"/>
                  </a:moveTo>
                  <a:cubicBezTo>
                    <a:pt x="64" y="33"/>
                    <a:pt x="64" y="34"/>
                    <a:pt x="63" y="34"/>
                  </a:cubicBezTo>
                  <a:cubicBezTo>
                    <a:pt x="62" y="35"/>
                    <a:pt x="62" y="35"/>
                    <a:pt x="62" y="34"/>
                  </a:cubicBezTo>
                  <a:cubicBezTo>
                    <a:pt x="62" y="32"/>
                    <a:pt x="62" y="32"/>
                    <a:pt x="63" y="31"/>
                  </a:cubicBezTo>
                  <a:cubicBezTo>
                    <a:pt x="64" y="30"/>
                    <a:pt x="65" y="28"/>
                    <a:pt x="66" y="27"/>
                  </a:cubicBezTo>
                  <a:cubicBezTo>
                    <a:pt x="67" y="26"/>
                    <a:pt x="67" y="25"/>
                    <a:pt x="67" y="26"/>
                  </a:cubicBezTo>
                  <a:cubicBezTo>
                    <a:pt x="67" y="27"/>
                    <a:pt x="69" y="26"/>
                    <a:pt x="69" y="26"/>
                  </a:cubicBezTo>
                  <a:cubicBezTo>
                    <a:pt x="69" y="26"/>
                    <a:pt x="70" y="26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4"/>
                    <a:pt x="70" y="23"/>
                  </a:cubicBezTo>
                  <a:cubicBezTo>
                    <a:pt x="70" y="21"/>
                    <a:pt x="71" y="17"/>
                    <a:pt x="72" y="16"/>
                  </a:cubicBezTo>
                  <a:cubicBezTo>
                    <a:pt x="73" y="15"/>
                    <a:pt x="68" y="14"/>
                    <a:pt x="66" y="14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3" y="12"/>
                    <a:pt x="59" y="12"/>
                    <a:pt x="57" y="11"/>
                  </a:cubicBezTo>
                  <a:cubicBezTo>
                    <a:pt x="55" y="9"/>
                    <a:pt x="54" y="8"/>
                    <a:pt x="54" y="7"/>
                  </a:cubicBezTo>
                  <a:cubicBezTo>
                    <a:pt x="54" y="7"/>
                    <a:pt x="54" y="9"/>
                    <a:pt x="52" y="9"/>
                  </a:cubicBezTo>
                  <a:cubicBezTo>
                    <a:pt x="51" y="9"/>
                    <a:pt x="51" y="8"/>
                    <a:pt x="50" y="7"/>
                  </a:cubicBezTo>
                  <a:cubicBezTo>
                    <a:pt x="49" y="5"/>
                    <a:pt x="48" y="5"/>
                    <a:pt x="46" y="4"/>
                  </a:cubicBezTo>
                  <a:cubicBezTo>
                    <a:pt x="45" y="4"/>
                    <a:pt x="44" y="3"/>
                    <a:pt x="43" y="2"/>
                  </a:cubicBezTo>
                  <a:cubicBezTo>
                    <a:pt x="42" y="2"/>
                    <a:pt x="42" y="1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39" y="0"/>
                    <a:pt x="38" y="1"/>
                  </a:cubicBezTo>
                  <a:cubicBezTo>
                    <a:pt x="37" y="1"/>
                    <a:pt x="36" y="3"/>
                    <a:pt x="36" y="4"/>
                  </a:cubicBezTo>
                  <a:cubicBezTo>
                    <a:pt x="36" y="6"/>
                    <a:pt x="36" y="6"/>
                    <a:pt x="35" y="7"/>
                  </a:cubicBezTo>
                  <a:cubicBezTo>
                    <a:pt x="34" y="8"/>
                    <a:pt x="32" y="9"/>
                    <a:pt x="31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29" y="12"/>
                    <a:pt x="28" y="13"/>
                    <a:pt x="27" y="13"/>
                  </a:cubicBezTo>
                  <a:cubicBezTo>
                    <a:pt x="26" y="13"/>
                    <a:pt x="22" y="13"/>
                    <a:pt x="21" y="12"/>
                  </a:cubicBezTo>
                  <a:cubicBezTo>
                    <a:pt x="21" y="12"/>
                    <a:pt x="20" y="11"/>
                    <a:pt x="19" y="10"/>
                  </a:cubicBezTo>
                  <a:cubicBezTo>
                    <a:pt x="18" y="10"/>
                    <a:pt x="16" y="10"/>
                    <a:pt x="17" y="11"/>
                  </a:cubicBezTo>
                  <a:cubicBezTo>
                    <a:pt x="18" y="13"/>
                    <a:pt x="19" y="16"/>
                    <a:pt x="19" y="16"/>
                  </a:cubicBezTo>
                  <a:cubicBezTo>
                    <a:pt x="20" y="17"/>
                    <a:pt x="19" y="18"/>
                    <a:pt x="17" y="18"/>
                  </a:cubicBezTo>
                  <a:cubicBezTo>
                    <a:pt x="16" y="18"/>
                    <a:pt x="15" y="18"/>
                    <a:pt x="14" y="18"/>
                  </a:cubicBezTo>
                  <a:cubicBezTo>
                    <a:pt x="14" y="18"/>
                    <a:pt x="12" y="18"/>
                    <a:pt x="12" y="18"/>
                  </a:cubicBezTo>
                  <a:cubicBezTo>
                    <a:pt x="11" y="17"/>
                    <a:pt x="9" y="16"/>
                    <a:pt x="8" y="16"/>
                  </a:cubicBezTo>
                  <a:cubicBezTo>
                    <a:pt x="8" y="16"/>
                    <a:pt x="4" y="18"/>
                    <a:pt x="2" y="18"/>
                  </a:cubicBezTo>
                  <a:cubicBezTo>
                    <a:pt x="1" y="19"/>
                    <a:pt x="0" y="19"/>
                    <a:pt x="1" y="19"/>
                  </a:cubicBezTo>
                  <a:cubicBezTo>
                    <a:pt x="2" y="20"/>
                    <a:pt x="3" y="21"/>
                    <a:pt x="2" y="21"/>
                  </a:cubicBezTo>
                  <a:cubicBezTo>
                    <a:pt x="2" y="21"/>
                    <a:pt x="0" y="22"/>
                    <a:pt x="1" y="22"/>
                  </a:cubicBezTo>
                  <a:cubicBezTo>
                    <a:pt x="1" y="22"/>
                    <a:pt x="4" y="24"/>
                    <a:pt x="6" y="24"/>
                  </a:cubicBezTo>
                  <a:cubicBezTo>
                    <a:pt x="8" y="24"/>
                    <a:pt x="11" y="25"/>
                    <a:pt x="13" y="26"/>
                  </a:cubicBezTo>
                  <a:cubicBezTo>
                    <a:pt x="14" y="26"/>
                    <a:pt x="15" y="27"/>
                    <a:pt x="16" y="27"/>
                  </a:cubicBezTo>
                  <a:cubicBezTo>
                    <a:pt x="17" y="28"/>
                    <a:pt x="16" y="28"/>
                    <a:pt x="16" y="28"/>
                  </a:cubicBezTo>
                  <a:cubicBezTo>
                    <a:pt x="15" y="28"/>
                    <a:pt x="15" y="30"/>
                    <a:pt x="16" y="31"/>
                  </a:cubicBezTo>
                  <a:cubicBezTo>
                    <a:pt x="17" y="32"/>
                    <a:pt x="19" y="34"/>
                    <a:pt x="20" y="34"/>
                  </a:cubicBezTo>
                  <a:cubicBezTo>
                    <a:pt x="21" y="34"/>
                    <a:pt x="22" y="36"/>
                    <a:pt x="21" y="37"/>
                  </a:cubicBezTo>
                  <a:cubicBezTo>
                    <a:pt x="21" y="38"/>
                    <a:pt x="20" y="38"/>
                    <a:pt x="22" y="39"/>
                  </a:cubicBezTo>
                  <a:cubicBezTo>
                    <a:pt x="23" y="40"/>
                    <a:pt x="24" y="43"/>
                    <a:pt x="23" y="42"/>
                  </a:cubicBezTo>
                  <a:cubicBezTo>
                    <a:pt x="22" y="41"/>
                    <a:pt x="21" y="38"/>
                    <a:pt x="21" y="40"/>
                  </a:cubicBezTo>
                  <a:cubicBezTo>
                    <a:pt x="21" y="41"/>
                    <a:pt x="19" y="51"/>
                    <a:pt x="19" y="52"/>
                  </a:cubicBezTo>
                  <a:cubicBezTo>
                    <a:pt x="19" y="53"/>
                    <a:pt x="18" y="54"/>
                    <a:pt x="18" y="54"/>
                  </a:cubicBezTo>
                  <a:cubicBezTo>
                    <a:pt x="19" y="56"/>
                    <a:pt x="22" y="58"/>
                    <a:pt x="25" y="58"/>
                  </a:cubicBezTo>
                  <a:cubicBezTo>
                    <a:pt x="29" y="59"/>
                    <a:pt x="29" y="59"/>
                    <a:pt x="31" y="58"/>
                  </a:cubicBezTo>
                  <a:cubicBezTo>
                    <a:pt x="33" y="58"/>
                    <a:pt x="34" y="59"/>
                    <a:pt x="36" y="60"/>
                  </a:cubicBezTo>
                  <a:cubicBezTo>
                    <a:pt x="37" y="61"/>
                    <a:pt x="37" y="61"/>
                    <a:pt x="39" y="61"/>
                  </a:cubicBezTo>
                  <a:cubicBezTo>
                    <a:pt x="42" y="62"/>
                    <a:pt x="43" y="61"/>
                    <a:pt x="45" y="61"/>
                  </a:cubicBezTo>
                  <a:cubicBezTo>
                    <a:pt x="44" y="59"/>
                    <a:pt x="44" y="58"/>
                    <a:pt x="44" y="57"/>
                  </a:cubicBezTo>
                  <a:cubicBezTo>
                    <a:pt x="45" y="55"/>
                    <a:pt x="46" y="53"/>
                    <a:pt x="48" y="53"/>
                  </a:cubicBezTo>
                  <a:cubicBezTo>
                    <a:pt x="50" y="53"/>
                    <a:pt x="51" y="53"/>
                    <a:pt x="53" y="53"/>
                  </a:cubicBezTo>
                  <a:cubicBezTo>
                    <a:pt x="55" y="54"/>
                    <a:pt x="57" y="56"/>
                    <a:pt x="60" y="56"/>
                  </a:cubicBezTo>
                  <a:cubicBezTo>
                    <a:pt x="62" y="56"/>
                    <a:pt x="65" y="54"/>
                    <a:pt x="66" y="53"/>
                  </a:cubicBezTo>
                  <a:cubicBezTo>
                    <a:pt x="67" y="53"/>
                    <a:pt x="68" y="52"/>
                    <a:pt x="69" y="52"/>
                  </a:cubicBezTo>
                  <a:cubicBezTo>
                    <a:pt x="70" y="51"/>
                    <a:pt x="70" y="50"/>
                    <a:pt x="70" y="50"/>
                  </a:cubicBezTo>
                  <a:cubicBezTo>
                    <a:pt x="70" y="49"/>
                    <a:pt x="67" y="50"/>
                    <a:pt x="67" y="48"/>
                  </a:cubicBezTo>
                  <a:cubicBezTo>
                    <a:pt x="66" y="47"/>
                    <a:pt x="65" y="44"/>
                    <a:pt x="65" y="44"/>
                  </a:cubicBezTo>
                  <a:cubicBezTo>
                    <a:pt x="65" y="43"/>
                    <a:pt x="66" y="42"/>
                    <a:pt x="67" y="41"/>
                  </a:cubicBezTo>
                  <a:cubicBezTo>
                    <a:pt x="67" y="40"/>
                    <a:pt x="66" y="39"/>
                    <a:pt x="65" y="38"/>
                  </a:cubicBezTo>
                  <a:cubicBezTo>
                    <a:pt x="65" y="37"/>
                    <a:pt x="65" y="37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5"/>
                    <a:pt x="65" y="34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16" name="Freeform 631">
              <a:extLst>
                <a:ext uri="{FF2B5EF4-FFF2-40B4-BE49-F238E27FC236}">
                  <a16:creationId xmlns:a16="http://schemas.microsoft.com/office/drawing/2014/main" id="{F6EFDDDF-9353-38C1-1735-B26878F6A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699" y="3313077"/>
              <a:ext cx="77495" cy="44801"/>
            </a:xfrm>
            <a:custGeom>
              <a:avLst/>
              <a:gdLst>
                <a:gd name="T0" fmla="*/ 18 w 24"/>
                <a:gd name="T1" fmla="*/ 1 h 14"/>
                <a:gd name="T2" fmla="*/ 18 w 24"/>
                <a:gd name="T3" fmla="*/ 1 h 14"/>
                <a:gd name="T4" fmla="*/ 13 w 24"/>
                <a:gd name="T5" fmla="*/ 1 h 14"/>
                <a:gd name="T6" fmla="*/ 8 w 24"/>
                <a:gd name="T7" fmla="*/ 1 h 14"/>
                <a:gd name="T8" fmla="*/ 8 w 24"/>
                <a:gd name="T9" fmla="*/ 1 h 14"/>
                <a:gd name="T10" fmla="*/ 7 w 24"/>
                <a:gd name="T11" fmla="*/ 2 h 14"/>
                <a:gd name="T12" fmla="*/ 5 w 24"/>
                <a:gd name="T13" fmla="*/ 2 h 14"/>
                <a:gd name="T14" fmla="*/ 4 w 24"/>
                <a:gd name="T15" fmla="*/ 3 h 14"/>
                <a:gd name="T16" fmla="*/ 1 w 24"/>
                <a:gd name="T17" fmla="*/ 7 h 14"/>
                <a:gd name="T18" fmla="*/ 0 w 24"/>
                <a:gd name="T19" fmla="*/ 10 h 14"/>
                <a:gd name="T20" fmla="*/ 1 w 24"/>
                <a:gd name="T21" fmla="*/ 10 h 14"/>
                <a:gd name="T22" fmla="*/ 3 w 24"/>
                <a:gd name="T23" fmla="*/ 10 h 14"/>
                <a:gd name="T24" fmla="*/ 3 w 24"/>
                <a:gd name="T25" fmla="*/ 12 h 14"/>
                <a:gd name="T26" fmla="*/ 3 w 24"/>
                <a:gd name="T27" fmla="*/ 12 h 14"/>
                <a:gd name="T28" fmla="*/ 9 w 24"/>
                <a:gd name="T29" fmla="*/ 12 h 14"/>
                <a:gd name="T30" fmla="*/ 12 w 24"/>
                <a:gd name="T31" fmla="*/ 10 h 14"/>
                <a:gd name="T32" fmla="*/ 15 w 24"/>
                <a:gd name="T33" fmla="*/ 13 h 14"/>
                <a:gd name="T34" fmla="*/ 17 w 24"/>
                <a:gd name="T35" fmla="*/ 11 h 14"/>
                <a:gd name="T36" fmla="*/ 18 w 24"/>
                <a:gd name="T37" fmla="*/ 10 h 14"/>
                <a:gd name="T38" fmla="*/ 21 w 24"/>
                <a:gd name="T39" fmla="*/ 10 h 14"/>
                <a:gd name="T40" fmla="*/ 23 w 24"/>
                <a:gd name="T41" fmla="*/ 8 h 14"/>
                <a:gd name="T42" fmla="*/ 24 w 24"/>
                <a:gd name="T43" fmla="*/ 6 h 14"/>
                <a:gd name="T44" fmla="*/ 19 w 24"/>
                <a:gd name="T45" fmla="*/ 4 h 14"/>
                <a:gd name="T46" fmla="*/ 18 w 24"/>
                <a:gd name="T4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" h="14">
                  <a:moveTo>
                    <a:pt x="18" y="1"/>
                  </a:moveTo>
                  <a:cubicBezTo>
                    <a:pt x="18" y="1"/>
                    <a:pt x="18" y="1"/>
                    <a:pt x="18" y="1"/>
                  </a:cubicBezTo>
                  <a:cubicBezTo>
                    <a:pt x="16" y="0"/>
                    <a:pt x="14" y="0"/>
                    <a:pt x="13" y="1"/>
                  </a:cubicBezTo>
                  <a:cubicBezTo>
                    <a:pt x="11" y="2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5" y="3"/>
                    <a:pt x="5" y="2"/>
                  </a:cubicBezTo>
                  <a:cubicBezTo>
                    <a:pt x="5" y="1"/>
                    <a:pt x="5" y="2"/>
                    <a:pt x="4" y="3"/>
                  </a:cubicBezTo>
                  <a:cubicBezTo>
                    <a:pt x="3" y="4"/>
                    <a:pt x="2" y="6"/>
                    <a:pt x="1" y="7"/>
                  </a:cubicBezTo>
                  <a:cubicBezTo>
                    <a:pt x="0" y="8"/>
                    <a:pt x="0" y="8"/>
                    <a:pt x="0" y="10"/>
                  </a:cubicBezTo>
                  <a:cubicBezTo>
                    <a:pt x="0" y="11"/>
                    <a:pt x="0" y="11"/>
                    <a:pt x="1" y="10"/>
                  </a:cubicBezTo>
                  <a:cubicBezTo>
                    <a:pt x="2" y="10"/>
                    <a:pt x="2" y="9"/>
                    <a:pt x="3" y="10"/>
                  </a:cubicBezTo>
                  <a:cubicBezTo>
                    <a:pt x="3" y="11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8" y="12"/>
                    <a:pt x="9" y="12"/>
                  </a:cubicBezTo>
                  <a:cubicBezTo>
                    <a:pt x="10" y="12"/>
                    <a:pt x="11" y="11"/>
                    <a:pt x="12" y="10"/>
                  </a:cubicBezTo>
                  <a:cubicBezTo>
                    <a:pt x="13" y="9"/>
                    <a:pt x="14" y="13"/>
                    <a:pt x="15" y="13"/>
                  </a:cubicBezTo>
                  <a:cubicBezTo>
                    <a:pt x="16" y="14"/>
                    <a:pt x="16" y="12"/>
                    <a:pt x="17" y="11"/>
                  </a:cubicBezTo>
                  <a:cubicBezTo>
                    <a:pt x="17" y="10"/>
                    <a:pt x="17" y="9"/>
                    <a:pt x="18" y="10"/>
                  </a:cubicBezTo>
                  <a:cubicBezTo>
                    <a:pt x="18" y="11"/>
                    <a:pt x="20" y="10"/>
                    <a:pt x="21" y="10"/>
                  </a:cubicBezTo>
                  <a:cubicBezTo>
                    <a:pt x="23" y="10"/>
                    <a:pt x="22" y="8"/>
                    <a:pt x="23" y="8"/>
                  </a:cubicBezTo>
                  <a:cubicBezTo>
                    <a:pt x="24" y="8"/>
                    <a:pt x="23" y="7"/>
                    <a:pt x="24" y="6"/>
                  </a:cubicBezTo>
                  <a:cubicBezTo>
                    <a:pt x="24" y="6"/>
                    <a:pt x="20" y="5"/>
                    <a:pt x="19" y="4"/>
                  </a:cubicBezTo>
                  <a:cubicBezTo>
                    <a:pt x="18" y="3"/>
                    <a:pt x="18" y="1"/>
                    <a:pt x="18" y="1"/>
                  </a:cubicBezTo>
                  <a:close/>
                </a:path>
              </a:pathLst>
            </a:custGeom>
            <a:solidFill>
              <a:srgbClr val="F2F2F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17" name="Freeform 632">
              <a:extLst>
                <a:ext uri="{FF2B5EF4-FFF2-40B4-BE49-F238E27FC236}">
                  <a16:creationId xmlns:a16="http://schemas.microsoft.com/office/drawing/2014/main" id="{5A285BC9-EE1F-3958-4682-2E268FB10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1524" y="3224685"/>
              <a:ext cx="67808" cy="48434"/>
            </a:xfrm>
            <a:custGeom>
              <a:avLst/>
              <a:gdLst>
                <a:gd name="T0" fmla="*/ 19 w 21"/>
                <a:gd name="T1" fmla="*/ 11 h 15"/>
                <a:gd name="T2" fmla="*/ 20 w 21"/>
                <a:gd name="T3" fmla="*/ 9 h 15"/>
                <a:gd name="T4" fmla="*/ 20 w 21"/>
                <a:gd name="T5" fmla="*/ 6 h 15"/>
                <a:gd name="T6" fmla="*/ 19 w 21"/>
                <a:gd name="T7" fmla="*/ 5 h 15"/>
                <a:gd name="T8" fmla="*/ 17 w 21"/>
                <a:gd name="T9" fmla="*/ 3 h 15"/>
                <a:gd name="T10" fmla="*/ 12 w 21"/>
                <a:gd name="T11" fmla="*/ 0 h 15"/>
                <a:gd name="T12" fmla="*/ 9 w 21"/>
                <a:gd name="T13" fmla="*/ 1 h 15"/>
                <a:gd name="T14" fmla="*/ 3 w 21"/>
                <a:gd name="T15" fmla="*/ 1 h 15"/>
                <a:gd name="T16" fmla="*/ 3 w 21"/>
                <a:gd name="T17" fmla="*/ 1 h 15"/>
                <a:gd name="T18" fmla="*/ 1 w 21"/>
                <a:gd name="T19" fmla="*/ 2 h 15"/>
                <a:gd name="T20" fmla="*/ 0 w 21"/>
                <a:gd name="T21" fmla="*/ 3 h 15"/>
                <a:gd name="T22" fmla="*/ 0 w 21"/>
                <a:gd name="T23" fmla="*/ 3 h 15"/>
                <a:gd name="T24" fmla="*/ 1 w 21"/>
                <a:gd name="T25" fmla="*/ 5 h 15"/>
                <a:gd name="T26" fmla="*/ 4 w 21"/>
                <a:gd name="T27" fmla="*/ 7 h 15"/>
                <a:gd name="T28" fmla="*/ 8 w 21"/>
                <a:gd name="T29" fmla="*/ 10 h 15"/>
                <a:gd name="T30" fmla="*/ 10 w 21"/>
                <a:gd name="T31" fmla="*/ 12 h 15"/>
                <a:gd name="T32" fmla="*/ 12 w 21"/>
                <a:gd name="T33" fmla="*/ 10 h 15"/>
                <a:gd name="T34" fmla="*/ 15 w 21"/>
                <a:gd name="T35" fmla="*/ 14 h 15"/>
                <a:gd name="T36" fmla="*/ 18 w 21"/>
                <a:gd name="T37" fmla="*/ 15 h 15"/>
                <a:gd name="T38" fmla="*/ 19 w 21"/>
                <a:gd name="T3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" h="15">
                  <a:moveTo>
                    <a:pt x="19" y="11"/>
                  </a:moveTo>
                  <a:cubicBezTo>
                    <a:pt x="18" y="10"/>
                    <a:pt x="20" y="9"/>
                    <a:pt x="20" y="9"/>
                  </a:cubicBezTo>
                  <a:cubicBezTo>
                    <a:pt x="21" y="8"/>
                    <a:pt x="20" y="7"/>
                    <a:pt x="20" y="6"/>
                  </a:cubicBezTo>
                  <a:cubicBezTo>
                    <a:pt x="19" y="6"/>
                    <a:pt x="19" y="5"/>
                    <a:pt x="19" y="5"/>
                  </a:cubicBezTo>
                  <a:cubicBezTo>
                    <a:pt x="19" y="5"/>
                    <a:pt x="19" y="4"/>
                    <a:pt x="17" y="3"/>
                  </a:cubicBezTo>
                  <a:cubicBezTo>
                    <a:pt x="15" y="1"/>
                    <a:pt x="14" y="0"/>
                    <a:pt x="12" y="0"/>
                  </a:cubicBezTo>
                  <a:cubicBezTo>
                    <a:pt x="11" y="0"/>
                    <a:pt x="9" y="0"/>
                    <a:pt x="9" y="1"/>
                  </a:cubicBezTo>
                  <a:cubicBezTo>
                    <a:pt x="8" y="1"/>
                    <a:pt x="6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1" y="2"/>
                    <a:pt x="1" y="2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2" y="6"/>
                    <a:pt x="3" y="7"/>
                    <a:pt x="4" y="7"/>
                  </a:cubicBezTo>
                  <a:cubicBezTo>
                    <a:pt x="6" y="8"/>
                    <a:pt x="7" y="8"/>
                    <a:pt x="8" y="10"/>
                  </a:cubicBezTo>
                  <a:cubicBezTo>
                    <a:pt x="9" y="11"/>
                    <a:pt x="9" y="12"/>
                    <a:pt x="10" y="12"/>
                  </a:cubicBezTo>
                  <a:cubicBezTo>
                    <a:pt x="12" y="12"/>
                    <a:pt x="12" y="10"/>
                    <a:pt x="12" y="10"/>
                  </a:cubicBezTo>
                  <a:cubicBezTo>
                    <a:pt x="12" y="11"/>
                    <a:pt x="13" y="12"/>
                    <a:pt x="15" y="14"/>
                  </a:cubicBezTo>
                  <a:cubicBezTo>
                    <a:pt x="16" y="14"/>
                    <a:pt x="17" y="15"/>
                    <a:pt x="18" y="15"/>
                  </a:cubicBezTo>
                  <a:cubicBezTo>
                    <a:pt x="18" y="15"/>
                    <a:pt x="17" y="11"/>
                    <a:pt x="19" y="11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18" name="Freeform 633">
              <a:extLst>
                <a:ext uri="{FF2B5EF4-FFF2-40B4-BE49-F238E27FC236}">
                  <a16:creationId xmlns:a16="http://schemas.microsoft.com/office/drawing/2014/main" id="{EE25AD2C-2448-83B0-32C8-44AEFCFDF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012" y="3261010"/>
              <a:ext cx="13319" cy="12108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4 h 4"/>
                <a:gd name="T4" fmla="*/ 4 w 4"/>
                <a:gd name="T5" fmla="*/ 4 h 4"/>
                <a:gd name="T6" fmla="*/ 4 w 4"/>
                <a:gd name="T7" fmla="*/ 4 h 4"/>
                <a:gd name="T8" fmla="*/ 4 w 4"/>
                <a:gd name="T9" fmla="*/ 3 h 4"/>
                <a:gd name="T10" fmla="*/ 2 w 4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0" y="0"/>
                    <a:pt x="1" y="4"/>
                    <a:pt x="1" y="4"/>
                  </a:cubicBezTo>
                  <a:cubicBezTo>
                    <a:pt x="2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3" y="1"/>
                    <a:pt x="2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19" name="Freeform 634">
              <a:extLst>
                <a:ext uri="{FF2B5EF4-FFF2-40B4-BE49-F238E27FC236}">
                  <a16:creationId xmlns:a16="http://schemas.microsoft.com/office/drawing/2014/main" id="{86E748A4-7F36-40C9-3532-349B818DE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1211" y="3176251"/>
              <a:ext cx="71440" cy="65386"/>
            </a:xfrm>
            <a:custGeom>
              <a:avLst/>
              <a:gdLst>
                <a:gd name="T0" fmla="*/ 6 w 22"/>
                <a:gd name="T1" fmla="*/ 16 h 20"/>
                <a:gd name="T2" fmla="*/ 9 w 22"/>
                <a:gd name="T3" fmla="*/ 15 h 20"/>
                <a:gd name="T4" fmla="*/ 14 w 22"/>
                <a:gd name="T5" fmla="*/ 18 h 20"/>
                <a:gd name="T6" fmla="*/ 16 w 22"/>
                <a:gd name="T7" fmla="*/ 20 h 20"/>
                <a:gd name="T8" fmla="*/ 16 w 22"/>
                <a:gd name="T9" fmla="*/ 20 h 20"/>
                <a:gd name="T10" fmla="*/ 17 w 22"/>
                <a:gd name="T11" fmla="*/ 18 h 20"/>
                <a:gd name="T12" fmla="*/ 15 w 22"/>
                <a:gd name="T13" fmla="*/ 12 h 20"/>
                <a:gd name="T14" fmla="*/ 19 w 22"/>
                <a:gd name="T15" fmla="*/ 12 h 20"/>
                <a:gd name="T16" fmla="*/ 21 w 22"/>
                <a:gd name="T17" fmla="*/ 8 h 20"/>
                <a:gd name="T18" fmla="*/ 21 w 22"/>
                <a:gd name="T19" fmla="*/ 6 h 20"/>
                <a:gd name="T20" fmla="*/ 22 w 22"/>
                <a:gd name="T21" fmla="*/ 3 h 20"/>
                <a:gd name="T22" fmla="*/ 22 w 22"/>
                <a:gd name="T23" fmla="*/ 0 h 20"/>
                <a:gd name="T24" fmla="*/ 21 w 22"/>
                <a:gd name="T25" fmla="*/ 1 h 20"/>
                <a:gd name="T26" fmla="*/ 19 w 22"/>
                <a:gd name="T27" fmla="*/ 0 h 20"/>
                <a:gd name="T28" fmla="*/ 17 w 22"/>
                <a:gd name="T29" fmla="*/ 1 h 20"/>
                <a:gd name="T30" fmla="*/ 14 w 22"/>
                <a:gd name="T31" fmla="*/ 1 h 20"/>
                <a:gd name="T32" fmla="*/ 12 w 22"/>
                <a:gd name="T33" fmla="*/ 3 h 20"/>
                <a:gd name="T34" fmla="*/ 13 w 22"/>
                <a:gd name="T35" fmla="*/ 4 h 20"/>
                <a:gd name="T36" fmla="*/ 13 w 22"/>
                <a:gd name="T37" fmla="*/ 6 h 20"/>
                <a:gd name="T38" fmla="*/ 11 w 22"/>
                <a:gd name="T39" fmla="*/ 6 h 20"/>
                <a:gd name="T40" fmla="*/ 11 w 22"/>
                <a:gd name="T41" fmla="*/ 4 h 20"/>
                <a:gd name="T42" fmla="*/ 9 w 22"/>
                <a:gd name="T43" fmla="*/ 6 h 20"/>
                <a:gd name="T44" fmla="*/ 7 w 22"/>
                <a:gd name="T45" fmla="*/ 8 h 20"/>
                <a:gd name="T46" fmla="*/ 6 w 22"/>
                <a:gd name="T47" fmla="*/ 10 h 20"/>
                <a:gd name="T48" fmla="*/ 5 w 22"/>
                <a:gd name="T49" fmla="*/ 12 h 20"/>
                <a:gd name="T50" fmla="*/ 5 w 22"/>
                <a:gd name="T51" fmla="*/ 13 h 20"/>
                <a:gd name="T52" fmla="*/ 6 w 22"/>
                <a:gd name="T53" fmla="*/ 13 h 20"/>
                <a:gd name="T54" fmla="*/ 4 w 22"/>
                <a:gd name="T55" fmla="*/ 13 h 20"/>
                <a:gd name="T56" fmla="*/ 4 w 22"/>
                <a:gd name="T57" fmla="*/ 13 h 20"/>
                <a:gd name="T58" fmla="*/ 5 w 22"/>
                <a:gd name="T59" fmla="*/ 14 h 20"/>
                <a:gd name="T60" fmla="*/ 3 w 22"/>
                <a:gd name="T61" fmla="*/ 14 h 20"/>
                <a:gd name="T62" fmla="*/ 3 w 22"/>
                <a:gd name="T63" fmla="*/ 14 h 20"/>
                <a:gd name="T64" fmla="*/ 5 w 22"/>
                <a:gd name="T65" fmla="*/ 15 h 20"/>
                <a:gd name="T66" fmla="*/ 4 w 22"/>
                <a:gd name="T67" fmla="*/ 15 h 20"/>
                <a:gd name="T68" fmla="*/ 3 w 22"/>
                <a:gd name="T69" fmla="*/ 15 h 20"/>
                <a:gd name="T70" fmla="*/ 3 w 22"/>
                <a:gd name="T71" fmla="*/ 15 h 20"/>
                <a:gd name="T72" fmla="*/ 2 w 22"/>
                <a:gd name="T73" fmla="*/ 15 h 20"/>
                <a:gd name="T74" fmla="*/ 3 w 22"/>
                <a:gd name="T75" fmla="*/ 16 h 20"/>
                <a:gd name="T76" fmla="*/ 2 w 22"/>
                <a:gd name="T77" fmla="*/ 16 h 20"/>
                <a:gd name="T78" fmla="*/ 1 w 22"/>
                <a:gd name="T79" fmla="*/ 16 h 20"/>
                <a:gd name="T80" fmla="*/ 0 w 22"/>
                <a:gd name="T81" fmla="*/ 16 h 20"/>
                <a:gd name="T82" fmla="*/ 0 w 22"/>
                <a:gd name="T83" fmla="*/ 16 h 20"/>
                <a:gd name="T84" fmla="*/ 6 w 22"/>
                <a:gd name="T85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" h="20">
                  <a:moveTo>
                    <a:pt x="6" y="16"/>
                  </a:moveTo>
                  <a:cubicBezTo>
                    <a:pt x="6" y="15"/>
                    <a:pt x="8" y="15"/>
                    <a:pt x="9" y="15"/>
                  </a:cubicBezTo>
                  <a:cubicBezTo>
                    <a:pt x="11" y="15"/>
                    <a:pt x="12" y="16"/>
                    <a:pt x="14" y="18"/>
                  </a:cubicBezTo>
                  <a:cubicBezTo>
                    <a:pt x="16" y="19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7" y="19"/>
                    <a:pt x="17" y="18"/>
                  </a:cubicBezTo>
                  <a:cubicBezTo>
                    <a:pt x="17" y="17"/>
                    <a:pt x="16" y="14"/>
                    <a:pt x="15" y="12"/>
                  </a:cubicBezTo>
                  <a:cubicBezTo>
                    <a:pt x="15" y="11"/>
                    <a:pt x="17" y="12"/>
                    <a:pt x="19" y="12"/>
                  </a:cubicBezTo>
                  <a:cubicBezTo>
                    <a:pt x="20" y="12"/>
                    <a:pt x="21" y="9"/>
                    <a:pt x="21" y="8"/>
                  </a:cubicBezTo>
                  <a:cubicBezTo>
                    <a:pt x="21" y="7"/>
                    <a:pt x="20" y="6"/>
                    <a:pt x="21" y="6"/>
                  </a:cubicBezTo>
                  <a:cubicBezTo>
                    <a:pt x="22" y="6"/>
                    <a:pt x="22" y="4"/>
                    <a:pt x="22" y="3"/>
                  </a:cubicBezTo>
                  <a:cubicBezTo>
                    <a:pt x="22" y="2"/>
                    <a:pt x="22" y="1"/>
                    <a:pt x="22" y="0"/>
                  </a:cubicBezTo>
                  <a:cubicBezTo>
                    <a:pt x="22" y="0"/>
                    <a:pt x="21" y="1"/>
                    <a:pt x="21" y="1"/>
                  </a:cubicBezTo>
                  <a:cubicBezTo>
                    <a:pt x="21" y="1"/>
                    <a:pt x="19" y="0"/>
                    <a:pt x="19" y="0"/>
                  </a:cubicBezTo>
                  <a:cubicBezTo>
                    <a:pt x="18" y="0"/>
                    <a:pt x="18" y="1"/>
                    <a:pt x="17" y="1"/>
                  </a:cubicBezTo>
                  <a:cubicBezTo>
                    <a:pt x="17" y="1"/>
                    <a:pt x="15" y="1"/>
                    <a:pt x="14" y="1"/>
                  </a:cubicBezTo>
                  <a:cubicBezTo>
                    <a:pt x="14" y="1"/>
                    <a:pt x="12" y="3"/>
                    <a:pt x="12" y="3"/>
                  </a:cubicBezTo>
                  <a:cubicBezTo>
                    <a:pt x="11" y="4"/>
                    <a:pt x="12" y="4"/>
                    <a:pt x="13" y="4"/>
                  </a:cubicBezTo>
                  <a:cubicBezTo>
                    <a:pt x="13" y="4"/>
                    <a:pt x="14" y="7"/>
                    <a:pt x="13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2" y="3"/>
                    <a:pt x="11" y="4"/>
                  </a:cubicBezTo>
                  <a:cubicBezTo>
                    <a:pt x="10" y="5"/>
                    <a:pt x="10" y="5"/>
                    <a:pt x="9" y="6"/>
                  </a:cubicBezTo>
                  <a:cubicBezTo>
                    <a:pt x="8" y="6"/>
                    <a:pt x="8" y="8"/>
                    <a:pt x="7" y="8"/>
                  </a:cubicBezTo>
                  <a:cubicBezTo>
                    <a:pt x="6" y="9"/>
                    <a:pt x="7" y="9"/>
                    <a:pt x="6" y="10"/>
                  </a:cubicBezTo>
                  <a:cubicBezTo>
                    <a:pt x="5" y="12"/>
                    <a:pt x="5" y="11"/>
                    <a:pt x="5" y="12"/>
                  </a:cubicBezTo>
                  <a:cubicBezTo>
                    <a:pt x="5" y="13"/>
                    <a:pt x="4" y="13"/>
                    <a:pt x="5" y="13"/>
                  </a:cubicBezTo>
                  <a:cubicBezTo>
                    <a:pt x="6" y="13"/>
                    <a:pt x="7" y="13"/>
                    <a:pt x="6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6" y="14"/>
                    <a:pt x="5" y="14"/>
                  </a:cubicBezTo>
                  <a:cubicBezTo>
                    <a:pt x="5" y="14"/>
                    <a:pt x="4" y="14"/>
                    <a:pt x="3" y="14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3" y="14"/>
                    <a:pt x="4" y="15"/>
                    <a:pt x="5" y="15"/>
                  </a:cubicBezTo>
                  <a:cubicBezTo>
                    <a:pt x="5" y="15"/>
                    <a:pt x="4" y="15"/>
                    <a:pt x="4" y="15"/>
                  </a:cubicBezTo>
                  <a:cubicBezTo>
                    <a:pt x="3" y="14"/>
                    <a:pt x="2" y="14"/>
                    <a:pt x="3" y="15"/>
                  </a:cubicBezTo>
                  <a:cubicBezTo>
                    <a:pt x="4" y="16"/>
                    <a:pt x="5" y="16"/>
                    <a:pt x="3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3" y="16"/>
                    <a:pt x="3" y="16"/>
                  </a:cubicBezTo>
                  <a:cubicBezTo>
                    <a:pt x="3" y="16"/>
                    <a:pt x="2" y="16"/>
                    <a:pt x="2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3" y="17"/>
                    <a:pt x="5" y="16"/>
                    <a:pt x="6" y="16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20" name="Freeform 635">
              <a:extLst>
                <a:ext uri="{FF2B5EF4-FFF2-40B4-BE49-F238E27FC236}">
                  <a16:creationId xmlns:a16="http://schemas.microsoft.com/office/drawing/2014/main" id="{71A5A628-F4F3-8708-7FCC-09C61D9F3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8392" y="3069697"/>
              <a:ext cx="54489" cy="73862"/>
            </a:xfrm>
            <a:custGeom>
              <a:avLst/>
              <a:gdLst>
                <a:gd name="T0" fmla="*/ 11 w 17"/>
                <a:gd name="T1" fmla="*/ 23 h 23"/>
                <a:gd name="T2" fmla="*/ 11 w 17"/>
                <a:gd name="T3" fmla="*/ 23 h 23"/>
                <a:gd name="T4" fmla="*/ 11 w 17"/>
                <a:gd name="T5" fmla="*/ 22 h 23"/>
                <a:gd name="T6" fmla="*/ 8 w 17"/>
                <a:gd name="T7" fmla="*/ 19 h 23"/>
                <a:gd name="T8" fmla="*/ 10 w 17"/>
                <a:gd name="T9" fmla="*/ 18 h 23"/>
                <a:gd name="T10" fmla="*/ 11 w 17"/>
                <a:gd name="T11" fmla="*/ 16 h 23"/>
                <a:gd name="T12" fmla="*/ 12 w 17"/>
                <a:gd name="T13" fmla="*/ 13 h 23"/>
                <a:gd name="T14" fmla="*/ 13 w 17"/>
                <a:gd name="T15" fmla="*/ 14 h 23"/>
                <a:gd name="T16" fmla="*/ 15 w 17"/>
                <a:gd name="T17" fmla="*/ 12 h 23"/>
                <a:gd name="T18" fmla="*/ 15 w 17"/>
                <a:gd name="T19" fmla="*/ 10 h 23"/>
                <a:gd name="T20" fmla="*/ 12 w 17"/>
                <a:gd name="T21" fmla="*/ 7 h 23"/>
                <a:gd name="T22" fmla="*/ 11 w 17"/>
                <a:gd name="T23" fmla="*/ 5 h 23"/>
                <a:gd name="T24" fmla="*/ 13 w 17"/>
                <a:gd name="T25" fmla="*/ 4 h 23"/>
                <a:gd name="T26" fmla="*/ 14 w 17"/>
                <a:gd name="T27" fmla="*/ 0 h 23"/>
                <a:gd name="T28" fmla="*/ 12 w 17"/>
                <a:gd name="T29" fmla="*/ 1 h 23"/>
                <a:gd name="T30" fmla="*/ 10 w 17"/>
                <a:gd name="T31" fmla="*/ 2 h 23"/>
                <a:gd name="T32" fmla="*/ 8 w 17"/>
                <a:gd name="T33" fmla="*/ 4 h 23"/>
                <a:gd name="T34" fmla="*/ 4 w 17"/>
                <a:gd name="T35" fmla="*/ 4 h 23"/>
                <a:gd name="T36" fmla="*/ 2 w 17"/>
                <a:gd name="T37" fmla="*/ 7 h 23"/>
                <a:gd name="T38" fmla="*/ 4 w 17"/>
                <a:gd name="T39" fmla="*/ 7 h 23"/>
                <a:gd name="T40" fmla="*/ 5 w 17"/>
                <a:gd name="T41" fmla="*/ 6 h 23"/>
                <a:gd name="T42" fmla="*/ 6 w 17"/>
                <a:gd name="T43" fmla="*/ 6 h 23"/>
                <a:gd name="T44" fmla="*/ 7 w 17"/>
                <a:gd name="T45" fmla="*/ 8 h 23"/>
                <a:gd name="T46" fmla="*/ 5 w 17"/>
                <a:gd name="T47" fmla="*/ 7 h 23"/>
                <a:gd name="T48" fmla="*/ 4 w 17"/>
                <a:gd name="T49" fmla="*/ 9 h 23"/>
                <a:gd name="T50" fmla="*/ 2 w 17"/>
                <a:gd name="T51" fmla="*/ 8 h 23"/>
                <a:gd name="T52" fmla="*/ 2 w 17"/>
                <a:gd name="T53" fmla="*/ 9 h 23"/>
                <a:gd name="T54" fmla="*/ 0 w 17"/>
                <a:gd name="T55" fmla="*/ 9 h 23"/>
                <a:gd name="T56" fmla="*/ 0 w 17"/>
                <a:gd name="T57" fmla="*/ 11 h 23"/>
                <a:gd name="T58" fmla="*/ 1 w 17"/>
                <a:gd name="T59" fmla="*/ 16 h 23"/>
                <a:gd name="T60" fmla="*/ 3 w 17"/>
                <a:gd name="T61" fmla="*/ 18 h 23"/>
                <a:gd name="T62" fmla="*/ 3 w 17"/>
                <a:gd name="T63" fmla="*/ 20 h 23"/>
                <a:gd name="T64" fmla="*/ 2 w 17"/>
                <a:gd name="T65" fmla="*/ 22 h 23"/>
                <a:gd name="T66" fmla="*/ 3 w 17"/>
                <a:gd name="T67" fmla="*/ 22 h 23"/>
                <a:gd name="T68" fmla="*/ 11 w 17"/>
                <a:gd name="T6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" h="23">
                  <a:moveTo>
                    <a:pt x="11" y="23"/>
                  </a:move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2"/>
                    <a:pt x="11" y="22"/>
                  </a:cubicBezTo>
                  <a:cubicBezTo>
                    <a:pt x="10" y="21"/>
                    <a:pt x="8" y="20"/>
                    <a:pt x="8" y="19"/>
                  </a:cubicBezTo>
                  <a:cubicBezTo>
                    <a:pt x="8" y="18"/>
                    <a:pt x="9" y="19"/>
                    <a:pt x="10" y="18"/>
                  </a:cubicBezTo>
                  <a:cubicBezTo>
                    <a:pt x="10" y="17"/>
                    <a:pt x="9" y="17"/>
                    <a:pt x="11" y="16"/>
                  </a:cubicBezTo>
                  <a:cubicBezTo>
                    <a:pt x="12" y="14"/>
                    <a:pt x="12" y="12"/>
                    <a:pt x="12" y="13"/>
                  </a:cubicBezTo>
                  <a:cubicBezTo>
                    <a:pt x="13" y="14"/>
                    <a:pt x="13" y="15"/>
                    <a:pt x="13" y="14"/>
                  </a:cubicBezTo>
                  <a:cubicBezTo>
                    <a:pt x="14" y="13"/>
                    <a:pt x="14" y="13"/>
                    <a:pt x="15" y="12"/>
                  </a:cubicBezTo>
                  <a:cubicBezTo>
                    <a:pt x="16" y="11"/>
                    <a:pt x="17" y="11"/>
                    <a:pt x="15" y="10"/>
                  </a:cubicBezTo>
                  <a:cubicBezTo>
                    <a:pt x="13" y="9"/>
                    <a:pt x="12" y="9"/>
                    <a:pt x="12" y="7"/>
                  </a:cubicBezTo>
                  <a:cubicBezTo>
                    <a:pt x="12" y="6"/>
                    <a:pt x="11" y="6"/>
                    <a:pt x="11" y="5"/>
                  </a:cubicBezTo>
                  <a:cubicBezTo>
                    <a:pt x="11" y="4"/>
                    <a:pt x="13" y="5"/>
                    <a:pt x="13" y="4"/>
                  </a:cubicBezTo>
                  <a:cubicBezTo>
                    <a:pt x="14" y="3"/>
                    <a:pt x="14" y="1"/>
                    <a:pt x="14" y="0"/>
                  </a:cubicBezTo>
                  <a:cubicBezTo>
                    <a:pt x="14" y="0"/>
                    <a:pt x="13" y="1"/>
                    <a:pt x="12" y="1"/>
                  </a:cubicBezTo>
                  <a:cubicBezTo>
                    <a:pt x="11" y="1"/>
                    <a:pt x="10" y="0"/>
                    <a:pt x="10" y="2"/>
                  </a:cubicBezTo>
                  <a:cubicBezTo>
                    <a:pt x="9" y="3"/>
                    <a:pt x="8" y="4"/>
                    <a:pt x="8" y="4"/>
                  </a:cubicBezTo>
                  <a:cubicBezTo>
                    <a:pt x="7" y="4"/>
                    <a:pt x="5" y="4"/>
                    <a:pt x="4" y="4"/>
                  </a:cubicBezTo>
                  <a:cubicBezTo>
                    <a:pt x="2" y="5"/>
                    <a:pt x="1" y="7"/>
                    <a:pt x="2" y="7"/>
                  </a:cubicBezTo>
                  <a:cubicBezTo>
                    <a:pt x="3" y="7"/>
                    <a:pt x="3" y="8"/>
                    <a:pt x="4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5"/>
                    <a:pt x="6" y="5"/>
                    <a:pt x="6" y="6"/>
                  </a:cubicBezTo>
                  <a:cubicBezTo>
                    <a:pt x="7" y="7"/>
                    <a:pt x="7" y="9"/>
                    <a:pt x="7" y="8"/>
                  </a:cubicBezTo>
                  <a:cubicBezTo>
                    <a:pt x="6" y="8"/>
                    <a:pt x="5" y="7"/>
                    <a:pt x="5" y="7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4" y="9"/>
                    <a:pt x="3" y="9"/>
                    <a:pt x="2" y="8"/>
                  </a:cubicBezTo>
                  <a:cubicBezTo>
                    <a:pt x="2" y="8"/>
                    <a:pt x="3" y="8"/>
                    <a:pt x="2" y="9"/>
                  </a:cubicBezTo>
                  <a:cubicBezTo>
                    <a:pt x="1" y="9"/>
                    <a:pt x="1" y="8"/>
                    <a:pt x="0" y="9"/>
                  </a:cubicBezTo>
                  <a:cubicBezTo>
                    <a:pt x="0" y="9"/>
                    <a:pt x="0" y="9"/>
                    <a:pt x="0" y="11"/>
                  </a:cubicBezTo>
                  <a:cubicBezTo>
                    <a:pt x="0" y="13"/>
                    <a:pt x="0" y="15"/>
                    <a:pt x="1" y="16"/>
                  </a:cubicBezTo>
                  <a:cubicBezTo>
                    <a:pt x="2" y="17"/>
                    <a:pt x="2" y="16"/>
                    <a:pt x="3" y="18"/>
                  </a:cubicBezTo>
                  <a:cubicBezTo>
                    <a:pt x="3" y="19"/>
                    <a:pt x="3" y="20"/>
                    <a:pt x="3" y="20"/>
                  </a:cubicBezTo>
                  <a:cubicBezTo>
                    <a:pt x="2" y="21"/>
                    <a:pt x="1" y="21"/>
                    <a:pt x="2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6" y="23"/>
                    <a:pt x="9" y="23"/>
                    <a:pt x="11" y="2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21" name="Freeform 636">
              <a:extLst>
                <a:ext uri="{FF2B5EF4-FFF2-40B4-BE49-F238E27FC236}">
                  <a16:creationId xmlns:a16="http://schemas.microsoft.com/office/drawing/2014/main" id="{86DCD3A6-16E8-1232-3B5D-685FACA74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9645" y="3141137"/>
              <a:ext cx="161044" cy="184049"/>
            </a:xfrm>
            <a:custGeom>
              <a:avLst/>
              <a:gdLst>
                <a:gd name="T0" fmla="*/ 49 w 50"/>
                <a:gd name="T1" fmla="*/ 26 h 57"/>
                <a:gd name="T2" fmla="*/ 47 w 50"/>
                <a:gd name="T3" fmla="*/ 21 h 57"/>
                <a:gd name="T4" fmla="*/ 46 w 50"/>
                <a:gd name="T5" fmla="*/ 16 h 57"/>
                <a:gd name="T6" fmla="*/ 47 w 50"/>
                <a:gd name="T7" fmla="*/ 13 h 57"/>
                <a:gd name="T8" fmla="*/ 46 w 50"/>
                <a:gd name="T9" fmla="*/ 8 h 57"/>
                <a:gd name="T10" fmla="*/ 45 w 50"/>
                <a:gd name="T11" fmla="*/ 7 h 57"/>
                <a:gd name="T12" fmla="*/ 42 w 50"/>
                <a:gd name="T13" fmla="*/ 5 h 57"/>
                <a:gd name="T14" fmla="*/ 42 w 50"/>
                <a:gd name="T15" fmla="*/ 2 h 57"/>
                <a:gd name="T16" fmla="*/ 41 w 50"/>
                <a:gd name="T17" fmla="*/ 5 h 57"/>
                <a:gd name="T18" fmla="*/ 38 w 50"/>
                <a:gd name="T19" fmla="*/ 4 h 57"/>
                <a:gd name="T20" fmla="*/ 33 w 50"/>
                <a:gd name="T21" fmla="*/ 5 h 57"/>
                <a:gd name="T22" fmla="*/ 31 w 50"/>
                <a:gd name="T23" fmla="*/ 7 h 57"/>
                <a:gd name="T24" fmla="*/ 28 w 50"/>
                <a:gd name="T25" fmla="*/ 6 h 57"/>
                <a:gd name="T26" fmla="*/ 28 w 50"/>
                <a:gd name="T27" fmla="*/ 4 h 57"/>
                <a:gd name="T28" fmla="*/ 23 w 50"/>
                <a:gd name="T29" fmla="*/ 4 h 57"/>
                <a:gd name="T30" fmla="*/ 23 w 50"/>
                <a:gd name="T31" fmla="*/ 1 h 57"/>
                <a:gd name="T32" fmla="*/ 23 w 50"/>
                <a:gd name="T33" fmla="*/ 1 h 57"/>
                <a:gd name="T34" fmla="*/ 15 w 50"/>
                <a:gd name="T35" fmla="*/ 0 h 57"/>
                <a:gd name="T36" fmla="*/ 16 w 50"/>
                <a:gd name="T37" fmla="*/ 2 h 57"/>
                <a:gd name="T38" fmla="*/ 15 w 50"/>
                <a:gd name="T39" fmla="*/ 5 h 57"/>
                <a:gd name="T40" fmla="*/ 16 w 50"/>
                <a:gd name="T41" fmla="*/ 7 h 57"/>
                <a:gd name="T42" fmla="*/ 18 w 50"/>
                <a:gd name="T43" fmla="*/ 7 h 57"/>
                <a:gd name="T44" fmla="*/ 22 w 50"/>
                <a:gd name="T45" fmla="*/ 10 h 57"/>
                <a:gd name="T46" fmla="*/ 19 w 50"/>
                <a:gd name="T47" fmla="*/ 9 h 57"/>
                <a:gd name="T48" fmla="*/ 17 w 50"/>
                <a:gd name="T49" fmla="*/ 8 h 57"/>
                <a:gd name="T50" fmla="*/ 15 w 50"/>
                <a:gd name="T51" fmla="*/ 10 h 57"/>
                <a:gd name="T52" fmla="*/ 14 w 50"/>
                <a:gd name="T53" fmla="*/ 11 h 57"/>
                <a:gd name="T54" fmla="*/ 10 w 50"/>
                <a:gd name="T55" fmla="*/ 10 h 57"/>
                <a:gd name="T56" fmla="*/ 7 w 50"/>
                <a:gd name="T57" fmla="*/ 10 h 57"/>
                <a:gd name="T58" fmla="*/ 7 w 50"/>
                <a:gd name="T59" fmla="*/ 11 h 57"/>
                <a:gd name="T60" fmla="*/ 7 w 50"/>
                <a:gd name="T61" fmla="*/ 14 h 57"/>
                <a:gd name="T62" fmla="*/ 6 w 50"/>
                <a:gd name="T63" fmla="*/ 17 h 57"/>
                <a:gd name="T64" fmla="*/ 6 w 50"/>
                <a:gd name="T65" fmla="*/ 19 h 57"/>
                <a:gd name="T66" fmla="*/ 4 w 50"/>
                <a:gd name="T67" fmla="*/ 23 h 57"/>
                <a:gd name="T68" fmla="*/ 0 w 50"/>
                <a:gd name="T69" fmla="*/ 23 h 57"/>
                <a:gd name="T70" fmla="*/ 2 w 50"/>
                <a:gd name="T71" fmla="*/ 29 h 57"/>
                <a:gd name="T72" fmla="*/ 2 w 50"/>
                <a:gd name="T73" fmla="*/ 32 h 57"/>
                <a:gd name="T74" fmla="*/ 2 w 50"/>
                <a:gd name="T75" fmla="*/ 35 h 57"/>
                <a:gd name="T76" fmla="*/ 1 w 50"/>
                <a:gd name="T77" fmla="*/ 37 h 57"/>
                <a:gd name="T78" fmla="*/ 3 w 50"/>
                <a:gd name="T79" fmla="*/ 40 h 57"/>
                <a:gd name="T80" fmla="*/ 6 w 50"/>
                <a:gd name="T81" fmla="*/ 43 h 57"/>
                <a:gd name="T82" fmla="*/ 12 w 50"/>
                <a:gd name="T83" fmla="*/ 45 h 57"/>
                <a:gd name="T84" fmla="*/ 10 w 50"/>
                <a:gd name="T85" fmla="*/ 52 h 57"/>
                <a:gd name="T86" fmla="*/ 10 w 50"/>
                <a:gd name="T87" fmla="*/ 54 h 57"/>
                <a:gd name="T88" fmla="*/ 15 w 50"/>
                <a:gd name="T89" fmla="*/ 54 h 57"/>
                <a:gd name="T90" fmla="*/ 21 w 50"/>
                <a:gd name="T91" fmla="*/ 54 h 57"/>
                <a:gd name="T92" fmla="*/ 25 w 50"/>
                <a:gd name="T93" fmla="*/ 56 h 57"/>
                <a:gd name="T94" fmla="*/ 28 w 50"/>
                <a:gd name="T95" fmla="*/ 55 h 57"/>
                <a:gd name="T96" fmla="*/ 30 w 50"/>
                <a:gd name="T97" fmla="*/ 56 h 57"/>
                <a:gd name="T98" fmla="*/ 36 w 50"/>
                <a:gd name="T99" fmla="*/ 54 h 57"/>
                <a:gd name="T100" fmla="*/ 40 w 50"/>
                <a:gd name="T101" fmla="*/ 54 h 57"/>
                <a:gd name="T102" fmla="*/ 39 w 50"/>
                <a:gd name="T103" fmla="*/ 50 h 57"/>
                <a:gd name="T104" fmla="*/ 42 w 50"/>
                <a:gd name="T105" fmla="*/ 48 h 57"/>
                <a:gd name="T106" fmla="*/ 45 w 50"/>
                <a:gd name="T107" fmla="*/ 47 h 57"/>
                <a:gd name="T108" fmla="*/ 37 w 50"/>
                <a:gd name="T109" fmla="*/ 39 h 57"/>
                <a:gd name="T110" fmla="*/ 35 w 50"/>
                <a:gd name="T111" fmla="*/ 36 h 57"/>
                <a:gd name="T112" fmla="*/ 38 w 50"/>
                <a:gd name="T113" fmla="*/ 34 h 57"/>
                <a:gd name="T114" fmla="*/ 44 w 50"/>
                <a:gd name="T115" fmla="*/ 31 h 57"/>
                <a:gd name="T116" fmla="*/ 46 w 50"/>
                <a:gd name="T117" fmla="*/ 29 h 57"/>
                <a:gd name="T118" fmla="*/ 49 w 50"/>
                <a:gd name="T119" fmla="*/ 31 h 57"/>
                <a:gd name="T120" fmla="*/ 50 w 50"/>
                <a:gd name="T121" fmla="*/ 29 h 57"/>
                <a:gd name="T122" fmla="*/ 50 w 50"/>
                <a:gd name="T123" fmla="*/ 29 h 57"/>
                <a:gd name="T124" fmla="*/ 49 w 50"/>
                <a:gd name="T125" fmla="*/ 2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0" h="57">
                  <a:moveTo>
                    <a:pt x="49" y="26"/>
                  </a:moveTo>
                  <a:cubicBezTo>
                    <a:pt x="48" y="25"/>
                    <a:pt x="47" y="22"/>
                    <a:pt x="47" y="21"/>
                  </a:cubicBezTo>
                  <a:cubicBezTo>
                    <a:pt x="47" y="20"/>
                    <a:pt x="46" y="17"/>
                    <a:pt x="46" y="16"/>
                  </a:cubicBezTo>
                  <a:cubicBezTo>
                    <a:pt x="45" y="15"/>
                    <a:pt x="46" y="14"/>
                    <a:pt x="47" y="13"/>
                  </a:cubicBezTo>
                  <a:cubicBezTo>
                    <a:pt x="47" y="12"/>
                    <a:pt x="46" y="10"/>
                    <a:pt x="46" y="8"/>
                  </a:cubicBezTo>
                  <a:cubicBezTo>
                    <a:pt x="46" y="8"/>
                    <a:pt x="46" y="8"/>
                    <a:pt x="45" y="7"/>
                  </a:cubicBezTo>
                  <a:cubicBezTo>
                    <a:pt x="44" y="6"/>
                    <a:pt x="42" y="5"/>
                    <a:pt x="42" y="5"/>
                  </a:cubicBezTo>
                  <a:cubicBezTo>
                    <a:pt x="43" y="4"/>
                    <a:pt x="43" y="2"/>
                    <a:pt x="42" y="2"/>
                  </a:cubicBezTo>
                  <a:cubicBezTo>
                    <a:pt x="41" y="3"/>
                    <a:pt x="42" y="5"/>
                    <a:pt x="41" y="5"/>
                  </a:cubicBezTo>
                  <a:cubicBezTo>
                    <a:pt x="40" y="5"/>
                    <a:pt x="39" y="4"/>
                    <a:pt x="38" y="4"/>
                  </a:cubicBezTo>
                  <a:cubicBezTo>
                    <a:pt x="37" y="4"/>
                    <a:pt x="34" y="5"/>
                    <a:pt x="33" y="5"/>
                  </a:cubicBezTo>
                  <a:cubicBezTo>
                    <a:pt x="33" y="6"/>
                    <a:pt x="33" y="7"/>
                    <a:pt x="31" y="7"/>
                  </a:cubicBezTo>
                  <a:cubicBezTo>
                    <a:pt x="29" y="7"/>
                    <a:pt x="27" y="7"/>
                    <a:pt x="28" y="6"/>
                  </a:cubicBezTo>
                  <a:cubicBezTo>
                    <a:pt x="28" y="5"/>
                    <a:pt x="29" y="4"/>
                    <a:pt x="28" y="4"/>
                  </a:cubicBezTo>
                  <a:cubicBezTo>
                    <a:pt x="26" y="5"/>
                    <a:pt x="23" y="5"/>
                    <a:pt x="23" y="4"/>
                  </a:cubicBezTo>
                  <a:cubicBezTo>
                    <a:pt x="23" y="3"/>
                    <a:pt x="24" y="2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1" y="1"/>
                    <a:pt x="18" y="1"/>
                    <a:pt x="15" y="0"/>
                  </a:cubicBezTo>
                  <a:cubicBezTo>
                    <a:pt x="16" y="1"/>
                    <a:pt x="16" y="1"/>
                    <a:pt x="16" y="2"/>
                  </a:cubicBezTo>
                  <a:cubicBezTo>
                    <a:pt x="16" y="4"/>
                    <a:pt x="15" y="3"/>
                    <a:pt x="15" y="5"/>
                  </a:cubicBezTo>
                  <a:cubicBezTo>
                    <a:pt x="16" y="6"/>
                    <a:pt x="16" y="6"/>
                    <a:pt x="16" y="7"/>
                  </a:cubicBezTo>
                  <a:cubicBezTo>
                    <a:pt x="16" y="8"/>
                    <a:pt x="17" y="7"/>
                    <a:pt x="18" y="7"/>
                  </a:cubicBezTo>
                  <a:cubicBezTo>
                    <a:pt x="19" y="7"/>
                    <a:pt x="22" y="10"/>
                    <a:pt x="22" y="10"/>
                  </a:cubicBezTo>
                  <a:cubicBezTo>
                    <a:pt x="21" y="10"/>
                    <a:pt x="20" y="9"/>
                    <a:pt x="19" y="9"/>
                  </a:cubicBezTo>
                  <a:cubicBezTo>
                    <a:pt x="18" y="8"/>
                    <a:pt x="18" y="8"/>
                    <a:pt x="17" y="8"/>
                  </a:cubicBezTo>
                  <a:cubicBezTo>
                    <a:pt x="16" y="9"/>
                    <a:pt x="15" y="9"/>
                    <a:pt x="15" y="10"/>
                  </a:cubicBezTo>
                  <a:cubicBezTo>
                    <a:pt x="15" y="11"/>
                    <a:pt x="15" y="11"/>
                    <a:pt x="14" y="11"/>
                  </a:cubicBezTo>
                  <a:cubicBezTo>
                    <a:pt x="12" y="11"/>
                    <a:pt x="12" y="10"/>
                    <a:pt x="10" y="10"/>
                  </a:cubicBezTo>
                  <a:cubicBezTo>
                    <a:pt x="9" y="10"/>
                    <a:pt x="7" y="9"/>
                    <a:pt x="7" y="10"/>
                  </a:cubicBezTo>
                  <a:cubicBezTo>
                    <a:pt x="7" y="10"/>
                    <a:pt x="7" y="11"/>
                    <a:pt x="7" y="11"/>
                  </a:cubicBezTo>
                  <a:cubicBezTo>
                    <a:pt x="7" y="12"/>
                    <a:pt x="7" y="13"/>
                    <a:pt x="7" y="14"/>
                  </a:cubicBezTo>
                  <a:cubicBezTo>
                    <a:pt x="7" y="15"/>
                    <a:pt x="7" y="17"/>
                    <a:pt x="6" y="17"/>
                  </a:cubicBezTo>
                  <a:cubicBezTo>
                    <a:pt x="5" y="17"/>
                    <a:pt x="6" y="18"/>
                    <a:pt x="6" y="19"/>
                  </a:cubicBezTo>
                  <a:cubicBezTo>
                    <a:pt x="6" y="20"/>
                    <a:pt x="5" y="23"/>
                    <a:pt x="4" y="23"/>
                  </a:cubicBezTo>
                  <a:cubicBezTo>
                    <a:pt x="2" y="23"/>
                    <a:pt x="0" y="22"/>
                    <a:pt x="0" y="23"/>
                  </a:cubicBezTo>
                  <a:cubicBezTo>
                    <a:pt x="1" y="25"/>
                    <a:pt x="2" y="28"/>
                    <a:pt x="2" y="29"/>
                  </a:cubicBezTo>
                  <a:cubicBezTo>
                    <a:pt x="1" y="30"/>
                    <a:pt x="1" y="31"/>
                    <a:pt x="2" y="32"/>
                  </a:cubicBezTo>
                  <a:cubicBezTo>
                    <a:pt x="2" y="33"/>
                    <a:pt x="3" y="34"/>
                    <a:pt x="2" y="35"/>
                  </a:cubicBezTo>
                  <a:cubicBezTo>
                    <a:pt x="2" y="35"/>
                    <a:pt x="0" y="36"/>
                    <a:pt x="1" y="37"/>
                  </a:cubicBezTo>
                  <a:cubicBezTo>
                    <a:pt x="2" y="38"/>
                    <a:pt x="3" y="39"/>
                    <a:pt x="3" y="40"/>
                  </a:cubicBezTo>
                  <a:cubicBezTo>
                    <a:pt x="3" y="41"/>
                    <a:pt x="4" y="43"/>
                    <a:pt x="6" y="43"/>
                  </a:cubicBezTo>
                  <a:cubicBezTo>
                    <a:pt x="8" y="43"/>
                    <a:pt x="13" y="44"/>
                    <a:pt x="12" y="45"/>
                  </a:cubicBezTo>
                  <a:cubicBezTo>
                    <a:pt x="11" y="46"/>
                    <a:pt x="10" y="50"/>
                    <a:pt x="10" y="52"/>
                  </a:cubicBezTo>
                  <a:cubicBezTo>
                    <a:pt x="10" y="53"/>
                    <a:pt x="10" y="54"/>
                    <a:pt x="10" y="54"/>
                  </a:cubicBezTo>
                  <a:cubicBezTo>
                    <a:pt x="10" y="54"/>
                    <a:pt x="13" y="55"/>
                    <a:pt x="15" y="54"/>
                  </a:cubicBezTo>
                  <a:cubicBezTo>
                    <a:pt x="17" y="53"/>
                    <a:pt x="19" y="54"/>
                    <a:pt x="21" y="54"/>
                  </a:cubicBezTo>
                  <a:cubicBezTo>
                    <a:pt x="23" y="55"/>
                    <a:pt x="25" y="57"/>
                    <a:pt x="25" y="56"/>
                  </a:cubicBezTo>
                  <a:cubicBezTo>
                    <a:pt x="26" y="55"/>
                    <a:pt x="26" y="54"/>
                    <a:pt x="28" y="55"/>
                  </a:cubicBezTo>
                  <a:cubicBezTo>
                    <a:pt x="29" y="55"/>
                    <a:pt x="29" y="56"/>
                    <a:pt x="30" y="56"/>
                  </a:cubicBezTo>
                  <a:cubicBezTo>
                    <a:pt x="32" y="55"/>
                    <a:pt x="34" y="54"/>
                    <a:pt x="36" y="54"/>
                  </a:cubicBezTo>
                  <a:cubicBezTo>
                    <a:pt x="38" y="54"/>
                    <a:pt x="41" y="56"/>
                    <a:pt x="40" y="54"/>
                  </a:cubicBezTo>
                  <a:cubicBezTo>
                    <a:pt x="39" y="52"/>
                    <a:pt x="37" y="51"/>
                    <a:pt x="39" y="50"/>
                  </a:cubicBezTo>
                  <a:cubicBezTo>
                    <a:pt x="41" y="49"/>
                    <a:pt x="41" y="48"/>
                    <a:pt x="42" y="48"/>
                  </a:cubicBezTo>
                  <a:cubicBezTo>
                    <a:pt x="43" y="47"/>
                    <a:pt x="45" y="48"/>
                    <a:pt x="45" y="47"/>
                  </a:cubicBezTo>
                  <a:cubicBezTo>
                    <a:pt x="45" y="46"/>
                    <a:pt x="37" y="41"/>
                    <a:pt x="37" y="39"/>
                  </a:cubicBezTo>
                  <a:cubicBezTo>
                    <a:pt x="37" y="38"/>
                    <a:pt x="37" y="37"/>
                    <a:pt x="35" y="36"/>
                  </a:cubicBezTo>
                  <a:cubicBezTo>
                    <a:pt x="34" y="34"/>
                    <a:pt x="37" y="35"/>
                    <a:pt x="38" y="34"/>
                  </a:cubicBezTo>
                  <a:cubicBezTo>
                    <a:pt x="39" y="33"/>
                    <a:pt x="43" y="32"/>
                    <a:pt x="44" y="31"/>
                  </a:cubicBezTo>
                  <a:cubicBezTo>
                    <a:pt x="45" y="30"/>
                    <a:pt x="46" y="28"/>
                    <a:pt x="46" y="29"/>
                  </a:cubicBezTo>
                  <a:cubicBezTo>
                    <a:pt x="47" y="30"/>
                    <a:pt x="48" y="32"/>
                    <a:pt x="49" y="31"/>
                  </a:cubicBezTo>
                  <a:cubicBezTo>
                    <a:pt x="49" y="30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49" y="28"/>
                    <a:pt x="49" y="27"/>
                    <a:pt x="49" y="26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22" name="Freeform 637">
              <a:extLst>
                <a:ext uri="{FF2B5EF4-FFF2-40B4-BE49-F238E27FC236}">
                  <a16:creationId xmlns:a16="http://schemas.microsoft.com/office/drawing/2014/main" id="{82577E04-1470-4DCC-1CBA-3AFA2BBF8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9749" y="3199257"/>
              <a:ext cx="414113" cy="187681"/>
            </a:xfrm>
            <a:custGeom>
              <a:avLst/>
              <a:gdLst>
                <a:gd name="T0" fmla="*/ 125 w 128"/>
                <a:gd name="T1" fmla="*/ 26 h 58"/>
                <a:gd name="T2" fmla="*/ 125 w 128"/>
                <a:gd name="T3" fmla="*/ 22 h 58"/>
                <a:gd name="T4" fmla="*/ 120 w 128"/>
                <a:gd name="T5" fmla="*/ 20 h 58"/>
                <a:gd name="T6" fmla="*/ 115 w 128"/>
                <a:gd name="T7" fmla="*/ 19 h 58"/>
                <a:gd name="T8" fmla="*/ 108 w 128"/>
                <a:gd name="T9" fmla="*/ 17 h 58"/>
                <a:gd name="T10" fmla="*/ 101 w 128"/>
                <a:gd name="T11" fmla="*/ 15 h 58"/>
                <a:gd name="T12" fmla="*/ 95 w 128"/>
                <a:gd name="T13" fmla="*/ 9 h 58"/>
                <a:gd name="T14" fmla="*/ 95 w 128"/>
                <a:gd name="T15" fmla="*/ 4 h 58"/>
                <a:gd name="T16" fmla="*/ 88 w 128"/>
                <a:gd name="T17" fmla="*/ 1 h 58"/>
                <a:gd name="T18" fmla="*/ 82 w 128"/>
                <a:gd name="T19" fmla="*/ 3 h 58"/>
                <a:gd name="T20" fmla="*/ 81 w 128"/>
                <a:gd name="T21" fmla="*/ 2 h 58"/>
                <a:gd name="T22" fmla="*/ 74 w 128"/>
                <a:gd name="T23" fmla="*/ 9 h 58"/>
                <a:gd name="T24" fmla="*/ 67 w 128"/>
                <a:gd name="T25" fmla="*/ 8 h 58"/>
                <a:gd name="T26" fmla="*/ 63 w 128"/>
                <a:gd name="T27" fmla="*/ 7 h 58"/>
                <a:gd name="T28" fmla="*/ 58 w 128"/>
                <a:gd name="T29" fmla="*/ 7 h 58"/>
                <a:gd name="T30" fmla="*/ 40 w 128"/>
                <a:gd name="T31" fmla="*/ 5 h 58"/>
                <a:gd name="T32" fmla="*/ 37 w 128"/>
                <a:gd name="T33" fmla="*/ 9 h 58"/>
                <a:gd name="T34" fmla="*/ 39 w 128"/>
                <a:gd name="T35" fmla="*/ 16 h 58"/>
                <a:gd name="T36" fmla="*/ 31 w 128"/>
                <a:gd name="T37" fmla="*/ 23 h 58"/>
                <a:gd name="T38" fmla="*/ 27 w 128"/>
                <a:gd name="T39" fmla="*/ 23 h 58"/>
                <a:gd name="T40" fmla="*/ 13 w 128"/>
                <a:gd name="T41" fmla="*/ 23 h 58"/>
                <a:gd name="T42" fmla="*/ 7 w 128"/>
                <a:gd name="T43" fmla="*/ 25 h 58"/>
                <a:gd name="T44" fmla="*/ 0 w 128"/>
                <a:gd name="T45" fmla="*/ 28 h 58"/>
                <a:gd name="T46" fmla="*/ 4 w 128"/>
                <a:gd name="T47" fmla="*/ 35 h 58"/>
                <a:gd name="T48" fmla="*/ 10 w 128"/>
                <a:gd name="T49" fmla="*/ 33 h 58"/>
                <a:gd name="T50" fmla="*/ 18 w 128"/>
                <a:gd name="T51" fmla="*/ 32 h 58"/>
                <a:gd name="T52" fmla="*/ 25 w 128"/>
                <a:gd name="T53" fmla="*/ 30 h 58"/>
                <a:gd name="T54" fmla="*/ 29 w 128"/>
                <a:gd name="T55" fmla="*/ 30 h 58"/>
                <a:gd name="T56" fmla="*/ 32 w 128"/>
                <a:gd name="T57" fmla="*/ 32 h 58"/>
                <a:gd name="T58" fmla="*/ 43 w 128"/>
                <a:gd name="T59" fmla="*/ 34 h 58"/>
                <a:gd name="T60" fmla="*/ 50 w 128"/>
                <a:gd name="T61" fmla="*/ 32 h 58"/>
                <a:gd name="T62" fmla="*/ 62 w 128"/>
                <a:gd name="T63" fmla="*/ 31 h 58"/>
                <a:gd name="T64" fmla="*/ 69 w 128"/>
                <a:gd name="T65" fmla="*/ 39 h 58"/>
                <a:gd name="T66" fmla="*/ 74 w 128"/>
                <a:gd name="T67" fmla="*/ 45 h 58"/>
                <a:gd name="T68" fmla="*/ 80 w 128"/>
                <a:gd name="T69" fmla="*/ 43 h 58"/>
                <a:gd name="T70" fmla="*/ 87 w 128"/>
                <a:gd name="T71" fmla="*/ 46 h 58"/>
                <a:gd name="T72" fmla="*/ 86 w 128"/>
                <a:gd name="T73" fmla="*/ 50 h 58"/>
                <a:gd name="T74" fmla="*/ 90 w 128"/>
                <a:gd name="T75" fmla="*/ 53 h 58"/>
                <a:gd name="T76" fmla="*/ 93 w 128"/>
                <a:gd name="T77" fmla="*/ 58 h 58"/>
                <a:gd name="T78" fmla="*/ 102 w 128"/>
                <a:gd name="T79" fmla="*/ 53 h 58"/>
                <a:gd name="T80" fmla="*/ 108 w 128"/>
                <a:gd name="T81" fmla="*/ 52 h 58"/>
                <a:gd name="T82" fmla="*/ 105 w 128"/>
                <a:gd name="T83" fmla="*/ 51 h 58"/>
                <a:gd name="T84" fmla="*/ 98 w 128"/>
                <a:gd name="T85" fmla="*/ 47 h 58"/>
                <a:gd name="T86" fmla="*/ 109 w 128"/>
                <a:gd name="T87" fmla="*/ 41 h 58"/>
                <a:gd name="T88" fmla="*/ 119 w 128"/>
                <a:gd name="T89" fmla="*/ 34 h 58"/>
                <a:gd name="T90" fmla="*/ 125 w 128"/>
                <a:gd name="T91" fmla="*/ 30 h 58"/>
                <a:gd name="T92" fmla="*/ 127 w 128"/>
                <a:gd name="T93" fmla="*/ 2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" h="58">
                  <a:moveTo>
                    <a:pt x="127" y="27"/>
                  </a:moveTo>
                  <a:cubicBezTo>
                    <a:pt x="126" y="27"/>
                    <a:pt x="123" y="27"/>
                    <a:pt x="125" y="26"/>
                  </a:cubicBezTo>
                  <a:cubicBezTo>
                    <a:pt x="127" y="25"/>
                    <a:pt x="127" y="25"/>
                    <a:pt x="127" y="24"/>
                  </a:cubicBezTo>
                  <a:cubicBezTo>
                    <a:pt x="127" y="23"/>
                    <a:pt x="127" y="23"/>
                    <a:pt x="125" y="22"/>
                  </a:cubicBezTo>
                  <a:cubicBezTo>
                    <a:pt x="124" y="21"/>
                    <a:pt x="124" y="20"/>
                    <a:pt x="122" y="20"/>
                  </a:cubicBezTo>
                  <a:cubicBezTo>
                    <a:pt x="121" y="21"/>
                    <a:pt x="121" y="21"/>
                    <a:pt x="120" y="20"/>
                  </a:cubicBezTo>
                  <a:cubicBezTo>
                    <a:pt x="118" y="19"/>
                    <a:pt x="119" y="19"/>
                    <a:pt x="117" y="19"/>
                  </a:cubicBezTo>
                  <a:cubicBezTo>
                    <a:pt x="116" y="19"/>
                    <a:pt x="116" y="20"/>
                    <a:pt x="115" y="19"/>
                  </a:cubicBezTo>
                  <a:cubicBezTo>
                    <a:pt x="113" y="18"/>
                    <a:pt x="112" y="16"/>
                    <a:pt x="111" y="16"/>
                  </a:cubicBezTo>
                  <a:cubicBezTo>
                    <a:pt x="110" y="16"/>
                    <a:pt x="110" y="19"/>
                    <a:pt x="108" y="17"/>
                  </a:cubicBezTo>
                  <a:cubicBezTo>
                    <a:pt x="106" y="16"/>
                    <a:pt x="105" y="15"/>
                    <a:pt x="104" y="15"/>
                  </a:cubicBezTo>
                  <a:cubicBezTo>
                    <a:pt x="103" y="15"/>
                    <a:pt x="101" y="16"/>
                    <a:pt x="101" y="15"/>
                  </a:cubicBezTo>
                  <a:cubicBezTo>
                    <a:pt x="101" y="14"/>
                    <a:pt x="100" y="10"/>
                    <a:pt x="99" y="10"/>
                  </a:cubicBezTo>
                  <a:cubicBezTo>
                    <a:pt x="98" y="10"/>
                    <a:pt x="95" y="10"/>
                    <a:pt x="95" y="9"/>
                  </a:cubicBezTo>
                  <a:cubicBezTo>
                    <a:pt x="94" y="8"/>
                    <a:pt x="93" y="8"/>
                    <a:pt x="94" y="7"/>
                  </a:cubicBezTo>
                  <a:cubicBezTo>
                    <a:pt x="94" y="5"/>
                    <a:pt x="96" y="6"/>
                    <a:pt x="95" y="4"/>
                  </a:cubicBezTo>
                  <a:cubicBezTo>
                    <a:pt x="94" y="3"/>
                    <a:pt x="93" y="2"/>
                    <a:pt x="92" y="1"/>
                  </a:cubicBezTo>
                  <a:cubicBezTo>
                    <a:pt x="91" y="1"/>
                    <a:pt x="90" y="2"/>
                    <a:pt x="88" y="1"/>
                  </a:cubicBezTo>
                  <a:cubicBezTo>
                    <a:pt x="86" y="1"/>
                    <a:pt x="86" y="0"/>
                    <a:pt x="85" y="1"/>
                  </a:cubicBezTo>
                  <a:cubicBezTo>
                    <a:pt x="84" y="2"/>
                    <a:pt x="84" y="5"/>
                    <a:pt x="82" y="3"/>
                  </a:cubicBezTo>
                  <a:cubicBezTo>
                    <a:pt x="82" y="3"/>
                    <a:pt x="81" y="2"/>
                    <a:pt x="81" y="2"/>
                  </a:cubicBezTo>
                  <a:cubicBezTo>
                    <a:pt x="81" y="2"/>
                    <a:pt x="81" y="2"/>
                    <a:pt x="81" y="2"/>
                  </a:cubicBezTo>
                  <a:cubicBezTo>
                    <a:pt x="81" y="2"/>
                    <a:pt x="75" y="3"/>
                    <a:pt x="75" y="5"/>
                  </a:cubicBezTo>
                  <a:cubicBezTo>
                    <a:pt x="75" y="7"/>
                    <a:pt x="75" y="9"/>
                    <a:pt x="74" y="9"/>
                  </a:cubicBezTo>
                  <a:cubicBezTo>
                    <a:pt x="73" y="9"/>
                    <a:pt x="71" y="7"/>
                    <a:pt x="71" y="7"/>
                  </a:cubicBezTo>
                  <a:cubicBezTo>
                    <a:pt x="70" y="8"/>
                    <a:pt x="68" y="9"/>
                    <a:pt x="67" y="8"/>
                  </a:cubicBezTo>
                  <a:cubicBezTo>
                    <a:pt x="66" y="7"/>
                    <a:pt x="67" y="5"/>
                    <a:pt x="65" y="6"/>
                  </a:cubicBezTo>
                  <a:cubicBezTo>
                    <a:pt x="64" y="7"/>
                    <a:pt x="63" y="8"/>
                    <a:pt x="63" y="7"/>
                  </a:cubicBezTo>
                  <a:cubicBezTo>
                    <a:pt x="62" y="7"/>
                    <a:pt x="62" y="5"/>
                    <a:pt x="60" y="6"/>
                  </a:cubicBezTo>
                  <a:cubicBezTo>
                    <a:pt x="59" y="7"/>
                    <a:pt x="60" y="9"/>
                    <a:pt x="58" y="7"/>
                  </a:cubicBezTo>
                  <a:cubicBezTo>
                    <a:pt x="56" y="6"/>
                    <a:pt x="50" y="4"/>
                    <a:pt x="47" y="4"/>
                  </a:cubicBezTo>
                  <a:cubicBezTo>
                    <a:pt x="43" y="4"/>
                    <a:pt x="41" y="4"/>
                    <a:pt x="40" y="5"/>
                  </a:cubicBezTo>
                  <a:cubicBezTo>
                    <a:pt x="39" y="6"/>
                    <a:pt x="38" y="7"/>
                    <a:pt x="36" y="7"/>
                  </a:cubicBezTo>
                  <a:cubicBezTo>
                    <a:pt x="36" y="8"/>
                    <a:pt x="36" y="8"/>
                    <a:pt x="37" y="9"/>
                  </a:cubicBezTo>
                  <a:cubicBezTo>
                    <a:pt x="39" y="11"/>
                    <a:pt x="39" y="10"/>
                    <a:pt x="39" y="12"/>
                  </a:cubicBezTo>
                  <a:cubicBezTo>
                    <a:pt x="39" y="13"/>
                    <a:pt x="40" y="16"/>
                    <a:pt x="39" y="16"/>
                  </a:cubicBezTo>
                  <a:cubicBezTo>
                    <a:pt x="37" y="16"/>
                    <a:pt x="34" y="16"/>
                    <a:pt x="33" y="19"/>
                  </a:cubicBezTo>
                  <a:cubicBezTo>
                    <a:pt x="31" y="21"/>
                    <a:pt x="31" y="21"/>
                    <a:pt x="31" y="23"/>
                  </a:cubicBezTo>
                  <a:cubicBezTo>
                    <a:pt x="31" y="25"/>
                    <a:pt x="31" y="26"/>
                    <a:pt x="30" y="26"/>
                  </a:cubicBezTo>
                  <a:cubicBezTo>
                    <a:pt x="30" y="26"/>
                    <a:pt x="28" y="24"/>
                    <a:pt x="27" y="23"/>
                  </a:cubicBezTo>
                  <a:cubicBezTo>
                    <a:pt x="25" y="21"/>
                    <a:pt x="20" y="23"/>
                    <a:pt x="17" y="22"/>
                  </a:cubicBezTo>
                  <a:cubicBezTo>
                    <a:pt x="14" y="21"/>
                    <a:pt x="14" y="22"/>
                    <a:pt x="13" y="23"/>
                  </a:cubicBezTo>
                  <a:cubicBezTo>
                    <a:pt x="12" y="24"/>
                    <a:pt x="10" y="22"/>
                    <a:pt x="10" y="22"/>
                  </a:cubicBezTo>
                  <a:cubicBezTo>
                    <a:pt x="10" y="22"/>
                    <a:pt x="8" y="24"/>
                    <a:pt x="7" y="25"/>
                  </a:cubicBezTo>
                  <a:cubicBezTo>
                    <a:pt x="6" y="26"/>
                    <a:pt x="6" y="27"/>
                    <a:pt x="4" y="27"/>
                  </a:cubicBezTo>
                  <a:cubicBezTo>
                    <a:pt x="2" y="27"/>
                    <a:pt x="0" y="27"/>
                    <a:pt x="0" y="28"/>
                  </a:cubicBezTo>
                  <a:cubicBezTo>
                    <a:pt x="0" y="29"/>
                    <a:pt x="0" y="31"/>
                    <a:pt x="1" y="32"/>
                  </a:cubicBezTo>
                  <a:cubicBezTo>
                    <a:pt x="1" y="32"/>
                    <a:pt x="3" y="34"/>
                    <a:pt x="4" y="35"/>
                  </a:cubicBezTo>
                  <a:cubicBezTo>
                    <a:pt x="5" y="35"/>
                    <a:pt x="7" y="34"/>
                    <a:pt x="8" y="34"/>
                  </a:cubicBezTo>
                  <a:cubicBezTo>
                    <a:pt x="9" y="34"/>
                    <a:pt x="10" y="34"/>
                    <a:pt x="10" y="33"/>
                  </a:cubicBezTo>
                  <a:cubicBezTo>
                    <a:pt x="11" y="32"/>
                    <a:pt x="14" y="32"/>
                    <a:pt x="15" y="31"/>
                  </a:cubicBezTo>
                  <a:cubicBezTo>
                    <a:pt x="16" y="31"/>
                    <a:pt x="17" y="32"/>
                    <a:pt x="18" y="32"/>
                  </a:cubicBezTo>
                  <a:cubicBezTo>
                    <a:pt x="19" y="32"/>
                    <a:pt x="18" y="29"/>
                    <a:pt x="19" y="29"/>
                  </a:cubicBezTo>
                  <a:cubicBezTo>
                    <a:pt x="21" y="28"/>
                    <a:pt x="24" y="30"/>
                    <a:pt x="25" y="30"/>
                  </a:cubicBezTo>
                  <a:cubicBezTo>
                    <a:pt x="26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2"/>
                    <a:pt x="32" y="32"/>
                    <a:pt x="32" y="32"/>
                  </a:cubicBezTo>
                  <a:cubicBezTo>
                    <a:pt x="32" y="32"/>
                    <a:pt x="34" y="33"/>
                    <a:pt x="37" y="33"/>
                  </a:cubicBezTo>
                  <a:cubicBezTo>
                    <a:pt x="39" y="33"/>
                    <a:pt x="42" y="34"/>
                    <a:pt x="43" y="34"/>
                  </a:cubicBezTo>
                  <a:cubicBezTo>
                    <a:pt x="43" y="34"/>
                    <a:pt x="45" y="34"/>
                    <a:pt x="46" y="34"/>
                  </a:cubicBezTo>
                  <a:cubicBezTo>
                    <a:pt x="47" y="33"/>
                    <a:pt x="48" y="33"/>
                    <a:pt x="50" y="32"/>
                  </a:cubicBezTo>
                  <a:cubicBezTo>
                    <a:pt x="53" y="30"/>
                    <a:pt x="54" y="29"/>
                    <a:pt x="57" y="30"/>
                  </a:cubicBezTo>
                  <a:cubicBezTo>
                    <a:pt x="59" y="30"/>
                    <a:pt x="59" y="30"/>
                    <a:pt x="62" y="31"/>
                  </a:cubicBezTo>
                  <a:cubicBezTo>
                    <a:pt x="64" y="32"/>
                    <a:pt x="64" y="31"/>
                    <a:pt x="65" y="33"/>
                  </a:cubicBezTo>
                  <a:cubicBezTo>
                    <a:pt x="67" y="34"/>
                    <a:pt x="69" y="38"/>
                    <a:pt x="69" y="39"/>
                  </a:cubicBezTo>
                  <a:cubicBezTo>
                    <a:pt x="70" y="40"/>
                    <a:pt x="71" y="41"/>
                    <a:pt x="71" y="42"/>
                  </a:cubicBezTo>
                  <a:cubicBezTo>
                    <a:pt x="71" y="43"/>
                    <a:pt x="72" y="44"/>
                    <a:pt x="74" y="45"/>
                  </a:cubicBezTo>
                  <a:cubicBezTo>
                    <a:pt x="75" y="44"/>
                    <a:pt x="75" y="43"/>
                    <a:pt x="77" y="42"/>
                  </a:cubicBezTo>
                  <a:cubicBezTo>
                    <a:pt x="79" y="42"/>
                    <a:pt x="79" y="42"/>
                    <a:pt x="80" y="43"/>
                  </a:cubicBezTo>
                  <a:cubicBezTo>
                    <a:pt x="81" y="45"/>
                    <a:pt x="80" y="45"/>
                    <a:pt x="82" y="45"/>
                  </a:cubicBezTo>
                  <a:cubicBezTo>
                    <a:pt x="84" y="45"/>
                    <a:pt x="85" y="47"/>
                    <a:pt x="87" y="46"/>
                  </a:cubicBezTo>
                  <a:cubicBezTo>
                    <a:pt x="89" y="46"/>
                    <a:pt x="92" y="46"/>
                    <a:pt x="92" y="47"/>
                  </a:cubicBezTo>
                  <a:cubicBezTo>
                    <a:pt x="92" y="47"/>
                    <a:pt x="87" y="49"/>
                    <a:pt x="86" y="50"/>
                  </a:cubicBezTo>
                  <a:cubicBezTo>
                    <a:pt x="85" y="50"/>
                    <a:pt x="85" y="51"/>
                    <a:pt x="86" y="51"/>
                  </a:cubicBezTo>
                  <a:cubicBezTo>
                    <a:pt x="88" y="51"/>
                    <a:pt x="90" y="52"/>
                    <a:pt x="90" y="53"/>
                  </a:cubicBezTo>
                  <a:cubicBezTo>
                    <a:pt x="90" y="54"/>
                    <a:pt x="89" y="55"/>
                    <a:pt x="89" y="56"/>
                  </a:cubicBezTo>
                  <a:cubicBezTo>
                    <a:pt x="90" y="57"/>
                    <a:pt x="92" y="58"/>
                    <a:pt x="93" y="58"/>
                  </a:cubicBezTo>
                  <a:cubicBezTo>
                    <a:pt x="94" y="57"/>
                    <a:pt x="95" y="55"/>
                    <a:pt x="97" y="55"/>
                  </a:cubicBezTo>
                  <a:cubicBezTo>
                    <a:pt x="98" y="55"/>
                    <a:pt x="100" y="53"/>
                    <a:pt x="102" y="53"/>
                  </a:cubicBezTo>
                  <a:cubicBezTo>
                    <a:pt x="104" y="53"/>
                    <a:pt x="106" y="53"/>
                    <a:pt x="107" y="53"/>
                  </a:cubicBezTo>
                  <a:cubicBezTo>
                    <a:pt x="108" y="52"/>
                    <a:pt x="109" y="52"/>
                    <a:pt x="108" y="52"/>
                  </a:cubicBezTo>
                  <a:cubicBezTo>
                    <a:pt x="108" y="52"/>
                    <a:pt x="110" y="51"/>
                    <a:pt x="109" y="51"/>
                  </a:cubicBezTo>
                  <a:cubicBezTo>
                    <a:pt x="108" y="51"/>
                    <a:pt x="106" y="51"/>
                    <a:pt x="105" y="51"/>
                  </a:cubicBezTo>
                  <a:cubicBezTo>
                    <a:pt x="104" y="51"/>
                    <a:pt x="101" y="52"/>
                    <a:pt x="100" y="51"/>
                  </a:cubicBezTo>
                  <a:cubicBezTo>
                    <a:pt x="98" y="49"/>
                    <a:pt x="98" y="49"/>
                    <a:pt x="98" y="47"/>
                  </a:cubicBezTo>
                  <a:cubicBezTo>
                    <a:pt x="99" y="46"/>
                    <a:pt x="101" y="44"/>
                    <a:pt x="102" y="43"/>
                  </a:cubicBezTo>
                  <a:cubicBezTo>
                    <a:pt x="104" y="42"/>
                    <a:pt x="107" y="42"/>
                    <a:pt x="109" y="41"/>
                  </a:cubicBezTo>
                  <a:cubicBezTo>
                    <a:pt x="111" y="40"/>
                    <a:pt x="113" y="39"/>
                    <a:pt x="116" y="39"/>
                  </a:cubicBezTo>
                  <a:cubicBezTo>
                    <a:pt x="116" y="38"/>
                    <a:pt x="117" y="35"/>
                    <a:pt x="119" y="34"/>
                  </a:cubicBezTo>
                  <a:cubicBezTo>
                    <a:pt x="122" y="33"/>
                    <a:pt x="124" y="35"/>
                    <a:pt x="125" y="33"/>
                  </a:cubicBezTo>
                  <a:cubicBezTo>
                    <a:pt x="125" y="32"/>
                    <a:pt x="126" y="32"/>
                    <a:pt x="125" y="30"/>
                  </a:cubicBezTo>
                  <a:cubicBezTo>
                    <a:pt x="124" y="29"/>
                    <a:pt x="123" y="29"/>
                    <a:pt x="124" y="28"/>
                  </a:cubicBezTo>
                  <a:cubicBezTo>
                    <a:pt x="126" y="27"/>
                    <a:pt x="128" y="28"/>
                    <a:pt x="127" y="2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23" name="Freeform 638">
              <a:extLst>
                <a:ext uri="{FF2B5EF4-FFF2-40B4-BE49-F238E27FC236}">
                  <a16:creationId xmlns:a16="http://schemas.microsoft.com/office/drawing/2014/main" id="{1A080DF2-3BC5-492C-1375-632EB999A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9937" y="3104811"/>
              <a:ext cx="168309" cy="123506"/>
            </a:xfrm>
            <a:custGeom>
              <a:avLst/>
              <a:gdLst>
                <a:gd name="T0" fmla="*/ 13 w 52"/>
                <a:gd name="T1" fmla="*/ 33 h 38"/>
                <a:gd name="T2" fmla="*/ 24 w 52"/>
                <a:gd name="T3" fmla="*/ 36 h 38"/>
                <a:gd name="T4" fmla="*/ 26 w 52"/>
                <a:gd name="T5" fmla="*/ 35 h 38"/>
                <a:gd name="T6" fmla="*/ 29 w 52"/>
                <a:gd name="T7" fmla="*/ 36 h 38"/>
                <a:gd name="T8" fmla="*/ 31 w 52"/>
                <a:gd name="T9" fmla="*/ 35 h 38"/>
                <a:gd name="T10" fmla="*/ 33 w 52"/>
                <a:gd name="T11" fmla="*/ 37 h 38"/>
                <a:gd name="T12" fmla="*/ 37 w 52"/>
                <a:gd name="T13" fmla="*/ 36 h 38"/>
                <a:gd name="T14" fmla="*/ 40 w 52"/>
                <a:gd name="T15" fmla="*/ 38 h 38"/>
                <a:gd name="T16" fmla="*/ 41 w 52"/>
                <a:gd name="T17" fmla="*/ 34 h 38"/>
                <a:gd name="T18" fmla="*/ 47 w 52"/>
                <a:gd name="T19" fmla="*/ 31 h 38"/>
                <a:gd name="T20" fmla="*/ 47 w 52"/>
                <a:gd name="T21" fmla="*/ 31 h 38"/>
                <a:gd name="T22" fmla="*/ 47 w 52"/>
                <a:gd name="T23" fmla="*/ 31 h 38"/>
                <a:gd name="T24" fmla="*/ 45 w 52"/>
                <a:gd name="T25" fmla="*/ 25 h 38"/>
                <a:gd name="T26" fmla="*/ 46 w 52"/>
                <a:gd name="T27" fmla="*/ 24 h 38"/>
                <a:gd name="T28" fmla="*/ 51 w 52"/>
                <a:gd name="T29" fmla="*/ 23 h 38"/>
                <a:gd name="T30" fmla="*/ 51 w 52"/>
                <a:gd name="T31" fmla="*/ 20 h 38"/>
                <a:gd name="T32" fmla="*/ 47 w 52"/>
                <a:gd name="T33" fmla="*/ 18 h 38"/>
                <a:gd name="T34" fmla="*/ 44 w 52"/>
                <a:gd name="T35" fmla="*/ 13 h 38"/>
                <a:gd name="T36" fmla="*/ 42 w 52"/>
                <a:gd name="T37" fmla="*/ 9 h 38"/>
                <a:gd name="T38" fmla="*/ 42 w 52"/>
                <a:gd name="T39" fmla="*/ 5 h 38"/>
                <a:gd name="T40" fmla="*/ 38 w 52"/>
                <a:gd name="T41" fmla="*/ 3 h 38"/>
                <a:gd name="T42" fmla="*/ 35 w 52"/>
                <a:gd name="T43" fmla="*/ 4 h 38"/>
                <a:gd name="T44" fmla="*/ 33 w 52"/>
                <a:gd name="T45" fmla="*/ 2 h 38"/>
                <a:gd name="T46" fmla="*/ 31 w 52"/>
                <a:gd name="T47" fmla="*/ 2 h 38"/>
                <a:gd name="T48" fmla="*/ 28 w 52"/>
                <a:gd name="T49" fmla="*/ 0 h 38"/>
                <a:gd name="T50" fmla="*/ 28 w 52"/>
                <a:gd name="T51" fmla="*/ 0 h 38"/>
                <a:gd name="T52" fmla="*/ 28 w 52"/>
                <a:gd name="T53" fmla="*/ 0 h 38"/>
                <a:gd name="T54" fmla="*/ 24 w 52"/>
                <a:gd name="T55" fmla="*/ 3 h 38"/>
                <a:gd name="T56" fmla="*/ 19 w 52"/>
                <a:gd name="T57" fmla="*/ 5 h 38"/>
                <a:gd name="T58" fmla="*/ 19 w 52"/>
                <a:gd name="T59" fmla="*/ 7 h 38"/>
                <a:gd name="T60" fmla="*/ 15 w 52"/>
                <a:gd name="T61" fmla="*/ 10 h 38"/>
                <a:gd name="T62" fmla="*/ 13 w 52"/>
                <a:gd name="T63" fmla="*/ 15 h 38"/>
                <a:gd name="T64" fmla="*/ 6 w 52"/>
                <a:gd name="T65" fmla="*/ 18 h 38"/>
                <a:gd name="T66" fmla="*/ 1 w 52"/>
                <a:gd name="T67" fmla="*/ 18 h 38"/>
                <a:gd name="T68" fmla="*/ 3 w 52"/>
                <a:gd name="T69" fmla="*/ 22 h 38"/>
                <a:gd name="T70" fmla="*/ 3 w 52"/>
                <a:gd name="T71" fmla="*/ 27 h 38"/>
                <a:gd name="T72" fmla="*/ 0 w 52"/>
                <a:gd name="T73" fmla="*/ 29 h 38"/>
                <a:gd name="T74" fmla="*/ 2 w 52"/>
                <a:gd name="T75" fmla="*/ 32 h 38"/>
                <a:gd name="T76" fmla="*/ 2 w 52"/>
                <a:gd name="T77" fmla="*/ 36 h 38"/>
                <a:gd name="T78" fmla="*/ 6 w 52"/>
                <a:gd name="T79" fmla="*/ 34 h 38"/>
                <a:gd name="T80" fmla="*/ 13 w 52"/>
                <a:gd name="T81" fmla="*/ 3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" h="38">
                  <a:moveTo>
                    <a:pt x="13" y="33"/>
                  </a:moveTo>
                  <a:cubicBezTo>
                    <a:pt x="16" y="33"/>
                    <a:pt x="22" y="35"/>
                    <a:pt x="24" y="36"/>
                  </a:cubicBezTo>
                  <a:cubicBezTo>
                    <a:pt x="26" y="38"/>
                    <a:pt x="25" y="36"/>
                    <a:pt x="26" y="35"/>
                  </a:cubicBezTo>
                  <a:cubicBezTo>
                    <a:pt x="28" y="34"/>
                    <a:pt x="28" y="36"/>
                    <a:pt x="29" y="36"/>
                  </a:cubicBezTo>
                  <a:cubicBezTo>
                    <a:pt x="29" y="37"/>
                    <a:pt x="30" y="36"/>
                    <a:pt x="31" y="35"/>
                  </a:cubicBezTo>
                  <a:cubicBezTo>
                    <a:pt x="33" y="34"/>
                    <a:pt x="32" y="36"/>
                    <a:pt x="33" y="37"/>
                  </a:cubicBezTo>
                  <a:cubicBezTo>
                    <a:pt x="34" y="38"/>
                    <a:pt x="36" y="37"/>
                    <a:pt x="37" y="36"/>
                  </a:cubicBezTo>
                  <a:cubicBezTo>
                    <a:pt x="37" y="36"/>
                    <a:pt x="39" y="38"/>
                    <a:pt x="40" y="38"/>
                  </a:cubicBezTo>
                  <a:cubicBezTo>
                    <a:pt x="41" y="38"/>
                    <a:pt x="41" y="36"/>
                    <a:pt x="41" y="34"/>
                  </a:cubicBezTo>
                  <a:cubicBezTo>
                    <a:pt x="41" y="32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6" y="29"/>
                    <a:pt x="45" y="26"/>
                    <a:pt x="45" y="25"/>
                  </a:cubicBezTo>
                  <a:cubicBezTo>
                    <a:pt x="45" y="24"/>
                    <a:pt x="45" y="24"/>
                    <a:pt x="46" y="24"/>
                  </a:cubicBezTo>
                  <a:cubicBezTo>
                    <a:pt x="48" y="24"/>
                    <a:pt x="49" y="25"/>
                    <a:pt x="51" y="23"/>
                  </a:cubicBezTo>
                  <a:cubicBezTo>
                    <a:pt x="52" y="22"/>
                    <a:pt x="52" y="21"/>
                    <a:pt x="51" y="20"/>
                  </a:cubicBezTo>
                  <a:cubicBezTo>
                    <a:pt x="49" y="19"/>
                    <a:pt x="47" y="19"/>
                    <a:pt x="47" y="18"/>
                  </a:cubicBezTo>
                  <a:cubicBezTo>
                    <a:pt x="46" y="16"/>
                    <a:pt x="45" y="15"/>
                    <a:pt x="44" y="13"/>
                  </a:cubicBezTo>
                  <a:cubicBezTo>
                    <a:pt x="42" y="12"/>
                    <a:pt x="42" y="11"/>
                    <a:pt x="42" y="9"/>
                  </a:cubicBezTo>
                  <a:cubicBezTo>
                    <a:pt x="42" y="6"/>
                    <a:pt x="44" y="6"/>
                    <a:pt x="42" y="5"/>
                  </a:cubicBezTo>
                  <a:cubicBezTo>
                    <a:pt x="40" y="3"/>
                    <a:pt x="38" y="2"/>
                    <a:pt x="38" y="3"/>
                  </a:cubicBezTo>
                  <a:cubicBezTo>
                    <a:pt x="37" y="3"/>
                    <a:pt x="36" y="4"/>
                    <a:pt x="35" y="4"/>
                  </a:cubicBezTo>
                  <a:cubicBezTo>
                    <a:pt x="34" y="3"/>
                    <a:pt x="34" y="2"/>
                    <a:pt x="33" y="2"/>
                  </a:cubicBezTo>
                  <a:cubicBezTo>
                    <a:pt x="32" y="2"/>
                    <a:pt x="32" y="4"/>
                    <a:pt x="31" y="2"/>
                  </a:cubicBezTo>
                  <a:cubicBezTo>
                    <a:pt x="30" y="2"/>
                    <a:pt x="28" y="1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5" y="0"/>
                    <a:pt x="26" y="2"/>
                    <a:pt x="24" y="3"/>
                  </a:cubicBezTo>
                  <a:cubicBezTo>
                    <a:pt x="22" y="4"/>
                    <a:pt x="19" y="5"/>
                    <a:pt x="19" y="5"/>
                  </a:cubicBezTo>
                  <a:cubicBezTo>
                    <a:pt x="19" y="5"/>
                    <a:pt x="19" y="6"/>
                    <a:pt x="19" y="7"/>
                  </a:cubicBezTo>
                  <a:cubicBezTo>
                    <a:pt x="19" y="9"/>
                    <a:pt x="17" y="9"/>
                    <a:pt x="15" y="10"/>
                  </a:cubicBezTo>
                  <a:cubicBezTo>
                    <a:pt x="13" y="11"/>
                    <a:pt x="15" y="15"/>
                    <a:pt x="13" y="15"/>
                  </a:cubicBezTo>
                  <a:cubicBezTo>
                    <a:pt x="11" y="15"/>
                    <a:pt x="7" y="17"/>
                    <a:pt x="6" y="18"/>
                  </a:cubicBezTo>
                  <a:cubicBezTo>
                    <a:pt x="5" y="19"/>
                    <a:pt x="1" y="18"/>
                    <a:pt x="1" y="18"/>
                  </a:cubicBezTo>
                  <a:cubicBezTo>
                    <a:pt x="2" y="19"/>
                    <a:pt x="2" y="20"/>
                    <a:pt x="3" y="22"/>
                  </a:cubicBezTo>
                  <a:cubicBezTo>
                    <a:pt x="4" y="23"/>
                    <a:pt x="4" y="25"/>
                    <a:pt x="3" y="27"/>
                  </a:cubicBezTo>
                  <a:cubicBezTo>
                    <a:pt x="2" y="28"/>
                    <a:pt x="1" y="28"/>
                    <a:pt x="0" y="29"/>
                  </a:cubicBezTo>
                  <a:cubicBezTo>
                    <a:pt x="0" y="31"/>
                    <a:pt x="2" y="30"/>
                    <a:pt x="2" y="32"/>
                  </a:cubicBezTo>
                  <a:cubicBezTo>
                    <a:pt x="2" y="33"/>
                    <a:pt x="2" y="35"/>
                    <a:pt x="2" y="36"/>
                  </a:cubicBezTo>
                  <a:cubicBezTo>
                    <a:pt x="4" y="36"/>
                    <a:pt x="5" y="35"/>
                    <a:pt x="6" y="34"/>
                  </a:cubicBezTo>
                  <a:cubicBezTo>
                    <a:pt x="7" y="33"/>
                    <a:pt x="9" y="33"/>
                    <a:pt x="13" y="3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24" name="Freeform 639">
              <a:extLst>
                <a:ext uri="{FF2B5EF4-FFF2-40B4-BE49-F238E27FC236}">
                  <a16:creationId xmlns:a16="http://schemas.microsoft.com/office/drawing/2014/main" id="{DADA7D53-53C3-5E68-5AF7-E5CE3D34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1190" y="3102390"/>
              <a:ext cx="100501" cy="64175"/>
            </a:xfrm>
            <a:custGeom>
              <a:avLst/>
              <a:gdLst>
                <a:gd name="T0" fmla="*/ 18 w 31"/>
                <a:gd name="T1" fmla="*/ 19 h 20"/>
                <a:gd name="T2" fmla="*/ 25 w 31"/>
                <a:gd name="T3" fmla="*/ 16 h 20"/>
                <a:gd name="T4" fmla="*/ 27 w 31"/>
                <a:gd name="T5" fmla="*/ 11 h 20"/>
                <a:gd name="T6" fmla="*/ 31 w 31"/>
                <a:gd name="T7" fmla="*/ 8 h 20"/>
                <a:gd name="T8" fmla="*/ 31 w 31"/>
                <a:gd name="T9" fmla="*/ 6 h 20"/>
                <a:gd name="T10" fmla="*/ 25 w 31"/>
                <a:gd name="T11" fmla="*/ 2 h 20"/>
                <a:gd name="T12" fmla="*/ 21 w 31"/>
                <a:gd name="T13" fmla="*/ 0 h 20"/>
                <a:gd name="T14" fmla="*/ 12 w 31"/>
                <a:gd name="T15" fmla="*/ 1 h 20"/>
                <a:gd name="T16" fmla="*/ 4 w 31"/>
                <a:gd name="T17" fmla="*/ 1 h 20"/>
                <a:gd name="T18" fmla="*/ 0 w 31"/>
                <a:gd name="T19" fmla="*/ 3 h 20"/>
                <a:gd name="T20" fmla="*/ 1 w 31"/>
                <a:gd name="T21" fmla="*/ 6 h 20"/>
                <a:gd name="T22" fmla="*/ 1 w 31"/>
                <a:gd name="T23" fmla="*/ 9 h 20"/>
                <a:gd name="T24" fmla="*/ 1 w 31"/>
                <a:gd name="T25" fmla="*/ 9 h 20"/>
                <a:gd name="T26" fmla="*/ 5 w 31"/>
                <a:gd name="T27" fmla="*/ 11 h 20"/>
                <a:gd name="T28" fmla="*/ 8 w 31"/>
                <a:gd name="T29" fmla="*/ 11 h 20"/>
                <a:gd name="T30" fmla="*/ 10 w 31"/>
                <a:gd name="T31" fmla="*/ 13 h 20"/>
                <a:gd name="T32" fmla="*/ 9 w 31"/>
                <a:gd name="T33" fmla="*/ 16 h 20"/>
                <a:gd name="T34" fmla="*/ 13 w 31"/>
                <a:gd name="T35" fmla="*/ 17 h 20"/>
                <a:gd name="T36" fmla="*/ 13 w 31"/>
                <a:gd name="T37" fmla="*/ 19 h 20"/>
                <a:gd name="T38" fmla="*/ 18 w 31"/>
                <a:gd name="T3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" h="20">
                  <a:moveTo>
                    <a:pt x="18" y="19"/>
                  </a:moveTo>
                  <a:cubicBezTo>
                    <a:pt x="19" y="18"/>
                    <a:pt x="23" y="16"/>
                    <a:pt x="25" y="16"/>
                  </a:cubicBezTo>
                  <a:cubicBezTo>
                    <a:pt x="27" y="16"/>
                    <a:pt x="25" y="12"/>
                    <a:pt x="27" y="11"/>
                  </a:cubicBezTo>
                  <a:cubicBezTo>
                    <a:pt x="29" y="10"/>
                    <a:pt x="31" y="10"/>
                    <a:pt x="31" y="8"/>
                  </a:cubicBezTo>
                  <a:cubicBezTo>
                    <a:pt x="31" y="7"/>
                    <a:pt x="31" y="6"/>
                    <a:pt x="31" y="6"/>
                  </a:cubicBezTo>
                  <a:cubicBezTo>
                    <a:pt x="31" y="6"/>
                    <a:pt x="27" y="2"/>
                    <a:pt x="25" y="2"/>
                  </a:cubicBezTo>
                  <a:cubicBezTo>
                    <a:pt x="24" y="2"/>
                    <a:pt x="22" y="0"/>
                    <a:pt x="21" y="0"/>
                  </a:cubicBezTo>
                  <a:cubicBezTo>
                    <a:pt x="19" y="0"/>
                    <a:pt x="15" y="1"/>
                    <a:pt x="12" y="1"/>
                  </a:cubicBezTo>
                  <a:cubicBezTo>
                    <a:pt x="10" y="1"/>
                    <a:pt x="6" y="0"/>
                    <a:pt x="4" y="1"/>
                  </a:cubicBezTo>
                  <a:cubicBezTo>
                    <a:pt x="3" y="1"/>
                    <a:pt x="2" y="2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7"/>
                    <a:pt x="1" y="8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11"/>
                    <a:pt x="5" y="11"/>
                  </a:cubicBezTo>
                  <a:cubicBezTo>
                    <a:pt x="6" y="11"/>
                    <a:pt x="7" y="11"/>
                    <a:pt x="8" y="11"/>
                  </a:cubicBezTo>
                  <a:cubicBezTo>
                    <a:pt x="10" y="11"/>
                    <a:pt x="10" y="11"/>
                    <a:pt x="10" y="13"/>
                  </a:cubicBezTo>
                  <a:cubicBezTo>
                    <a:pt x="10" y="15"/>
                    <a:pt x="9" y="16"/>
                    <a:pt x="9" y="16"/>
                  </a:cubicBezTo>
                  <a:cubicBezTo>
                    <a:pt x="11" y="16"/>
                    <a:pt x="12" y="16"/>
                    <a:pt x="13" y="17"/>
                  </a:cubicBezTo>
                  <a:cubicBezTo>
                    <a:pt x="13" y="17"/>
                    <a:pt x="13" y="18"/>
                    <a:pt x="13" y="19"/>
                  </a:cubicBezTo>
                  <a:cubicBezTo>
                    <a:pt x="13" y="19"/>
                    <a:pt x="17" y="20"/>
                    <a:pt x="18" y="19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25" name="Freeform 640">
              <a:extLst>
                <a:ext uri="{FF2B5EF4-FFF2-40B4-BE49-F238E27FC236}">
                  <a16:creationId xmlns:a16="http://schemas.microsoft.com/office/drawing/2014/main" id="{DF69D2E8-9C7F-0BE1-E7B3-CD89C6570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1190" y="3060010"/>
              <a:ext cx="129562" cy="61753"/>
            </a:xfrm>
            <a:custGeom>
              <a:avLst/>
              <a:gdLst>
                <a:gd name="T0" fmla="*/ 12 w 40"/>
                <a:gd name="T1" fmla="*/ 14 h 19"/>
                <a:gd name="T2" fmla="*/ 21 w 40"/>
                <a:gd name="T3" fmla="*/ 13 h 19"/>
                <a:gd name="T4" fmla="*/ 25 w 40"/>
                <a:gd name="T5" fmla="*/ 15 h 19"/>
                <a:gd name="T6" fmla="*/ 31 w 40"/>
                <a:gd name="T7" fmla="*/ 19 h 19"/>
                <a:gd name="T8" fmla="*/ 36 w 40"/>
                <a:gd name="T9" fmla="*/ 17 h 19"/>
                <a:gd name="T10" fmla="*/ 40 w 40"/>
                <a:gd name="T11" fmla="*/ 14 h 19"/>
                <a:gd name="T12" fmla="*/ 40 w 40"/>
                <a:gd name="T13" fmla="*/ 14 h 19"/>
                <a:gd name="T14" fmla="*/ 40 w 40"/>
                <a:gd name="T15" fmla="*/ 14 h 19"/>
                <a:gd name="T16" fmla="*/ 39 w 40"/>
                <a:gd name="T17" fmla="*/ 14 h 19"/>
                <a:gd name="T18" fmla="*/ 37 w 40"/>
                <a:gd name="T19" fmla="*/ 10 h 19"/>
                <a:gd name="T20" fmla="*/ 38 w 40"/>
                <a:gd name="T21" fmla="*/ 6 h 19"/>
                <a:gd name="T22" fmla="*/ 35 w 40"/>
                <a:gd name="T23" fmla="*/ 4 h 19"/>
                <a:gd name="T24" fmla="*/ 35 w 40"/>
                <a:gd name="T25" fmla="*/ 4 h 19"/>
                <a:gd name="T26" fmla="*/ 30 w 40"/>
                <a:gd name="T27" fmla="*/ 4 h 19"/>
                <a:gd name="T28" fmla="*/ 23 w 40"/>
                <a:gd name="T29" fmla="*/ 0 h 19"/>
                <a:gd name="T30" fmla="*/ 19 w 40"/>
                <a:gd name="T31" fmla="*/ 1 h 19"/>
                <a:gd name="T32" fmla="*/ 18 w 40"/>
                <a:gd name="T33" fmla="*/ 2 h 19"/>
                <a:gd name="T34" fmla="*/ 18 w 40"/>
                <a:gd name="T35" fmla="*/ 6 h 19"/>
                <a:gd name="T36" fmla="*/ 14 w 40"/>
                <a:gd name="T37" fmla="*/ 8 h 19"/>
                <a:gd name="T38" fmla="*/ 9 w 40"/>
                <a:gd name="T39" fmla="*/ 4 h 19"/>
                <a:gd name="T40" fmla="*/ 7 w 40"/>
                <a:gd name="T41" fmla="*/ 3 h 19"/>
                <a:gd name="T42" fmla="*/ 3 w 40"/>
                <a:gd name="T43" fmla="*/ 5 h 19"/>
                <a:gd name="T44" fmla="*/ 1 w 40"/>
                <a:gd name="T45" fmla="*/ 11 h 19"/>
                <a:gd name="T46" fmla="*/ 0 w 40"/>
                <a:gd name="T47" fmla="*/ 16 h 19"/>
                <a:gd name="T48" fmla="*/ 4 w 40"/>
                <a:gd name="T49" fmla="*/ 14 h 19"/>
                <a:gd name="T50" fmla="*/ 12 w 40"/>
                <a:gd name="T51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0" h="19">
                  <a:moveTo>
                    <a:pt x="12" y="14"/>
                  </a:moveTo>
                  <a:cubicBezTo>
                    <a:pt x="15" y="14"/>
                    <a:pt x="19" y="13"/>
                    <a:pt x="21" y="13"/>
                  </a:cubicBezTo>
                  <a:cubicBezTo>
                    <a:pt x="22" y="13"/>
                    <a:pt x="24" y="15"/>
                    <a:pt x="25" y="15"/>
                  </a:cubicBezTo>
                  <a:cubicBezTo>
                    <a:pt x="27" y="15"/>
                    <a:pt x="31" y="19"/>
                    <a:pt x="31" y="19"/>
                  </a:cubicBezTo>
                  <a:cubicBezTo>
                    <a:pt x="31" y="19"/>
                    <a:pt x="34" y="18"/>
                    <a:pt x="36" y="17"/>
                  </a:cubicBezTo>
                  <a:cubicBezTo>
                    <a:pt x="38" y="16"/>
                    <a:pt x="37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2"/>
                    <a:pt x="39" y="12"/>
                    <a:pt x="37" y="10"/>
                  </a:cubicBezTo>
                  <a:cubicBezTo>
                    <a:pt x="36" y="8"/>
                    <a:pt x="39" y="7"/>
                    <a:pt x="38" y="6"/>
                  </a:cubicBezTo>
                  <a:cubicBezTo>
                    <a:pt x="37" y="5"/>
                    <a:pt x="35" y="4"/>
                    <a:pt x="35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2" y="4"/>
                    <a:pt x="30" y="4"/>
                  </a:cubicBezTo>
                  <a:cubicBezTo>
                    <a:pt x="28" y="4"/>
                    <a:pt x="25" y="0"/>
                    <a:pt x="23" y="0"/>
                  </a:cubicBezTo>
                  <a:cubicBezTo>
                    <a:pt x="21" y="0"/>
                    <a:pt x="20" y="0"/>
                    <a:pt x="19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4"/>
                    <a:pt x="18" y="6"/>
                    <a:pt x="18" y="6"/>
                  </a:cubicBezTo>
                  <a:cubicBezTo>
                    <a:pt x="17" y="7"/>
                    <a:pt x="15" y="9"/>
                    <a:pt x="14" y="8"/>
                  </a:cubicBezTo>
                  <a:cubicBezTo>
                    <a:pt x="12" y="7"/>
                    <a:pt x="11" y="5"/>
                    <a:pt x="9" y="4"/>
                  </a:cubicBezTo>
                  <a:cubicBezTo>
                    <a:pt x="8" y="3"/>
                    <a:pt x="8" y="2"/>
                    <a:pt x="7" y="3"/>
                  </a:cubicBezTo>
                  <a:cubicBezTo>
                    <a:pt x="6" y="3"/>
                    <a:pt x="4" y="3"/>
                    <a:pt x="3" y="5"/>
                  </a:cubicBezTo>
                  <a:cubicBezTo>
                    <a:pt x="2" y="7"/>
                    <a:pt x="1" y="9"/>
                    <a:pt x="1" y="11"/>
                  </a:cubicBezTo>
                  <a:cubicBezTo>
                    <a:pt x="0" y="12"/>
                    <a:pt x="0" y="14"/>
                    <a:pt x="0" y="16"/>
                  </a:cubicBezTo>
                  <a:cubicBezTo>
                    <a:pt x="2" y="15"/>
                    <a:pt x="3" y="14"/>
                    <a:pt x="4" y="14"/>
                  </a:cubicBezTo>
                  <a:cubicBezTo>
                    <a:pt x="6" y="13"/>
                    <a:pt x="10" y="14"/>
                    <a:pt x="12" y="1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26" name="Freeform 641">
              <a:extLst>
                <a:ext uri="{FF2B5EF4-FFF2-40B4-BE49-F238E27FC236}">
                  <a16:creationId xmlns:a16="http://schemas.microsoft.com/office/drawing/2014/main" id="{6F4E5B30-A5DD-5208-EA9A-E45C8394F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7515" y="3017630"/>
              <a:ext cx="89603" cy="55699"/>
            </a:xfrm>
            <a:custGeom>
              <a:avLst/>
              <a:gdLst>
                <a:gd name="T0" fmla="*/ 19 w 28"/>
                <a:gd name="T1" fmla="*/ 17 h 17"/>
                <a:gd name="T2" fmla="*/ 24 w 28"/>
                <a:gd name="T3" fmla="*/ 17 h 17"/>
                <a:gd name="T4" fmla="*/ 24 w 28"/>
                <a:gd name="T5" fmla="*/ 17 h 17"/>
                <a:gd name="T6" fmla="*/ 24 w 28"/>
                <a:gd name="T7" fmla="*/ 16 h 17"/>
                <a:gd name="T8" fmla="*/ 25 w 28"/>
                <a:gd name="T9" fmla="*/ 11 h 17"/>
                <a:gd name="T10" fmla="*/ 24 w 28"/>
                <a:gd name="T11" fmla="*/ 7 h 17"/>
                <a:gd name="T12" fmla="*/ 28 w 28"/>
                <a:gd name="T13" fmla="*/ 0 h 17"/>
                <a:gd name="T14" fmla="*/ 26 w 28"/>
                <a:gd name="T15" fmla="*/ 1 h 17"/>
                <a:gd name="T16" fmla="*/ 16 w 28"/>
                <a:gd name="T17" fmla="*/ 0 h 17"/>
                <a:gd name="T18" fmla="*/ 7 w 28"/>
                <a:gd name="T19" fmla="*/ 1 h 17"/>
                <a:gd name="T20" fmla="*/ 3 w 28"/>
                <a:gd name="T21" fmla="*/ 4 h 17"/>
                <a:gd name="T22" fmla="*/ 2 w 28"/>
                <a:gd name="T23" fmla="*/ 6 h 17"/>
                <a:gd name="T24" fmla="*/ 4 w 28"/>
                <a:gd name="T25" fmla="*/ 7 h 17"/>
                <a:gd name="T26" fmla="*/ 3 w 28"/>
                <a:gd name="T27" fmla="*/ 9 h 17"/>
                <a:gd name="T28" fmla="*/ 6 w 28"/>
                <a:gd name="T29" fmla="*/ 11 h 17"/>
                <a:gd name="T30" fmla="*/ 9 w 28"/>
                <a:gd name="T31" fmla="*/ 11 h 17"/>
                <a:gd name="T32" fmla="*/ 8 w 28"/>
                <a:gd name="T33" fmla="*/ 14 h 17"/>
                <a:gd name="T34" fmla="*/ 12 w 28"/>
                <a:gd name="T35" fmla="*/ 13 h 17"/>
                <a:gd name="T36" fmla="*/ 19 w 28"/>
                <a:gd name="T3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" h="17">
                  <a:moveTo>
                    <a:pt x="19" y="17"/>
                  </a:moveTo>
                  <a:cubicBezTo>
                    <a:pt x="21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6" y="15"/>
                    <a:pt x="25" y="13"/>
                    <a:pt x="25" y="11"/>
                  </a:cubicBezTo>
                  <a:cubicBezTo>
                    <a:pt x="25" y="9"/>
                    <a:pt x="23" y="8"/>
                    <a:pt x="24" y="7"/>
                  </a:cubicBezTo>
                  <a:cubicBezTo>
                    <a:pt x="25" y="5"/>
                    <a:pt x="28" y="2"/>
                    <a:pt x="28" y="0"/>
                  </a:cubicBezTo>
                  <a:cubicBezTo>
                    <a:pt x="27" y="1"/>
                    <a:pt x="27" y="1"/>
                    <a:pt x="26" y="1"/>
                  </a:cubicBezTo>
                  <a:cubicBezTo>
                    <a:pt x="25" y="2"/>
                    <a:pt x="19" y="1"/>
                    <a:pt x="16" y="0"/>
                  </a:cubicBezTo>
                  <a:cubicBezTo>
                    <a:pt x="14" y="0"/>
                    <a:pt x="8" y="1"/>
                    <a:pt x="7" y="1"/>
                  </a:cubicBezTo>
                  <a:cubicBezTo>
                    <a:pt x="6" y="2"/>
                    <a:pt x="4" y="4"/>
                    <a:pt x="3" y="4"/>
                  </a:cubicBezTo>
                  <a:cubicBezTo>
                    <a:pt x="2" y="4"/>
                    <a:pt x="0" y="6"/>
                    <a:pt x="2" y="6"/>
                  </a:cubicBezTo>
                  <a:cubicBezTo>
                    <a:pt x="3" y="6"/>
                    <a:pt x="4" y="6"/>
                    <a:pt x="4" y="7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10"/>
                    <a:pt x="3" y="10"/>
                    <a:pt x="6" y="11"/>
                  </a:cubicBezTo>
                  <a:cubicBezTo>
                    <a:pt x="8" y="11"/>
                    <a:pt x="10" y="9"/>
                    <a:pt x="9" y="11"/>
                  </a:cubicBezTo>
                  <a:cubicBezTo>
                    <a:pt x="8" y="12"/>
                    <a:pt x="8" y="13"/>
                    <a:pt x="8" y="14"/>
                  </a:cubicBezTo>
                  <a:cubicBezTo>
                    <a:pt x="9" y="13"/>
                    <a:pt x="10" y="13"/>
                    <a:pt x="12" y="13"/>
                  </a:cubicBezTo>
                  <a:cubicBezTo>
                    <a:pt x="14" y="13"/>
                    <a:pt x="17" y="17"/>
                    <a:pt x="19" y="1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27" name="Freeform 642">
              <a:extLst>
                <a:ext uri="{FF2B5EF4-FFF2-40B4-BE49-F238E27FC236}">
                  <a16:creationId xmlns:a16="http://schemas.microsoft.com/office/drawing/2014/main" id="{0FD60D6A-06C9-DEFA-E9B2-8B7BDA2AD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5762" y="3131450"/>
              <a:ext cx="58121" cy="21795"/>
            </a:xfrm>
            <a:custGeom>
              <a:avLst/>
              <a:gdLst>
                <a:gd name="T0" fmla="*/ 18 w 18"/>
                <a:gd name="T1" fmla="*/ 4 h 7"/>
                <a:gd name="T2" fmla="*/ 16 w 18"/>
                <a:gd name="T3" fmla="*/ 2 h 7"/>
                <a:gd name="T4" fmla="*/ 13 w 18"/>
                <a:gd name="T5" fmla="*/ 2 h 7"/>
                <a:gd name="T6" fmla="*/ 9 w 18"/>
                <a:gd name="T7" fmla="*/ 0 h 7"/>
                <a:gd name="T8" fmla="*/ 9 w 18"/>
                <a:gd name="T9" fmla="*/ 0 h 7"/>
                <a:gd name="T10" fmla="*/ 9 w 18"/>
                <a:gd name="T11" fmla="*/ 2 h 7"/>
                <a:gd name="T12" fmla="*/ 7 w 18"/>
                <a:gd name="T13" fmla="*/ 2 h 7"/>
                <a:gd name="T14" fmla="*/ 6 w 18"/>
                <a:gd name="T15" fmla="*/ 1 h 7"/>
                <a:gd name="T16" fmla="*/ 4 w 18"/>
                <a:gd name="T17" fmla="*/ 2 h 7"/>
                <a:gd name="T18" fmla="*/ 2 w 18"/>
                <a:gd name="T19" fmla="*/ 4 h 7"/>
                <a:gd name="T20" fmla="*/ 0 w 18"/>
                <a:gd name="T21" fmla="*/ 5 h 7"/>
                <a:gd name="T22" fmla="*/ 0 w 18"/>
                <a:gd name="T23" fmla="*/ 6 h 7"/>
                <a:gd name="T24" fmla="*/ 7 w 18"/>
                <a:gd name="T25" fmla="*/ 7 h 7"/>
                <a:gd name="T26" fmla="*/ 17 w 18"/>
                <a:gd name="T27" fmla="*/ 7 h 7"/>
                <a:gd name="T28" fmla="*/ 17 w 18"/>
                <a:gd name="T29" fmla="*/ 7 h 7"/>
                <a:gd name="T30" fmla="*/ 18 w 18"/>
                <a:gd name="T3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7">
                  <a:moveTo>
                    <a:pt x="18" y="4"/>
                  </a:moveTo>
                  <a:cubicBezTo>
                    <a:pt x="18" y="2"/>
                    <a:pt x="18" y="2"/>
                    <a:pt x="16" y="2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2" y="2"/>
                    <a:pt x="12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"/>
                    <a:pt x="9" y="2"/>
                    <a:pt x="9" y="2"/>
                  </a:cubicBezTo>
                  <a:cubicBezTo>
                    <a:pt x="8" y="2"/>
                    <a:pt x="7" y="3"/>
                    <a:pt x="7" y="2"/>
                  </a:cubicBezTo>
                  <a:cubicBezTo>
                    <a:pt x="7" y="2"/>
                    <a:pt x="7" y="1"/>
                    <a:pt x="6" y="1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3" y="2"/>
                    <a:pt x="2" y="2"/>
                    <a:pt x="2" y="4"/>
                  </a:cubicBezTo>
                  <a:cubicBezTo>
                    <a:pt x="2" y="5"/>
                    <a:pt x="1" y="6"/>
                    <a:pt x="0" y="5"/>
                  </a:cubicBezTo>
                  <a:cubicBezTo>
                    <a:pt x="0" y="4"/>
                    <a:pt x="0" y="4"/>
                    <a:pt x="0" y="6"/>
                  </a:cubicBezTo>
                  <a:cubicBezTo>
                    <a:pt x="1" y="6"/>
                    <a:pt x="4" y="7"/>
                    <a:pt x="7" y="7"/>
                  </a:cubicBezTo>
                  <a:cubicBezTo>
                    <a:pt x="9" y="7"/>
                    <a:pt x="14" y="7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7"/>
                    <a:pt x="18" y="6"/>
                    <a:pt x="18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28" name="Freeform 643">
              <a:extLst>
                <a:ext uri="{FF2B5EF4-FFF2-40B4-BE49-F238E27FC236}">
                  <a16:creationId xmlns:a16="http://schemas.microsoft.com/office/drawing/2014/main" id="{68008954-4E05-3172-B305-B7D0C3453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948" y="3141137"/>
              <a:ext cx="174363" cy="141669"/>
            </a:xfrm>
            <a:custGeom>
              <a:avLst/>
              <a:gdLst>
                <a:gd name="T0" fmla="*/ 2 w 54"/>
                <a:gd name="T1" fmla="*/ 13 h 44"/>
                <a:gd name="T2" fmla="*/ 1 w 54"/>
                <a:gd name="T3" fmla="*/ 16 h 44"/>
                <a:gd name="T4" fmla="*/ 2 w 54"/>
                <a:gd name="T5" fmla="*/ 21 h 44"/>
                <a:gd name="T6" fmla="*/ 4 w 54"/>
                <a:gd name="T7" fmla="*/ 26 h 44"/>
                <a:gd name="T8" fmla="*/ 5 w 54"/>
                <a:gd name="T9" fmla="*/ 30 h 44"/>
                <a:gd name="T10" fmla="*/ 8 w 54"/>
                <a:gd name="T11" fmla="*/ 32 h 44"/>
                <a:gd name="T12" fmla="*/ 10 w 54"/>
                <a:gd name="T13" fmla="*/ 34 h 44"/>
                <a:gd name="T14" fmla="*/ 12 w 54"/>
                <a:gd name="T15" fmla="*/ 36 h 44"/>
                <a:gd name="T16" fmla="*/ 16 w 54"/>
                <a:gd name="T17" fmla="*/ 34 h 44"/>
                <a:gd name="T18" fmla="*/ 19 w 54"/>
                <a:gd name="T19" fmla="*/ 36 h 44"/>
                <a:gd name="T20" fmla="*/ 24 w 54"/>
                <a:gd name="T21" fmla="*/ 40 h 44"/>
                <a:gd name="T22" fmla="*/ 27 w 54"/>
                <a:gd name="T23" fmla="*/ 41 h 44"/>
                <a:gd name="T24" fmla="*/ 31 w 54"/>
                <a:gd name="T25" fmla="*/ 40 h 44"/>
                <a:gd name="T26" fmla="*/ 41 w 54"/>
                <a:gd name="T27" fmla="*/ 41 h 44"/>
                <a:gd name="T28" fmla="*/ 44 w 54"/>
                <a:gd name="T29" fmla="*/ 44 h 44"/>
                <a:gd name="T30" fmla="*/ 45 w 54"/>
                <a:gd name="T31" fmla="*/ 41 h 44"/>
                <a:gd name="T32" fmla="*/ 47 w 54"/>
                <a:gd name="T33" fmla="*/ 37 h 44"/>
                <a:gd name="T34" fmla="*/ 53 w 54"/>
                <a:gd name="T35" fmla="*/ 34 h 44"/>
                <a:gd name="T36" fmla="*/ 53 w 54"/>
                <a:gd name="T37" fmla="*/ 30 h 44"/>
                <a:gd name="T38" fmla="*/ 51 w 54"/>
                <a:gd name="T39" fmla="*/ 27 h 44"/>
                <a:gd name="T40" fmla="*/ 50 w 54"/>
                <a:gd name="T41" fmla="*/ 21 h 44"/>
                <a:gd name="T42" fmla="*/ 48 w 54"/>
                <a:gd name="T43" fmla="*/ 18 h 44"/>
                <a:gd name="T44" fmla="*/ 51 w 54"/>
                <a:gd name="T45" fmla="*/ 16 h 44"/>
                <a:gd name="T46" fmla="*/ 51 w 54"/>
                <a:gd name="T47" fmla="*/ 11 h 44"/>
                <a:gd name="T48" fmla="*/ 49 w 54"/>
                <a:gd name="T49" fmla="*/ 5 h 44"/>
                <a:gd name="T50" fmla="*/ 35 w 54"/>
                <a:gd name="T51" fmla="*/ 4 h 44"/>
                <a:gd name="T52" fmla="*/ 28 w 54"/>
                <a:gd name="T53" fmla="*/ 3 h 44"/>
                <a:gd name="T54" fmla="*/ 28 w 54"/>
                <a:gd name="T55" fmla="*/ 3 h 44"/>
                <a:gd name="T56" fmla="*/ 26 w 54"/>
                <a:gd name="T57" fmla="*/ 4 h 44"/>
                <a:gd name="T58" fmla="*/ 23 w 54"/>
                <a:gd name="T59" fmla="*/ 1 h 44"/>
                <a:gd name="T60" fmla="*/ 20 w 54"/>
                <a:gd name="T61" fmla="*/ 0 h 44"/>
                <a:gd name="T62" fmla="*/ 12 w 54"/>
                <a:gd name="T63" fmla="*/ 4 h 44"/>
                <a:gd name="T64" fmla="*/ 3 w 54"/>
                <a:gd name="T65" fmla="*/ 7 h 44"/>
                <a:gd name="T66" fmla="*/ 2 w 54"/>
                <a:gd name="T67" fmla="*/ 8 h 44"/>
                <a:gd name="T68" fmla="*/ 1 w 54"/>
                <a:gd name="T69" fmla="*/ 8 h 44"/>
                <a:gd name="T70" fmla="*/ 1 w 54"/>
                <a:gd name="T71" fmla="*/ 8 h 44"/>
                <a:gd name="T72" fmla="*/ 2 w 54"/>
                <a:gd name="T73" fmla="*/ 1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" h="44">
                  <a:moveTo>
                    <a:pt x="2" y="13"/>
                  </a:moveTo>
                  <a:cubicBezTo>
                    <a:pt x="1" y="14"/>
                    <a:pt x="0" y="15"/>
                    <a:pt x="1" y="16"/>
                  </a:cubicBezTo>
                  <a:cubicBezTo>
                    <a:pt x="1" y="17"/>
                    <a:pt x="2" y="20"/>
                    <a:pt x="2" y="21"/>
                  </a:cubicBezTo>
                  <a:cubicBezTo>
                    <a:pt x="2" y="22"/>
                    <a:pt x="3" y="25"/>
                    <a:pt x="4" y="26"/>
                  </a:cubicBezTo>
                  <a:cubicBezTo>
                    <a:pt x="4" y="27"/>
                    <a:pt x="5" y="30"/>
                    <a:pt x="5" y="30"/>
                  </a:cubicBezTo>
                  <a:cubicBezTo>
                    <a:pt x="5" y="30"/>
                    <a:pt x="6" y="31"/>
                    <a:pt x="8" y="32"/>
                  </a:cubicBezTo>
                  <a:cubicBezTo>
                    <a:pt x="10" y="32"/>
                    <a:pt x="10" y="33"/>
                    <a:pt x="10" y="34"/>
                  </a:cubicBezTo>
                  <a:cubicBezTo>
                    <a:pt x="11" y="34"/>
                    <a:pt x="11" y="36"/>
                    <a:pt x="12" y="36"/>
                  </a:cubicBezTo>
                  <a:cubicBezTo>
                    <a:pt x="14" y="35"/>
                    <a:pt x="14" y="33"/>
                    <a:pt x="16" y="34"/>
                  </a:cubicBezTo>
                  <a:cubicBezTo>
                    <a:pt x="17" y="35"/>
                    <a:pt x="18" y="35"/>
                    <a:pt x="19" y="36"/>
                  </a:cubicBezTo>
                  <a:cubicBezTo>
                    <a:pt x="21" y="37"/>
                    <a:pt x="24" y="39"/>
                    <a:pt x="24" y="40"/>
                  </a:cubicBezTo>
                  <a:cubicBezTo>
                    <a:pt x="24" y="40"/>
                    <a:pt x="26" y="42"/>
                    <a:pt x="27" y="41"/>
                  </a:cubicBezTo>
                  <a:cubicBezTo>
                    <a:pt x="28" y="40"/>
                    <a:pt x="28" y="39"/>
                    <a:pt x="31" y="40"/>
                  </a:cubicBezTo>
                  <a:cubicBezTo>
                    <a:pt x="34" y="41"/>
                    <a:pt x="39" y="39"/>
                    <a:pt x="41" y="41"/>
                  </a:cubicBezTo>
                  <a:cubicBezTo>
                    <a:pt x="42" y="42"/>
                    <a:pt x="44" y="44"/>
                    <a:pt x="44" y="44"/>
                  </a:cubicBezTo>
                  <a:cubicBezTo>
                    <a:pt x="45" y="44"/>
                    <a:pt x="45" y="43"/>
                    <a:pt x="45" y="41"/>
                  </a:cubicBezTo>
                  <a:cubicBezTo>
                    <a:pt x="45" y="39"/>
                    <a:pt x="45" y="39"/>
                    <a:pt x="47" y="37"/>
                  </a:cubicBezTo>
                  <a:cubicBezTo>
                    <a:pt x="48" y="34"/>
                    <a:pt x="51" y="34"/>
                    <a:pt x="53" y="34"/>
                  </a:cubicBezTo>
                  <a:cubicBezTo>
                    <a:pt x="54" y="34"/>
                    <a:pt x="53" y="31"/>
                    <a:pt x="53" y="30"/>
                  </a:cubicBezTo>
                  <a:cubicBezTo>
                    <a:pt x="53" y="28"/>
                    <a:pt x="53" y="29"/>
                    <a:pt x="51" y="27"/>
                  </a:cubicBezTo>
                  <a:cubicBezTo>
                    <a:pt x="48" y="25"/>
                    <a:pt x="50" y="23"/>
                    <a:pt x="50" y="21"/>
                  </a:cubicBezTo>
                  <a:cubicBezTo>
                    <a:pt x="50" y="19"/>
                    <a:pt x="48" y="20"/>
                    <a:pt x="48" y="18"/>
                  </a:cubicBezTo>
                  <a:cubicBezTo>
                    <a:pt x="49" y="17"/>
                    <a:pt x="50" y="17"/>
                    <a:pt x="51" y="16"/>
                  </a:cubicBezTo>
                  <a:cubicBezTo>
                    <a:pt x="52" y="14"/>
                    <a:pt x="52" y="12"/>
                    <a:pt x="51" y="11"/>
                  </a:cubicBezTo>
                  <a:cubicBezTo>
                    <a:pt x="49" y="9"/>
                    <a:pt x="49" y="6"/>
                    <a:pt x="49" y="5"/>
                  </a:cubicBezTo>
                  <a:cubicBezTo>
                    <a:pt x="48" y="3"/>
                    <a:pt x="39" y="4"/>
                    <a:pt x="35" y="4"/>
                  </a:cubicBezTo>
                  <a:cubicBezTo>
                    <a:pt x="32" y="4"/>
                    <a:pt x="29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4"/>
                    <a:pt x="27" y="5"/>
                    <a:pt x="26" y="4"/>
                  </a:cubicBezTo>
                  <a:cubicBezTo>
                    <a:pt x="24" y="3"/>
                    <a:pt x="24" y="2"/>
                    <a:pt x="23" y="1"/>
                  </a:cubicBezTo>
                  <a:cubicBezTo>
                    <a:pt x="23" y="1"/>
                    <a:pt x="20" y="0"/>
                    <a:pt x="20" y="0"/>
                  </a:cubicBezTo>
                  <a:cubicBezTo>
                    <a:pt x="19" y="0"/>
                    <a:pt x="14" y="3"/>
                    <a:pt x="12" y="4"/>
                  </a:cubicBezTo>
                  <a:cubicBezTo>
                    <a:pt x="11" y="4"/>
                    <a:pt x="5" y="6"/>
                    <a:pt x="3" y="7"/>
                  </a:cubicBezTo>
                  <a:cubicBezTo>
                    <a:pt x="1" y="7"/>
                    <a:pt x="3" y="8"/>
                    <a:pt x="2" y="8"/>
                  </a:cubicBezTo>
                  <a:cubicBezTo>
                    <a:pt x="2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2"/>
                    <a:pt x="2" y="13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29" name="Freeform 644">
              <a:extLst>
                <a:ext uri="{FF2B5EF4-FFF2-40B4-BE49-F238E27FC236}">
                  <a16:creationId xmlns:a16="http://schemas.microsoft.com/office/drawing/2014/main" id="{5AF5044C-1DD7-E9BC-C660-D7C7968BC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1503" y="3296125"/>
              <a:ext cx="164676" cy="106554"/>
            </a:xfrm>
            <a:custGeom>
              <a:avLst/>
              <a:gdLst>
                <a:gd name="T0" fmla="*/ 42 w 51"/>
                <a:gd name="T1" fmla="*/ 14 h 33"/>
                <a:gd name="T2" fmla="*/ 38 w 51"/>
                <a:gd name="T3" fmla="*/ 6 h 33"/>
                <a:gd name="T4" fmla="*/ 36 w 51"/>
                <a:gd name="T5" fmla="*/ 0 h 33"/>
                <a:gd name="T6" fmla="*/ 31 w 51"/>
                <a:gd name="T7" fmla="*/ 2 h 33"/>
                <a:gd name="T8" fmla="*/ 27 w 51"/>
                <a:gd name="T9" fmla="*/ 4 h 33"/>
                <a:gd name="T10" fmla="*/ 24 w 51"/>
                <a:gd name="T11" fmla="*/ 4 h 33"/>
                <a:gd name="T12" fmla="*/ 18 w 51"/>
                <a:gd name="T13" fmla="*/ 3 h 33"/>
                <a:gd name="T14" fmla="*/ 13 w 51"/>
                <a:gd name="T15" fmla="*/ 2 h 33"/>
                <a:gd name="T16" fmla="*/ 11 w 51"/>
                <a:gd name="T17" fmla="*/ 4 h 33"/>
                <a:gd name="T18" fmla="*/ 4 w 51"/>
                <a:gd name="T19" fmla="*/ 15 h 33"/>
                <a:gd name="T20" fmla="*/ 0 w 51"/>
                <a:gd name="T21" fmla="*/ 17 h 33"/>
                <a:gd name="T22" fmla="*/ 3 w 51"/>
                <a:gd name="T23" fmla="*/ 20 h 33"/>
                <a:gd name="T24" fmla="*/ 4 w 51"/>
                <a:gd name="T25" fmla="*/ 22 h 33"/>
                <a:gd name="T26" fmla="*/ 6 w 51"/>
                <a:gd name="T27" fmla="*/ 26 h 33"/>
                <a:gd name="T28" fmla="*/ 12 w 51"/>
                <a:gd name="T29" fmla="*/ 28 h 33"/>
                <a:gd name="T30" fmla="*/ 12 w 51"/>
                <a:gd name="T31" fmla="*/ 29 h 33"/>
                <a:gd name="T32" fmla="*/ 15 w 51"/>
                <a:gd name="T33" fmla="*/ 32 h 33"/>
                <a:gd name="T34" fmla="*/ 20 w 51"/>
                <a:gd name="T35" fmla="*/ 33 h 33"/>
                <a:gd name="T36" fmla="*/ 28 w 51"/>
                <a:gd name="T37" fmla="*/ 33 h 33"/>
                <a:gd name="T38" fmla="*/ 35 w 51"/>
                <a:gd name="T39" fmla="*/ 30 h 33"/>
                <a:gd name="T40" fmla="*/ 44 w 51"/>
                <a:gd name="T41" fmla="*/ 33 h 33"/>
                <a:gd name="T42" fmla="*/ 45 w 51"/>
                <a:gd name="T43" fmla="*/ 28 h 33"/>
                <a:gd name="T44" fmla="*/ 46 w 51"/>
                <a:gd name="T45" fmla="*/ 25 h 33"/>
                <a:gd name="T46" fmla="*/ 49 w 51"/>
                <a:gd name="T47" fmla="*/ 24 h 33"/>
                <a:gd name="T48" fmla="*/ 51 w 51"/>
                <a:gd name="T49" fmla="*/ 22 h 33"/>
                <a:gd name="T50" fmla="*/ 48 w 51"/>
                <a:gd name="T51" fmla="*/ 21 h 33"/>
                <a:gd name="T52" fmla="*/ 43 w 51"/>
                <a:gd name="T53" fmla="*/ 21 h 33"/>
                <a:gd name="T54" fmla="*/ 42 w 51"/>
                <a:gd name="T55" fmla="*/ 1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" h="33">
                  <a:moveTo>
                    <a:pt x="42" y="14"/>
                  </a:moveTo>
                  <a:cubicBezTo>
                    <a:pt x="43" y="12"/>
                    <a:pt x="41" y="9"/>
                    <a:pt x="38" y="6"/>
                  </a:cubicBezTo>
                  <a:cubicBezTo>
                    <a:pt x="36" y="4"/>
                    <a:pt x="36" y="0"/>
                    <a:pt x="36" y="0"/>
                  </a:cubicBezTo>
                  <a:cubicBezTo>
                    <a:pt x="34" y="0"/>
                    <a:pt x="33" y="1"/>
                    <a:pt x="31" y="2"/>
                  </a:cubicBezTo>
                  <a:cubicBezTo>
                    <a:pt x="29" y="3"/>
                    <a:pt x="28" y="3"/>
                    <a:pt x="27" y="4"/>
                  </a:cubicBezTo>
                  <a:cubicBezTo>
                    <a:pt x="26" y="4"/>
                    <a:pt x="24" y="4"/>
                    <a:pt x="24" y="4"/>
                  </a:cubicBezTo>
                  <a:cubicBezTo>
                    <a:pt x="23" y="4"/>
                    <a:pt x="20" y="3"/>
                    <a:pt x="18" y="3"/>
                  </a:cubicBezTo>
                  <a:cubicBezTo>
                    <a:pt x="15" y="3"/>
                    <a:pt x="13" y="2"/>
                    <a:pt x="13" y="2"/>
                  </a:cubicBezTo>
                  <a:cubicBezTo>
                    <a:pt x="14" y="3"/>
                    <a:pt x="12" y="4"/>
                    <a:pt x="11" y="4"/>
                  </a:cubicBezTo>
                  <a:cubicBezTo>
                    <a:pt x="9" y="4"/>
                    <a:pt x="4" y="14"/>
                    <a:pt x="4" y="15"/>
                  </a:cubicBezTo>
                  <a:cubicBezTo>
                    <a:pt x="3" y="16"/>
                    <a:pt x="0" y="15"/>
                    <a:pt x="0" y="17"/>
                  </a:cubicBezTo>
                  <a:cubicBezTo>
                    <a:pt x="1" y="18"/>
                    <a:pt x="3" y="19"/>
                    <a:pt x="3" y="20"/>
                  </a:cubicBezTo>
                  <a:cubicBezTo>
                    <a:pt x="3" y="21"/>
                    <a:pt x="3" y="22"/>
                    <a:pt x="4" y="22"/>
                  </a:cubicBezTo>
                  <a:cubicBezTo>
                    <a:pt x="5" y="23"/>
                    <a:pt x="4" y="26"/>
                    <a:pt x="6" y="26"/>
                  </a:cubicBezTo>
                  <a:cubicBezTo>
                    <a:pt x="8" y="26"/>
                    <a:pt x="12" y="26"/>
                    <a:pt x="12" y="28"/>
                  </a:cubicBezTo>
                  <a:cubicBezTo>
                    <a:pt x="12" y="28"/>
                    <a:pt x="12" y="28"/>
                    <a:pt x="12" y="29"/>
                  </a:cubicBezTo>
                  <a:cubicBezTo>
                    <a:pt x="12" y="29"/>
                    <a:pt x="12" y="32"/>
                    <a:pt x="15" y="32"/>
                  </a:cubicBezTo>
                  <a:cubicBezTo>
                    <a:pt x="18" y="32"/>
                    <a:pt x="19" y="33"/>
                    <a:pt x="20" y="33"/>
                  </a:cubicBezTo>
                  <a:cubicBezTo>
                    <a:pt x="22" y="33"/>
                    <a:pt x="26" y="33"/>
                    <a:pt x="28" y="33"/>
                  </a:cubicBezTo>
                  <a:cubicBezTo>
                    <a:pt x="30" y="33"/>
                    <a:pt x="30" y="30"/>
                    <a:pt x="35" y="30"/>
                  </a:cubicBezTo>
                  <a:cubicBezTo>
                    <a:pt x="39" y="30"/>
                    <a:pt x="42" y="32"/>
                    <a:pt x="44" y="33"/>
                  </a:cubicBezTo>
                  <a:cubicBezTo>
                    <a:pt x="44" y="31"/>
                    <a:pt x="44" y="29"/>
                    <a:pt x="45" y="28"/>
                  </a:cubicBezTo>
                  <a:cubicBezTo>
                    <a:pt x="45" y="26"/>
                    <a:pt x="45" y="25"/>
                    <a:pt x="46" y="25"/>
                  </a:cubicBezTo>
                  <a:cubicBezTo>
                    <a:pt x="47" y="25"/>
                    <a:pt x="48" y="25"/>
                    <a:pt x="49" y="24"/>
                  </a:cubicBezTo>
                  <a:cubicBezTo>
                    <a:pt x="50" y="24"/>
                    <a:pt x="50" y="23"/>
                    <a:pt x="51" y="22"/>
                  </a:cubicBezTo>
                  <a:cubicBezTo>
                    <a:pt x="50" y="21"/>
                    <a:pt x="49" y="21"/>
                    <a:pt x="48" y="21"/>
                  </a:cubicBezTo>
                  <a:cubicBezTo>
                    <a:pt x="46" y="21"/>
                    <a:pt x="44" y="22"/>
                    <a:pt x="43" y="21"/>
                  </a:cubicBezTo>
                  <a:cubicBezTo>
                    <a:pt x="42" y="20"/>
                    <a:pt x="41" y="16"/>
                    <a:pt x="42" y="14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30" name="Freeform 645">
              <a:extLst>
                <a:ext uri="{FF2B5EF4-FFF2-40B4-BE49-F238E27FC236}">
                  <a16:creationId xmlns:a16="http://schemas.microsoft.com/office/drawing/2014/main" id="{63486C1D-FA4B-AF97-C3B0-CF665B5E9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7745" y="3296125"/>
              <a:ext cx="52067" cy="67807"/>
            </a:xfrm>
            <a:custGeom>
              <a:avLst/>
              <a:gdLst>
                <a:gd name="T0" fmla="*/ 14 w 16"/>
                <a:gd name="T1" fmla="*/ 9 h 21"/>
                <a:gd name="T2" fmla="*/ 10 w 16"/>
                <a:gd name="T3" fmla="*/ 3 h 21"/>
                <a:gd name="T4" fmla="*/ 7 w 16"/>
                <a:gd name="T5" fmla="*/ 1 h 21"/>
                <a:gd name="T6" fmla="*/ 2 w 16"/>
                <a:gd name="T7" fmla="*/ 0 h 21"/>
                <a:gd name="T8" fmla="*/ 0 w 16"/>
                <a:gd name="T9" fmla="*/ 0 h 21"/>
                <a:gd name="T10" fmla="*/ 2 w 16"/>
                <a:gd name="T11" fmla="*/ 6 h 21"/>
                <a:gd name="T12" fmla="*/ 6 w 16"/>
                <a:gd name="T13" fmla="*/ 14 h 21"/>
                <a:gd name="T14" fmla="*/ 7 w 16"/>
                <a:gd name="T15" fmla="*/ 21 h 21"/>
                <a:gd name="T16" fmla="*/ 10 w 16"/>
                <a:gd name="T17" fmla="*/ 16 h 21"/>
                <a:gd name="T18" fmla="*/ 13 w 16"/>
                <a:gd name="T19" fmla="*/ 13 h 21"/>
                <a:gd name="T20" fmla="*/ 16 w 16"/>
                <a:gd name="T21" fmla="*/ 12 h 21"/>
                <a:gd name="T22" fmla="*/ 14 w 16"/>
                <a:gd name="T2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21">
                  <a:moveTo>
                    <a:pt x="14" y="9"/>
                  </a:moveTo>
                  <a:cubicBezTo>
                    <a:pt x="14" y="8"/>
                    <a:pt x="12" y="4"/>
                    <a:pt x="10" y="3"/>
                  </a:cubicBezTo>
                  <a:cubicBezTo>
                    <a:pt x="9" y="1"/>
                    <a:pt x="9" y="2"/>
                    <a:pt x="7" y="1"/>
                  </a:cubicBezTo>
                  <a:cubicBezTo>
                    <a:pt x="4" y="0"/>
                    <a:pt x="4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4"/>
                    <a:pt x="2" y="6"/>
                  </a:cubicBezTo>
                  <a:cubicBezTo>
                    <a:pt x="5" y="9"/>
                    <a:pt x="7" y="12"/>
                    <a:pt x="6" y="14"/>
                  </a:cubicBezTo>
                  <a:cubicBezTo>
                    <a:pt x="5" y="16"/>
                    <a:pt x="6" y="20"/>
                    <a:pt x="7" y="21"/>
                  </a:cubicBezTo>
                  <a:cubicBezTo>
                    <a:pt x="7" y="21"/>
                    <a:pt x="10" y="17"/>
                    <a:pt x="10" y="16"/>
                  </a:cubicBezTo>
                  <a:cubicBezTo>
                    <a:pt x="10" y="14"/>
                    <a:pt x="12" y="13"/>
                    <a:pt x="13" y="13"/>
                  </a:cubicBezTo>
                  <a:cubicBezTo>
                    <a:pt x="14" y="13"/>
                    <a:pt x="16" y="15"/>
                    <a:pt x="16" y="12"/>
                  </a:cubicBezTo>
                  <a:cubicBezTo>
                    <a:pt x="16" y="11"/>
                    <a:pt x="15" y="10"/>
                    <a:pt x="14" y="9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31" name="Freeform 646">
              <a:extLst>
                <a:ext uri="{FF2B5EF4-FFF2-40B4-BE49-F238E27FC236}">
                  <a16:creationId xmlns:a16="http://schemas.microsoft.com/office/drawing/2014/main" id="{00CFFB69-7E8C-155C-A104-02E301595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751" y="3334872"/>
              <a:ext cx="38747" cy="32693"/>
            </a:xfrm>
            <a:custGeom>
              <a:avLst/>
              <a:gdLst>
                <a:gd name="T0" fmla="*/ 7 w 12"/>
                <a:gd name="T1" fmla="*/ 8 h 10"/>
                <a:gd name="T2" fmla="*/ 7 w 12"/>
                <a:gd name="T3" fmla="*/ 7 h 10"/>
                <a:gd name="T4" fmla="*/ 11 w 12"/>
                <a:gd name="T5" fmla="*/ 3 h 10"/>
                <a:gd name="T6" fmla="*/ 12 w 12"/>
                <a:gd name="T7" fmla="*/ 3 h 10"/>
                <a:gd name="T8" fmla="*/ 9 w 12"/>
                <a:gd name="T9" fmla="*/ 0 h 10"/>
                <a:gd name="T10" fmla="*/ 6 w 12"/>
                <a:gd name="T11" fmla="*/ 1 h 10"/>
                <a:gd name="T12" fmla="*/ 3 w 12"/>
                <a:gd name="T13" fmla="*/ 4 h 10"/>
                <a:gd name="T14" fmla="*/ 0 w 12"/>
                <a:gd name="T15" fmla="*/ 9 h 10"/>
                <a:gd name="T16" fmla="*/ 5 w 12"/>
                <a:gd name="T17" fmla="*/ 9 h 10"/>
                <a:gd name="T18" fmla="*/ 8 w 12"/>
                <a:gd name="T19" fmla="*/ 10 h 10"/>
                <a:gd name="T20" fmla="*/ 7 w 12"/>
                <a:gd name="T2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0">
                  <a:moveTo>
                    <a:pt x="7" y="8"/>
                  </a:moveTo>
                  <a:cubicBezTo>
                    <a:pt x="7" y="8"/>
                    <a:pt x="6" y="8"/>
                    <a:pt x="7" y="7"/>
                  </a:cubicBezTo>
                  <a:cubicBezTo>
                    <a:pt x="8" y="6"/>
                    <a:pt x="10" y="5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2"/>
                    <a:pt x="9" y="1"/>
                    <a:pt x="9" y="0"/>
                  </a:cubicBezTo>
                  <a:cubicBezTo>
                    <a:pt x="9" y="3"/>
                    <a:pt x="7" y="1"/>
                    <a:pt x="6" y="1"/>
                  </a:cubicBezTo>
                  <a:cubicBezTo>
                    <a:pt x="5" y="1"/>
                    <a:pt x="3" y="2"/>
                    <a:pt x="3" y="4"/>
                  </a:cubicBezTo>
                  <a:cubicBezTo>
                    <a:pt x="3" y="5"/>
                    <a:pt x="0" y="9"/>
                    <a:pt x="0" y="9"/>
                  </a:cubicBezTo>
                  <a:cubicBezTo>
                    <a:pt x="1" y="10"/>
                    <a:pt x="3" y="9"/>
                    <a:pt x="5" y="9"/>
                  </a:cubicBezTo>
                  <a:cubicBezTo>
                    <a:pt x="6" y="9"/>
                    <a:pt x="7" y="9"/>
                    <a:pt x="8" y="10"/>
                  </a:cubicBezTo>
                  <a:cubicBezTo>
                    <a:pt x="8" y="9"/>
                    <a:pt x="8" y="9"/>
                    <a:pt x="7" y="8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32" name="Freeform 647">
              <a:extLst>
                <a:ext uri="{FF2B5EF4-FFF2-40B4-BE49-F238E27FC236}">
                  <a16:creationId xmlns:a16="http://schemas.microsoft.com/office/drawing/2014/main" id="{1BB660E3-6905-05E7-228C-D7B0F6C0D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4196" y="3390571"/>
              <a:ext cx="110188" cy="67807"/>
            </a:xfrm>
            <a:custGeom>
              <a:avLst/>
              <a:gdLst>
                <a:gd name="T0" fmla="*/ 18 w 34"/>
                <a:gd name="T1" fmla="*/ 4 h 21"/>
                <a:gd name="T2" fmla="*/ 10 w 34"/>
                <a:gd name="T3" fmla="*/ 4 h 21"/>
                <a:gd name="T4" fmla="*/ 5 w 34"/>
                <a:gd name="T5" fmla="*/ 3 h 21"/>
                <a:gd name="T6" fmla="*/ 2 w 34"/>
                <a:gd name="T7" fmla="*/ 0 h 21"/>
                <a:gd name="T8" fmla="*/ 1 w 34"/>
                <a:gd name="T9" fmla="*/ 4 h 21"/>
                <a:gd name="T10" fmla="*/ 3 w 34"/>
                <a:gd name="T11" fmla="*/ 7 h 21"/>
                <a:gd name="T12" fmla="*/ 1 w 34"/>
                <a:gd name="T13" fmla="*/ 11 h 21"/>
                <a:gd name="T14" fmla="*/ 1 w 34"/>
                <a:gd name="T15" fmla="*/ 12 h 21"/>
                <a:gd name="T16" fmla="*/ 3 w 34"/>
                <a:gd name="T17" fmla="*/ 16 h 21"/>
                <a:gd name="T18" fmla="*/ 3 w 34"/>
                <a:gd name="T19" fmla="*/ 19 h 21"/>
                <a:gd name="T20" fmla="*/ 3 w 34"/>
                <a:gd name="T21" fmla="*/ 19 h 21"/>
                <a:gd name="T22" fmla="*/ 11 w 34"/>
                <a:gd name="T23" fmla="*/ 19 h 21"/>
                <a:gd name="T24" fmla="*/ 19 w 34"/>
                <a:gd name="T25" fmla="*/ 19 h 21"/>
                <a:gd name="T26" fmla="*/ 24 w 34"/>
                <a:gd name="T27" fmla="*/ 15 h 21"/>
                <a:gd name="T28" fmla="*/ 30 w 34"/>
                <a:gd name="T29" fmla="*/ 15 h 21"/>
                <a:gd name="T30" fmla="*/ 30 w 34"/>
                <a:gd name="T31" fmla="*/ 13 h 21"/>
                <a:gd name="T32" fmla="*/ 31 w 34"/>
                <a:gd name="T33" fmla="*/ 9 h 21"/>
                <a:gd name="T34" fmla="*/ 33 w 34"/>
                <a:gd name="T35" fmla="*/ 6 h 21"/>
                <a:gd name="T36" fmla="*/ 34 w 34"/>
                <a:gd name="T37" fmla="*/ 4 h 21"/>
                <a:gd name="T38" fmla="*/ 25 w 34"/>
                <a:gd name="T39" fmla="*/ 1 h 21"/>
                <a:gd name="T40" fmla="*/ 18 w 34"/>
                <a:gd name="T41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4" h="21">
                  <a:moveTo>
                    <a:pt x="18" y="4"/>
                  </a:moveTo>
                  <a:cubicBezTo>
                    <a:pt x="16" y="4"/>
                    <a:pt x="12" y="4"/>
                    <a:pt x="10" y="4"/>
                  </a:cubicBezTo>
                  <a:cubicBezTo>
                    <a:pt x="9" y="4"/>
                    <a:pt x="8" y="3"/>
                    <a:pt x="5" y="3"/>
                  </a:cubicBezTo>
                  <a:cubicBezTo>
                    <a:pt x="2" y="3"/>
                    <a:pt x="2" y="0"/>
                    <a:pt x="2" y="0"/>
                  </a:cubicBezTo>
                  <a:cubicBezTo>
                    <a:pt x="1" y="1"/>
                    <a:pt x="0" y="3"/>
                    <a:pt x="1" y="4"/>
                  </a:cubicBezTo>
                  <a:cubicBezTo>
                    <a:pt x="1" y="6"/>
                    <a:pt x="4" y="6"/>
                    <a:pt x="3" y="7"/>
                  </a:cubicBezTo>
                  <a:cubicBezTo>
                    <a:pt x="2" y="9"/>
                    <a:pt x="1" y="9"/>
                    <a:pt x="1" y="11"/>
                  </a:cubicBezTo>
                  <a:cubicBezTo>
                    <a:pt x="1" y="11"/>
                    <a:pt x="1" y="12"/>
                    <a:pt x="1" y="12"/>
                  </a:cubicBezTo>
                  <a:cubicBezTo>
                    <a:pt x="2" y="14"/>
                    <a:pt x="3" y="15"/>
                    <a:pt x="3" y="16"/>
                  </a:cubicBezTo>
                  <a:cubicBezTo>
                    <a:pt x="3" y="17"/>
                    <a:pt x="3" y="18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6" y="19"/>
                    <a:pt x="8" y="18"/>
                    <a:pt x="11" y="19"/>
                  </a:cubicBezTo>
                  <a:cubicBezTo>
                    <a:pt x="14" y="19"/>
                    <a:pt x="17" y="21"/>
                    <a:pt x="19" y="19"/>
                  </a:cubicBezTo>
                  <a:cubicBezTo>
                    <a:pt x="20" y="18"/>
                    <a:pt x="23" y="17"/>
                    <a:pt x="24" y="15"/>
                  </a:cubicBezTo>
                  <a:cubicBezTo>
                    <a:pt x="25" y="14"/>
                    <a:pt x="28" y="15"/>
                    <a:pt x="30" y="15"/>
                  </a:cubicBezTo>
                  <a:cubicBezTo>
                    <a:pt x="30" y="14"/>
                    <a:pt x="30" y="14"/>
                    <a:pt x="30" y="13"/>
                  </a:cubicBezTo>
                  <a:cubicBezTo>
                    <a:pt x="29" y="13"/>
                    <a:pt x="30" y="10"/>
                    <a:pt x="31" y="9"/>
                  </a:cubicBezTo>
                  <a:cubicBezTo>
                    <a:pt x="31" y="7"/>
                    <a:pt x="32" y="7"/>
                    <a:pt x="33" y="6"/>
                  </a:cubicBezTo>
                  <a:cubicBezTo>
                    <a:pt x="34" y="5"/>
                    <a:pt x="34" y="5"/>
                    <a:pt x="34" y="4"/>
                  </a:cubicBezTo>
                  <a:cubicBezTo>
                    <a:pt x="32" y="3"/>
                    <a:pt x="29" y="1"/>
                    <a:pt x="25" y="1"/>
                  </a:cubicBezTo>
                  <a:cubicBezTo>
                    <a:pt x="20" y="1"/>
                    <a:pt x="20" y="4"/>
                    <a:pt x="18" y="4"/>
                  </a:cubicBezTo>
                  <a:close/>
                </a:path>
              </a:pathLst>
            </a:custGeom>
            <a:solidFill>
              <a:srgbClr val="F2F2F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33" name="Freeform 648">
              <a:extLst>
                <a:ext uri="{FF2B5EF4-FFF2-40B4-BE49-F238E27FC236}">
                  <a16:creationId xmlns:a16="http://schemas.microsoft.com/office/drawing/2014/main" id="{9320E00F-FC58-6D70-7584-5F0D79104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0375" y="3371197"/>
              <a:ext cx="65386" cy="50856"/>
            </a:xfrm>
            <a:custGeom>
              <a:avLst/>
              <a:gdLst>
                <a:gd name="T0" fmla="*/ 11 w 20"/>
                <a:gd name="T1" fmla="*/ 0 h 16"/>
                <a:gd name="T2" fmla="*/ 2 w 20"/>
                <a:gd name="T3" fmla="*/ 1 h 16"/>
                <a:gd name="T4" fmla="*/ 2 w 20"/>
                <a:gd name="T5" fmla="*/ 3 h 16"/>
                <a:gd name="T6" fmla="*/ 4 w 20"/>
                <a:gd name="T7" fmla="*/ 9 h 16"/>
                <a:gd name="T8" fmla="*/ 15 w 20"/>
                <a:gd name="T9" fmla="*/ 16 h 16"/>
                <a:gd name="T10" fmla="*/ 15 w 20"/>
                <a:gd name="T11" fmla="*/ 14 h 16"/>
                <a:gd name="T12" fmla="*/ 19 w 20"/>
                <a:gd name="T13" fmla="*/ 10 h 16"/>
                <a:gd name="T14" fmla="*/ 19 w 20"/>
                <a:gd name="T15" fmla="*/ 3 h 16"/>
                <a:gd name="T16" fmla="*/ 19 w 20"/>
                <a:gd name="T17" fmla="*/ 3 h 16"/>
                <a:gd name="T18" fmla="*/ 11 w 20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6">
                  <a:moveTo>
                    <a:pt x="11" y="0"/>
                  </a:moveTo>
                  <a:cubicBezTo>
                    <a:pt x="7" y="0"/>
                    <a:pt x="4" y="1"/>
                    <a:pt x="2" y="1"/>
                  </a:cubicBezTo>
                  <a:cubicBezTo>
                    <a:pt x="0" y="1"/>
                    <a:pt x="1" y="2"/>
                    <a:pt x="2" y="3"/>
                  </a:cubicBezTo>
                  <a:cubicBezTo>
                    <a:pt x="3" y="4"/>
                    <a:pt x="3" y="7"/>
                    <a:pt x="4" y="9"/>
                  </a:cubicBezTo>
                  <a:cubicBezTo>
                    <a:pt x="6" y="11"/>
                    <a:pt x="15" y="16"/>
                    <a:pt x="15" y="16"/>
                  </a:cubicBezTo>
                  <a:cubicBezTo>
                    <a:pt x="15" y="15"/>
                    <a:pt x="15" y="14"/>
                    <a:pt x="15" y="14"/>
                  </a:cubicBezTo>
                  <a:cubicBezTo>
                    <a:pt x="15" y="12"/>
                    <a:pt x="19" y="11"/>
                    <a:pt x="19" y="10"/>
                  </a:cubicBezTo>
                  <a:cubicBezTo>
                    <a:pt x="20" y="8"/>
                    <a:pt x="19" y="5"/>
                    <a:pt x="19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4" y="0"/>
                    <a:pt x="11" y="0"/>
                  </a:cubicBezTo>
                  <a:close/>
                </a:path>
              </a:pathLst>
            </a:custGeom>
            <a:solidFill>
              <a:srgbClr val="F2F2F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34" name="Freeform 649">
              <a:extLst>
                <a:ext uri="{FF2B5EF4-FFF2-40B4-BE49-F238E27FC236}">
                  <a16:creationId xmlns:a16="http://schemas.microsoft.com/office/drawing/2014/main" id="{936F3863-F4D2-84AB-5ED4-6098DC196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8810" y="3344559"/>
              <a:ext cx="78706" cy="98079"/>
            </a:xfrm>
            <a:custGeom>
              <a:avLst/>
              <a:gdLst>
                <a:gd name="T0" fmla="*/ 23 w 24"/>
                <a:gd name="T1" fmla="*/ 21 h 30"/>
                <a:gd name="T2" fmla="*/ 21 w 24"/>
                <a:gd name="T3" fmla="*/ 18 h 30"/>
                <a:gd name="T4" fmla="*/ 22 w 24"/>
                <a:gd name="T5" fmla="*/ 13 h 30"/>
                <a:gd name="T6" fmla="*/ 16 w 24"/>
                <a:gd name="T7" fmla="*/ 11 h 30"/>
                <a:gd name="T8" fmla="*/ 14 w 24"/>
                <a:gd name="T9" fmla="*/ 7 h 30"/>
                <a:gd name="T10" fmla="*/ 13 w 24"/>
                <a:gd name="T11" fmla="*/ 5 h 30"/>
                <a:gd name="T12" fmla="*/ 10 w 24"/>
                <a:gd name="T13" fmla="*/ 2 h 30"/>
                <a:gd name="T14" fmla="*/ 1 w 24"/>
                <a:gd name="T15" fmla="*/ 3 h 30"/>
                <a:gd name="T16" fmla="*/ 4 w 24"/>
                <a:gd name="T17" fmla="*/ 10 h 30"/>
                <a:gd name="T18" fmla="*/ 4 w 24"/>
                <a:gd name="T19" fmla="*/ 18 h 30"/>
                <a:gd name="T20" fmla="*/ 0 w 24"/>
                <a:gd name="T21" fmla="*/ 22 h 30"/>
                <a:gd name="T22" fmla="*/ 0 w 24"/>
                <a:gd name="T23" fmla="*/ 26 h 30"/>
                <a:gd name="T24" fmla="*/ 0 w 24"/>
                <a:gd name="T25" fmla="*/ 26 h 30"/>
                <a:gd name="T26" fmla="*/ 1 w 24"/>
                <a:gd name="T27" fmla="*/ 28 h 30"/>
                <a:gd name="T28" fmla="*/ 4 w 24"/>
                <a:gd name="T29" fmla="*/ 30 h 30"/>
                <a:gd name="T30" fmla="*/ 4 w 24"/>
                <a:gd name="T31" fmla="*/ 30 h 30"/>
                <a:gd name="T32" fmla="*/ 6 w 24"/>
                <a:gd name="T33" fmla="*/ 25 h 30"/>
                <a:gd name="T34" fmla="*/ 11 w 24"/>
                <a:gd name="T35" fmla="*/ 29 h 30"/>
                <a:gd name="T36" fmla="*/ 21 w 24"/>
                <a:gd name="T37" fmla="*/ 26 h 30"/>
                <a:gd name="T38" fmla="*/ 21 w 24"/>
                <a:gd name="T39" fmla="*/ 26 h 30"/>
                <a:gd name="T40" fmla="*/ 21 w 24"/>
                <a:gd name="T41" fmla="*/ 25 h 30"/>
                <a:gd name="T42" fmla="*/ 23 w 24"/>
                <a:gd name="T43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30">
                  <a:moveTo>
                    <a:pt x="23" y="21"/>
                  </a:moveTo>
                  <a:cubicBezTo>
                    <a:pt x="24" y="20"/>
                    <a:pt x="21" y="20"/>
                    <a:pt x="21" y="18"/>
                  </a:cubicBezTo>
                  <a:cubicBezTo>
                    <a:pt x="20" y="16"/>
                    <a:pt x="22" y="14"/>
                    <a:pt x="22" y="13"/>
                  </a:cubicBezTo>
                  <a:cubicBezTo>
                    <a:pt x="22" y="11"/>
                    <a:pt x="18" y="11"/>
                    <a:pt x="16" y="11"/>
                  </a:cubicBezTo>
                  <a:cubicBezTo>
                    <a:pt x="14" y="11"/>
                    <a:pt x="15" y="8"/>
                    <a:pt x="14" y="7"/>
                  </a:cubicBezTo>
                  <a:cubicBezTo>
                    <a:pt x="13" y="7"/>
                    <a:pt x="13" y="6"/>
                    <a:pt x="13" y="5"/>
                  </a:cubicBezTo>
                  <a:cubicBezTo>
                    <a:pt x="13" y="4"/>
                    <a:pt x="11" y="3"/>
                    <a:pt x="10" y="2"/>
                  </a:cubicBezTo>
                  <a:cubicBezTo>
                    <a:pt x="6" y="0"/>
                    <a:pt x="1" y="3"/>
                    <a:pt x="1" y="3"/>
                  </a:cubicBezTo>
                  <a:cubicBezTo>
                    <a:pt x="1" y="3"/>
                    <a:pt x="3" y="7"/>
                    <a:pt x="4" y="10"/>
                  </a:cubicBezTo>
                  <a:cubicBezTo>
                    <a:pt x="4" y="12"/>
                    <a:pt x="5" y="16"/>
                    <a:pt x="4" y="18"/>
                  </a:cubicBezTo>
                  <a:cubicBezTo>
                    <a:pt x="4" y="19"/>
                    <a:pt x="0" y="20"/>
                    <a:pt x="0" y="22"/>
                  </a:cubicBezTo>
                  <a:cubicBezTo>
                    <a:pt x="0" y="23"/>
                    <a:pt x="0" y="25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7"/>
                    <a:pt x="1" y="28"/>
                  </a:cubicBezTo>
                  <a:cubicBezTo>
                    <a:pt x="2" y="29"/>
                    <a:pt x="4" y="29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5" y="28"/>
                    <a:pt x="5" y="25"/>
                    <a:pt x="6" y="25"/>
                  </a:cubicBezTo>
                  <a:cubicBezTo>
                    <a:pt x="8" y="25"/>
                    <a:pt x="11" y="29"/>
                    <a:pt x="11" y="29"/>
                  </a:cubicBezTo>
                  <a:cubicBezTo>
                    <a:pt x="14" y="28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5"/>
                    <a:pt x="21" y="25"/>
                  </a:cubicBezTo>
                  <a:cubicBezTo>
                    <a:pt x="21" y="23"/>
                    <a:pt x="22" y="23"/>
                    <a:pt x="23" y="21"/>
                  </a:cubicBezTo>
                  <a:close/>
                </a:path>
              </a:pathLst>
            </a:custGeom>
            <a:solidFill>
              <a:srgbClr val="F2F2F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35" name="Freeform 650">
              <a:extLst>
                <a:ext uri="{FF2B5EF4-FFF2-40B4-BE49-F238E27FC236}">
                  <a16:creationId xmlns:a16="http://schemas.microsoft.com/office/drawing/2014/main" id="{4C837AB7-8DE8-31E8-F98A-06ACEC73A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641" y="3290071"/>
              <a:ext cx="119875" cy="67807"/>
            </a:xfrm>
            <a:custGeom>
              <a:avLst/>
              <a:gdLst>
                <a:gd name="T0" fmla="*/ 33 w 37"/>
                <a:gd name="T1" fmla="*/ 2 h 21"/>
                <a:gd name="T2" fmla="*/ 33 w 37"/>
                <a:gd name="T3" fmla="*/ 2 h 21"/>
                <a:gd name="T4" fmla="*/ 33 w 37"/>
                <a:gd name="T5" fmla="*/ 2 h 21"/>
                <a:gd name="T6" fmla="*/ 29 w 37"/>
                <a:gd name="T7" fmla="*/ 2 h 21"/>
                <a:gd name="T8" fmla="*/ 23 w 37"/>
                <a:gd name="T9" fmla="*/ 1 h 21"/>
                <a:gd name="T10" fmla="*/ 22 w 37"/>
                <a:gd name="T11" fmla="*/ 4 h 21"/>
                <a:gd name="T12" fmla="*/ 19 w 37"/>
                <a:gd name="T13" fmla="*/ 3 h 21"/>
                <a:gd name="T14" fmla="*/ 14 w 37"/>
                <a:gd name="T15" fmla="*/ 5 h 21"/>
                <a:gd name="T16" fmla="*/ 12 w 37"/>
                <a:gd name="T17" fmla="*/ 6 h 21"/>
                <a:gd name="T18" fmla="*/ 8 w 37"/>
                <a:gd name="T19" fmla="*/ 7 h 21"/>
                <a:gd name="T20" fmla="*/ 5 w 37"/>
                <a:gd name="T21" fmla="*/ 4 h 21"/>
                <a:gd name="T22" fmla="*/ 4 w 37"/>
                <a:gd name="T23" fmla="*/ 7 h 21"/>
                <a:gd name="T24" fmla="*/ 2 w 37"/>
                <a:gd name="T25" fmla="*/ 7 h 21"/>
                <a:gd name="T26" fmla="*/ 1 w 37"/>
                <a:gd name="T27" fmla="*/ 12 h 21"/>
                <a:gd name="T28" fmla="*/ 1 w 37"/>
                <a:gd name="T29" fmla="*/ 15 h 21"/>
                <a:gd name="T30" fmla="*/ 7 w 37"/>
                <a:gd name="T31" fmla="*/ 19 h 21"/>
                <a:gd name="T32" fmla="*/ 14 w 37"/>
                <a:gd name="T33" fmla="*/ 20 h 21"/>
                <a:gd name="T34" fmla="*/ 23 w 37"/>
                <a:gd name="T35" fmla="*/ 19 h 21"/>
                <a:gd name="T36" fmla="*/ 27 w 37"/>
                <a:gd name="T37" fmla="*/ 17 h 21"/>
                <a:gd name="T38" fmla="*/ 34 w 37"/>
                <a:gd name="T39" fmla="*/ 6 h 21"/>
                <a:gd name="T40" fmla="*/ 36 w 37"/>
                <a:gd name="T41" fmla="*/ 4 h 21"/>
                <a:gd name="T42" fmla="*/ 33 w 37"/>
                <a:gd name="T43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21">
                  <a:moveTo>
                    <a:pt x="33" y="2"/>
                  </a:move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0" y="2"/>
                    <a:pt x="29" y="2"/>
                  </a:cubicBezTo>
                  <a:cubicBezTo>
                    <a:pt x="28" y="2"/>
                    <a:pt x="25" y="0"/>
                    <a:pt x="23" y="1"/>
                  </a:cubicBezTo>
                  <a:cubicBezTo>
                    <a:pt x="22" y="1"/>
                    <a:pt x="23" y="4"/>
                    <a:pt x="22" y="4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4"/>
                    <a:pt x="15" y="4"/>
                    <a:pt x="14" y="5"/>
                  </a:cubicBezTo>
                  <a:cubicBezTo>
                    <a:pt x="14" y="6"/>
                    <a:pt x="13" y="6"/>
                    <a:pt x="12" y="6"/>
                  </a:cubicBezTo>
                  <a:cubicBezTo>
                    <a:pt x="11" y="6"/>
                    <a:pt x="9" y="7"/>
                    <a:pt x="8" y="7"/>
                  </a:cubicBezTo>
                  <a:cubicBezTo>
                    <a:pt x="7" y="6"/>
                    <a:pt x="5" y="4"/>
                    <a:pt x="5" y="4"/>
                  </a:cubicBezTo>
                  <a:cubicBezTo>
                    <a:pt x="5" y="4"/>
                    <a:pt x="5" y="7"/>
                    <a:pt x="4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2" y="8"/>
                    <a:pt x="3" y="12"/>
                    <a:pt x="1" y="12"/>
                  </a:cubicBezTo>
                  <a:cubicBezTo>
                    <a:pt x="0" y="13"/>
                    <a:pt x="1" y="14"/>
                    <a:pt x="1" y="15"/>
                  </a:cubicBezTo>
                  <a:cubicBezTo>
                    <a:pt x="2" y="16"/>
                    <a:pt x="5" y="18"/>
                    <a:pt x="7" y="19"/>
                  </a:cubicBezTo>
                  <a:cubicBezTo>
                    <a:pt x="9" y="20"/>
                    <a:pt x="13" y="21"/>
                    <a:pt x="14" y="20"/>
                  </a:cubicBezTo>
                  <a:cubicBezTo>
                    <a:pt x="14" y="20"/>
                    <a:pt x="19" y="17"/>
                    <a:pt x="23" y="19"/>
                  </a:cubicBezTo>
                  <a:cubicBezTo>
                    <a:pt x="23" y="17"/>
                    <a:pt x="26" y="18"/>
                    <a:pt x="27" y="17"/>
                  </a:cubicBezTo>
                  <a:cubicBezTo>
                    <a:pt x="27" y="16"/>
                    <a:pt x="32" y="6"/>
                    <a:pt x="34" y="6"/>
                  </a:cubicBezTo>
                  <a:cubicBezTo>
                    <a:pt x="35" y="6"/>
                    <a:pt x="37" y="5"/>
                    <a:pt x="36" y="4"/>
                  </a:cubicBezTo>
                  <a:cubicBezTo>
                    <a:pt x="36" y="4"/>
                    <a:pt x="33" y="4"/>
                    <a:pt x="33" y="2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36" name="Freeform 651">
              <a:extLst>
                <a:ext uri="{FF2B5EF4-FFF2-40B4-BE49-F238E27FC236}">
                  <a16:creationId xmlns:a16="http://schemas.microsoft.com/office/drawing/2014/main" id="{A7E190F1-FF6B-8643-B9B7-534033E8D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5449" y="3442637"/>
              <a:ext cx="112610" cy="116241"/>
            </a:xfrm>
            <a:custGeom>
              <a:avLst/>
              <a:gdLst>
                <a:gd name="T0" fmla="*/ 35 w 35"/>
                <a:gd name="T1" fmla="*/ 0 h 36"/>
                <a:gd name="T2" fmla="*/ 35 w 35"/>
                <a:gd name="T3" fmla="*/ 0 h 36"/>
                <a:gd name="T4" fmla="*/ 31 w 35"/>
                <a:gd name="T5" fmla="*/ 3 h 36"/>
                <a:gd name="T6" fmla="*/ 23 w 35"/>
                <a:gd name="T7" fmla="*/ 3 h 36"/>
                <a:gd name="T8" fmla="*/ 15 w 35"/>
                <a:gd name="T9" fmla="*/ 3 h 36"/>
                <a:gd name="T10" fmla="*/ 15 w 35"/>
                <a:gd name="T11" fmla="*/ 3 h 36"/>
                <a:gd name="T12" fmla="*/ 14 w 35"/>
                <a:gd name="T13" fmla="*/ 4 h 36"/>
                <a:gd name="T14" fmla="*/ 11 w 35"/>
                <a:gd name="T15" fmla="*/ 4 h 36"/>
                <a:gd name="T16" fmla="*/ 8 w 35"/>
                <a:gd name="T17" fmla="*/ 6 h 36"/>
                <a:gd name="T18" fmla="*/ 5 w 35"/>
                <a:gd name="T19" fmla="*/ 7 h 36"/>
                <a:gd name="T20" fmla="*/ 3 w 35"/>
                <a:gd name="T21" fmla="*/ 12 h 36"/>
                <a:gd name="T22" fmla="*/ 0 w 35"/>
                <a:gd name="T23" fmla="*/ 15 h 36"/>
                <a:gd name="T24" fmla="*/ 0 w 35"/>
                <a:gd name="T25" fmla="*/ 15 h 36"/>
                <a:gd name="T26" fmla="*/ 2 w 35"/>
                <a:gd name="T27" fmla="*/ 17 h 36"/>
                <a:gd name="T28" fmla="*/ 5 w 35"/>
                <a:gd name="T29" fmla="*/ 19 h 36"/>
                <a:gd name="T30" fmla="*/ 6 w 35"/>
                <a:gd name="T31" fmla="*/ 25 h 36"/>
                <a:gd name="T32" fmla="*/ 8 w 35"/>
                <a:gd name="T33" fmla="*/ 28 h 36"/>
                <a:gd name="T34" fmla="*/ 8 w 35"/>
                <a:gd name="T35" fmla="*/ 30 h 36"/>
                <a:gd name="T36" fmla="*/ 8 w 35"/>
                <a:gd name="T37" fmla="*/ 32 h 36"/>
                <a:gd name="T38" fmla="*/ 10 w 35"/>
                <a:gd name="T39" fmla="*/ 32 h 36"/>
                <a:gd name="T40" fmla="*/ 11 w 35"/>
                <a:gd name="T41" fmla="*/ 33 h 36"/>
                <a:gd name="T42" fmla="*/ 13 w 35"/>
                <a:gd name="T43" fmla="*/ 34 h 36"/>
                <a:gd name="T44" fmla="*/ 14 w 35"/>
                <a:gd name="T45" fmla="*/ 33 h 36"/>
                <a:gd name="T46" fmla="*/ 16 w 35"/>
                <a:gd name="T47" fmla="*/ 35 h 36"/>
                <a:gd name="T48" fmla="*/ 16 w 35"/>
                <a:gd name="T49" fmla="*/ 32 h 36"/>
                <a:gd name="T50" fmla="*/ 15 w 35"/>
                <a:gd name="T51" fmla="*/ 29 h 36"/>
                <a:gd name="T52" fmla="*/ 16 w 35"/>
                <a:gd name="T53" fmla="*/ 29 h 36"/>
                <a:gd name="T54" fmla="*/ 19 w 35"/>
                <a:gd name="T55" fmla="*/ 28 h 36"/>
                <a:gd name="T56" fmla="*/ 16 w 35"/>
                <a:gd name="T57" fmla="*/ 26 h 36"/>
                <a:gd name="T58" fmla="*/ 17 w 35"/>
                <a:gd name="T59" fmla="*/ 25 h 36"/>
                <a:gd name="T60" fmla="*/ 19 w 35"/>
                <a:gd name="T61" fmla="*/ 25 h 36"/>
                <a:gd name="T62" fmla="*/ 21 w 35"/>
                <a:gd name="T63" fmla="*/ 27 h 36"/>
                <a:gd name="T64" fmla="*/ 21 w 35"/>
                <a:gd name="T65" fmla="*/ 25 h 36"/>
                <a:gd name="T66" fmla="*/ 21 w 35"/>
                <a:gd name="T67" fmla="*/ 24 h 36"/>
                <a:gd name="T68" fmla="*/ 24 w 35"/>
                <a:gd name="T69" fmla="*/ 25 h 36"/>
                <a:gd name="T70" fmla="*/ 22 w 35"/>
                <a:gd name="T71" fmla="*/ 23 h 36"/>
                <a:gd name="T72" fmla="*/ 20 w 35"/>
                <a:gd name="T73" fmla="*/ 21 h 36"/>
                <a:gd name="T74" fmla="*/ 17 w 35"/>
                <a:gd name="T75" fmla="*/ 18 h 36"/>
                <a:gd name="T76" fmla="*/ 17 w 35"/>
                <a:gd name="T77" fmla="*/ 17 h 36"/>
                <a:gd name="T78" fmla="*/ 13 w 35"/>
                <a:gd name="T79" fmla="*/ 12 h 36"/>
                <a:gd name="T80" fmla="*/ 14 w 35"/>
                <a:gd name="T81" fmla="*/ 9 h 36"/>
                <a:gd name="T82" fmla="*/ 17 w 35"/>
                <a:gd name="T83" fmla="*/ 11 h 36"/>
                <a:gd name="T84" fmla="*/ 18 w 35"/>
                <a:gd name="T85" fmla="*/ 12 h 36"/>
                <a:gd name="T86" fmla="*/ 19 w 35"/>
                <a:gd name="T87" fmla="*/ 11 h 36"/>
                <a:gd name="T88" fmla="*/ 21 w 35"/>
                <a:gd name="T89" fmla="*/ 12 h 36"/>
                <a:gd name="T90" fmla="*/ 20 w 35"/>
                <a:gd name="T91" fmla="*/ 10 h 36"/>
                <a:gd name="T92" fmla="*/ 23 w 35"/>
                <a:gd name="T93" fmla="*/ 11 h 36"/>
                <a:gd name="T94" fmla="*/ 20 w 35"/>
                <a:gd name="T95" fmla="*/ 8 h 36"/>
                <a:gd name="T96" fmla="*/ 23 w 35"/>
                <a:gd name="T97" fmla="*/ 7 h 36"/>
                <a:gd name="T98" fmla="*/ 25 w 35"/>
                <a:gd name="T99" fmla="*/ 6 h 36"/>
                <a:gd name="T100" fmla="*/ 24 w 35"/>
                <a:gd name="T101" fmla="*/ 8 h 36"/>
                <a:gd name="T102" fmla="*/ 28 w 35"/>
                <a:gd name="T103" fmla="*/ 6 h 36"/>
                <a:gd name="T104" fmla="*/ 32 w 35"/>
                <a:gd name="T105" fmla="*/ 8 h 36"/>
                <a:gd name="T106" fmla="*/ 32 w 35"/>
                <a:gd name="T107" fmla="*/ 8 h 36"/>
                <a:gd name="T108" fmla="*/ 32 w 35"/>
                <a:gd name="T109" fmla="*/ 8 h 36"/>
                <a:gd name="T110" fmla="*/ 35 w 35"/>
                <a:gd name="T1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36">
                  <a:moveTo>
                    <a:pt x="35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4" y="1"/>
                    <a:pt x="32" y="2"/>
                    <a:pt x="31" y="3"/>
                  </a:cubicBezTo>
                  <a:cubicBezTo>
                    <a:pt x="29" y="5"/>
                    <a:pt x="26" y="3"/>
                    <a:pt x="23" y="3"/>
                  </a:cubicBezTo>
                  <a:cubicBezTo>
                    <a:pt x="20" y="2"/>
                    <a:pt x="18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4"/>
                    <a:pt x="15" y="4"/>
                    <a:pt x="14" y="4"/>
                  </a:cubicBezTo>
                  <a:cubicBezTo>
                    <a:pt x="12" y="5"/>
                    <a:pt x="12" y="3"/>
                    <a:pt x="11" y="4"/>
                  </a:cubicBezTo>
                  <a:cubicBezTo>
                    <a:pt x="10" y="5"/>
                    <a:pt x="10" y="6"/>
                    <a:pt x="8" y="6"/>
                  </a:cubicBezTo>
                  <a:cubicBezTo>
                    <a:pt x="6" y="6"/>
                    <a:pt x="6" y="6"/>
                    <a:pt x="5" y="7"/>
                  </a:cubicBezTo>
                  <a:cubicBezTo>
                    <a:pt x="5" y="8"/>
                    <a:pt x="4" y="10"/>
                    <a:pt x="3" y="12"/>
                  </a:cubicBezTo>
                  <a:cubicBezTo>
                    <a:pt x="2" y="13"/>
                    <a:pt x="1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6"/>
                    <a:pt x="2" y="16"/>
                    <a:pt x="2" y="17"/>
                  </a:cubicBezTo>
                  <a:cubicBezTo>
                    <a:pt x="4" y="18"/>
                    <a:pt x="5" y="18"/>
                    <a:pt x="5" y="19"/>
                  </a:cubicBezTo>
                  <a:cubicBezTo>
                    <a:pt x="5" y="21"/>
                    <a:pt x="6" y="24"/>
                    <a:pt x="6" y="25"/>
                  </a:cubicBezTo>
                  <a:cubicBezTo>
                    <a:pt x="7" y="26"/>
                    <a:pt x="7" y="27"/>
                    <a:pt x="8" y="28"/>
                  </a:cubicBezTo>
                  <a:cubicBezTo>
                    <a:pt x="9" y="29"/>
                    <a:pt x="9" y="29"/>
                    <a:pt x="8" y="30"/>
                  </a:cubicBezTo>
                  <a:cubicBezTo>
                    <a:pt x="8" y="30"/>
                    <a:pt x="7" y="32"/>
                    <a:pt x="8" y="32"/>
                  </a:cubicBezTo>
                  <a:cubicBezTo>
                    <a:pt x="9" y="33"/>
                    <a:pt x="9" y="32"/>
                    <a:pt x="10" y="32"/>
                  </a:cubicBezTo>
                  <a:cubicBezTo>
                    <a:pt x="11" y="32"/>
                    <a:pt x="11" y="32"/>
                    <a:pt x="11" y="33"/>
                  </a:cubicBezTo>
                  <a:cubicBezTo>
                    <a:pt x="12" y="34"/>
                    <a:pt x="12" y="35"/>
                    <a:pt x="13" y="34"/>
                  </a:cubicBezTo>
                  <a:cubicBezTo>
                    <a:pt x="13" y="34"/>
                    <a:pt x="14" y="33"/>
                    <a:pt x="14" y="33"/>
                  </a:cubicBezTo>
                  <a:cubicBezTo>
                    <a:pt x="15" y="34"/>
                    <a:pt x="15" y="36"/>
                    <a:pt x="16" y="35"/>
                  </a:cubicBezTo>
                  <a:cubicBezTo>
                    <a:pt x="16" y="34"/>
                    <a:pt x="17" y="34"/>
                    <a:pt x="16" y="32"/>
                  </a:cubicBezTo>
                  <a:cubicBezTo>
                    <a:pt x="15" y="31"/>
                    <a:pt x="16" y="31"/>
                    <a:pt x="15" y="29"/>
                  </a:cubicBezTo>
                  <a:cubicBezTo>
                    <a:pt x="14" y="28"/>
                    <a:pt x="15" y="29"/>
                    <a:pt x="16" y="29"/>
                  </a:cubicBezTo>
                  <a:cubicBezTo>
                    <a:pt x="17" y="29"/>
                    <a:pt x="20" y="30"/>
                    <a:pt x="19" y="28"/>
                  </a:cubicBezTo>
                  <a:cubicBezTo>
                    <a:pt x="17" y="27"/>
                    <a:pt x="17" y="27"/>
                    <a:pt x="16" y="26"/>
                  </a:cubicBezTo>
                  <a:cubicBezTo>
                    <a:pt x="16" y="25"/>
                    <a:pt x="16" y="26"/>
                    <a:pt x="17" y="25"/>
                  </a:cubicBezTo>
                  <a:cubicBezTo>
                    <a:pt x="18" y="25"/>
                    <a:pt x="18" y="25"/>
                    <a:pt x="19" y="25"/>
                  </a:cubicBezTo>
                  <a:cubicBezTo>
                    <a:pt x="20" y="26"/>
                    <a:pt x="20" y="27"/>
                    <a:pt x="21" y="27"/>
                  </a:cubicBezTo>
                  <a:cubicBezTo>
                    <a:pt x="21" y="26"/>
                    <a:pt x="21" y="26"/>
                    <a:pt x="21" y="25"/>
                  </a:cubicBezTo>
                  <a:cubicBezTo>
                    <a:pt x="21" y="25"/>
                    <a:pt x="20" y="24"/>
                    <a:pt x="21" y="24"/>
                  </a:cubicBezTo>
                  <a:cubicBezTo>
                    <a:pt x="23" y="25"/>
                    <a:pt x="24" y="26"/>
                    <a:pt x="24" y="25"/>
                  </a:cubicBezTo>
                  <a:cubicBezTo>
                    <a:pt x="24" y="25"/>
                    <a:pt x="24" y="25"/>
                    <a:pt x="22" y="23"/>
                  </a:cubicBezTo>
                  <a:cubicBezTo>
                    <a:pt x="21" y="21"/>
                    <a:pt x="23" y="22"/>
                    <a:pt x="20" y="21"/>
                  </a:cubicBezTo>
                  <a:cubicBezTo>
                    <a:pt x="18" y="20"/>
                    <a:pt x="17" y="19"/>
                    <a:pt x="17" y="18"/>
                  </a:cubicBezTo>
                  <a:cubicBezTo>
                    <a:pt x="17" y="17"/>
                    <a:pt x="18" y="18"/>
                    <a:pt x="17" y="17"/>
                  </a:cubicBezTo>
                  <a:cubicBezTo>
                    <a:pt x="16" y="16"/>
                    <a:pt x="14" y="14"/>
                    <a:pt x="13" y="12"/>
                  </a:cubicBezTo>
                  <a:cubicBezTo>
                    <a:pt x="13" y="11"/>
                    <a:pt x="13" y="10"/>
                    <a:pt x="14" y="9"/>
                  </a:cubicBezTo>
                  <a:cubicBezTo>
                    <a:pt x="15" y="9"/>
                    <a:pt x="16" y="10"/>
                    <a:pt x="17" y="11"/>
                  </a:cubicBezTo>
                  <a:cubicBezTo>
                    <a:pt x="18" y="12"/>
                    <a:pt x="18" y="13"/>
                    <a:pt x="18" y="12"/>
                  </a:cubicBezTo>
                  <a:cubicBezTo>
                    <a:pt x="18" y="11"/>
                    <a:pt x="18" y="11"/>
                    <a:pt x="19" y="11"/>
                  </a:cubicBezTo>
                  <a:cubicBezTo>
                    <a:pt x="20" y="11"/>
                    <a:pt x="21" y="12"/>
                    <a:pt x="21" y="12"/>
                  </a:cubicBezTo>
                  <a:cubicBezTo>
                    <a:pt x="20" y="11"/>
                    <a:pt x="19" y="10"/>
                    <a:pt x="20" y="10"/>
                  </a:cubicBezTo>
                  <a:cubicBezTo>
                    <a:pt x="22" y="11"/>
                    <a:pt x="24" y="12"/>
                    <a:pt x="23" y="11"/>
                  </a:cubicBezTo>
                  <a:cubicBezTo>
                    <a:pt x="22" y="10"/>
                    <a:pt x="19" y="9"/>
                    <a:pt x="20" y="8"/>
                  </a:cubicBezTo>
                  <a:cubicBezTo>
                    <a:pt x="22" y="6"/>
                    <a:pt x="22" y="7"/>
                    <a:pt x="23" y="7"/>
                  </a:cubicBezTo>
                  <a:cubicBezTo>
                    <a:pt x="24" y="6"/>
                    <a:pt x="25" y="5"/>
                    <a:pt x="25" y="6"/>
                  </a:cubicBezTo>
                  <a:cubicBezTo>
                    <a:pt x="24" y="7"/>
                    <a:pt x="24" y="9"/>
                    <a:pt x="24" y="8"/>
                  </a:cubicBezTo>
                  <a:cubicBezTo>
                    <a:pt x="25" y="7"/>
                    <a:pt x="26" y="6"/>
                    <a:pt x="28" y="6"/>
                  </a:cubicBezTo>
                  <a:cubicBezTo>
                    <a:pt x="30" y="6"/>
                    <a:pt x="30" y="7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4" y="5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37" name="Freeform 652">
              <a:extLst>
                <a:ext uri="{FF2B5EF4-FFF2-40B4-BE49-F238E27FC236}">
                  <a16:creationId xmlns:a16="http://schemas.microsoft.com/office/drawing/2014/main" id="{9C21ED14-5984-F2BF-DF1C-B9BDD399E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8371" y="3435372"/>
              <a:ext cx="55699" cy="36325"/>
            </a:xfrm>
            <a:custGeom>
              <a:avLst/>
              <a:gdLst>
                <a:gd name="T0" fmla="*/ 16 w 17"/>
                <a:gd name="T1" fmla="*/ 7 h 11"/>
                <a:gd name="T2" fmla="*/ 15 w 17"/>
                <a:gd name="T3" fmla="*/ 6 h 11"/>
                <a:gd name="T4" fmla="*/ 11 w 17"/>
                <a:gd name="T5" fmla="*/ 3 h 11"/>
                <a:gd name="T6" fmla="*/ 10 w 17"/>
                <a:gd name="T7" fmla="*/ 1 h 11"/>
                <a:gd name="T8" fmla="*/ 4 w 17"/>
                <a:gd name="T9" fmla="*/ 1 h 11"/>
                <a:gd name="T10" fmla="*/ 3 w 17"/>
                <a:gd name="T11" fmla="*/ 2 h 11"/>
                <a:gd name="T12" fmla="*/ 3 w 17"/>
                <a:gd name="T13" fmla="*/ 2 h 11"/>
                <a:gd name="T14" fmla="*/ 0 w 17"/>
                <a:gd name="T15" fmla="*/ 10 h 11"/>
                <a:gd name="T16" fmla="*/ 0 w 17"/>
                <a:gd name="T17" fmla="*/ 10 h 11"/>
                <a:gd name="T18" fmla="*/ 3 w 17"/>
                <a:gd name="T19" fmla="*/ 11 h 11"/>
                <a:gd name="T20" fmla="*/ 8 w 17"/>
                <a:gd name="T21" fmla="*/ 9 h 11"/>
                <a:gd name="T22" fmla="*/ 14 w 17"/>
                <a:gd name="T23" fmla="*/ 7 h 11"/>
                <a:gd name="T24" fmla="*/ 16 w 17"/>
                <a:gd name="T25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11">
                  <a:moveTo>
                    <a:pt x="16" y="7"/>
                  </a:moveTo>
                  <a:cubicBezTo>
                    <a:pt x="16" y="6"/>
                    <a:pt x="17" y="7"/>
                    <a:pt x="15" y="6"/>
                  </a:cubicBezTo>
                  <a:cubicBezTo>
                    <a:pt x="13" y="5"/>
                    <a:pt x="11" y="4"/>
                    <a:pt x="11" y="3"/>
                  </a:cubicBezTo>
                  <a:cubicBezTo>
                    <a:pt x="11" y="2"/>
                    <a:pt x="11" y="2"/>
                    <a:pt x="10" y="1"/>
                  </a:cubicBezTo>
                  <a:cubicBezTo>
                    <a:pt x="8" y="1"/>
                    <a:pt x="5" y="0"/>
                    <a:pt x="4" y="1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7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1"/>
                    <a:pt x="1" y="11"/>
                    <a:pt x="3" y="11"/>
                  </a:cubicBezTo>
                  <a:cubicBezTo>
                    <a:pt x="5" y="11"/>
                    <a:pt x="7" y="10"/>
                    <a:pt x="8" y="9"/>
                  </a:cubicBezTo>
                  <a:cubicBezTo>
                    <a:pt x="9" y="8"/>
                    <a:pt x="13" y="7"/>
                    <a:pt x="14" y="7"/>
                  </a:cubicBezTo>
                  <a:cubicBezTo>
                    <a:pt x="15" y="7"/>
                    <a:pt x="16" y="7"/>
                    <a:pt x="16" y="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38" name="Freeform 653">
              <a:extLst>
                <a:ext uri="{FF2B5EF4-FFF2-40B4-BE49-F238E27FC236}">
                  <a16:creationId xmlns:a16="http://schemas.microsoft.com/office/drawing/2014/main" id="{2B69A76D-38FC-A8A0-EEC8-0A8050BD1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2129" y="3425685"/>
              <a:ext cx="29061" cy="65386"/>
            </a:xfrm>
            <a:custGeom>
              <a:avLst/>
              <a:gdLst>
                <a:gd name="T0" fmla="*/ 7 w 9"/>
                <a:gd name="T1" fmla="*/ 17 h 20"/>
                <a:gd name="T2" fmla="*/ 9 w 9"/>
                <a:gd name="T3" fmla="*/ 12 h 20"/>
                <a:gd name="T4" fmla="*/ 7 w 9"/>
                <a:gd name="T5" fmla="*/ 4 h 20"/>
                <a:gd name="T6" fmla="*/ 2 w 9"/>
                <a:gd name="T7" fmla="*/ 0 h 20"/>
                <a:gd name="T8" fmla="*/ 0 w 9"/>
                <a:gd name="T9" fmla="*/ 5 h 20"/>
                <a:gd name="T10" fmla="*/ 0 w 9"/>
                <a:gd name="T11" fmla="*/ 5 h 20"/>
                <a:gd name="T12" fmla="*/ 1 w 9"/>
                <a:gd name="T13" fmla="*/ 6 h 20"/>
                <a:gd name="T14" fmla="*/ 1 w 9"/>
                <a:gd name="T15" fmla="*/ 13 h 20"/>
                <a:gd name="T16" fmla="*/ 2 w 9"/>
                <a:gd name="T17" fmla="*/ 17 h 20"/>
                <a:gd name="T18" fmla="*/ 4 w 9"/>
                <a:gd name="T19" fmla="*/ 18 h 20"/>
                <a:gd name="T20" fmla="*/ 4 w 9"/>
                <a:gd name="T21" fmla="*/ 20 h 20"/>
                <a:gd name="T22" fmla="*/ 4 w 9"/>
                <a:gd name="T23" fmla="*/ 20 h 20"/>
                <a:gd name="T24" fmla="*/ 7 w 9"/>
                <a:gd name="T25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20">
                  <a:moveTo>
                    <a:pt x="7" y="17"/>
                  </a:moveTo>
                  <a:cubicBezTo>
                    <a:pt x="8" y="15"/>
                    <a:pt x="9" y="13"/>
                    <a:pt x="9" y="12"/>
                  </a:cubicBezTo>
                  <a:cubicBezTo>
                    <a:pt x="4" y="10"/>
                    <a:pt x="7" y="4"/>
                    <a:pt x="7" y="4"/>
                  </a:cubicBezTo>
                  <a:cubicBezTo>
                    <a:pt x="7" y="4"/>
                    <a:pt x="4" y="0"/>
                    <a:pt x="2" y="0"/>
                  </a:cubicBezTo>
                  <a:cubicBezTo>
                    <a:pt x="1" y="0"/>
                    <a:pt x="1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7"/>
                    <a:pt x="0" y="11"/>
                    <a:pt x="1" y="13"/>
                  </a:cubicBezTo>
                  <a:cubicBezTo>
                    <a:pt x="1" y="15"/>
                    <a:pt x="1" y="16"/>
                    <a:pt x="2" y="17"/>
                  </a:cubicBezTo>
                  <a:cubicBezTo>
                    <a:pt x="3" y="17"/>
                    <a:pt x="3" y="17"/>
                    <a:pt x="4" y="18"/>
                  </a:cubicBezTo>
                  <a:cubicBezTo>
                    <a:pt x="4" y="19"/>
                    <a:pt x="4" y="19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5" y="19"/>
                    <a:pt x="6" y="18"/>
                    <a:pt x="7" y="1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39" name="Freeform 654">
              <a:extLst>
                <a:ext uri="{FF2B5EF4-FFF2-40B4-BE49-F238E27FC236}">
                  <a16:creationId xmlns:a16="http://schemas.microsoft.com/office/drawing/2014/main" id="{3342356F-67D8-6B31-51FF-50C297B0C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5449" y="3429318"/>
              <a:ext cx="48434" cy="35115"/>
            </a:xfrm>
            <a:custGeom>
              <a:avLst/>
              <a:gdLst>
                <a:gd name="T0" fmla="*/ 13 w 15"/>
                <a:gd name="T1" fmla="*/ 0 h 11"/>
                <a:gd name="T2" fmla="*/ 3 w 15"/>
                <a:gd name="T3" fmla="*/ 3 h 11"/>
                <a:gd name="T4" fmla="*/ 5 w 15"/>
                <a:gd name="T5" fmla="*/ 11 h 11"/>
                <a:gd name="T6" fmla="*/ 8 w 15"/>
                <a:gd name="T7" fmla="*/ 10 h 11"/>
                <a:gd name="T8" fmla="*/ 11 w 15"/>
                <a:gd name="T9" fmla="*/ 8 h 11"/>
                <a:gd name="T10" fmla="*/ 14 w 15"/>
                <a:gd name="T11" fmla="*/ 8 h 11"/>
                <a:gd name="T12" fmla="*/ 15 w 15"/>
                <a:gd name="T13" fmla="*/ 4 h 11"/>
                <a:gd name="T14" fmla="*/ 13 w 15"/>
                <a:gd name="T1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13" y="0"/>
                  </a:moveTo>
                  <a:cubicBezTo>
                    <a:pt x="13" y="0"/>
                    <a:pt x="6" y="2"/>
                    <a:pt x="3" y="3"/>
                  </a:cubicBezTo>
                  <a:cubicBezTo>
                    <a:pt x="3" y="3"/>
                    <a:pt x="0" y="9"/>
                    <a:pt x="5" y="11"/>
                  </a:cubicBezTo>
                  <a:cubicBezTo>
                    <a:pt x="6" y="10"/>
                    <a:pt x="6" y="10"/>
                    <a:pt x="8" y="10"/>
                  </a:cubicBezTo>
                  <a:cubicBezTo>
                    <a:pt x="10" y="10"/>
                    <a:pt x="10" y="9"/>
                    <a:pt x="11" y="8"/>
                  </a:cubicBezTo>
                  <a:cubicBezTo>
                    <a:pt x="12" y="7"/>
                    <a:pt x="12" y="9"/>
                    <a:pt x="14" y="8"/>
                  </a:cubicBezTo>
                  <a:cubicBezTo>
                    <a:pt x="15" y="8"/>
                    <a:pt x="15" y="6"/>
                    <a:pt x="15" y="4"/>
                  </a:cubicBezTo>
                  <a:cubicBezTo>
                    <a:pt x="15" y="3"/>
                    <a:pt x="14" y="2"/>
                    <a:pt x="13" y="0"/>
                  </a:cubicBezTo>
                  <a:close/>
                </a:path>
              </a:pathLst>
            </a:custGeom>
            <a:solidFill>
              <a:srgbClr val="F2F2F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82" name="Freeform 697">
              <a:extLst>
                <a:ext uri="{FF2B5EF4-FFF2-40B4-BE49-F238E27FC236}">
                  <a16:creationId xmlns:a16="http://schemas.microsoft.com/office/drawing/2014/main" id="{3DCD534A-899D-E42F-337B-465EDFE5B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2881" y="2742768"/>
              <a:ext cx="226430" cy="388682"/>
            </a:xfrm>
            <a:custGeom>
              <a:avLst/>
              <a:gdLst>
                <a:gd name="T0" fmla="*/ 68 w 70"/>
                <a:gd name="T1" fmla="*/ 23 h 120"/>
                <a:gd name="T2" fmla="*/ 68 w 70"/>
                <a:gd name="T3" fmla="*/ 17 h 120"/>
                <a:gd name="T4" fmla="*/ 65 w 70"/>
                <a:gd name="T5" fmla="*/ 9 h 120"/>
                <a:gd name="T6" fmla="*/ 51 w 70"/>
                <a:gd name="T7" fmla="*/ 0 h 120"/>
                <a:gd name="T8" fmla="*/ 48 w 70"/>
                <a:gd name="T9" fmla="*/ 1 h 120"/>
                <a:gd name="T10" fmla="*/ 47 w 70"/>
                <a:gd name="T11" fmla="*/ 7 h 120"/>
                <a:gd name="T12" fmla="*/ 38 w 70"/>
                <a:gd name="T13" fmla="*/ 10 h 120"/>
                <a:gd name="T14" fmla="*/ 29 w 70"/>
                <a:gd name="T15" fmla="*/ 14 h 120"/>
                <a:gd name="T16" fmla="*/ 28 w 70"/>
                <a:gd name="T17" fmla="*/ 20 h 120"/>
                <a:gd name="T18" fmla="*/ 21 w 70"/>
                <a:gd name="T19" fmla="*/ 28 h 120"/>
                <a:gd name="T20" fmla="*/ 16 w 70"/>
                <a:gd name="T21" fmla="*/ 40 h 120"/>
                <a:gd name="T22" fmla="*/ 16 w 70"/>
                <a:gd name="T23" fmla="*/ 46 h 120"/>
                <a:gd name="T24" fmla="*/ 7 w 70"/>
                <a:gd name="T25" fmla="*/ 50 h 120"/>
                <a:gd name="T26" fmla="*/ 6 w 70"/>
                <a:gd name="T27" fmla="*/ 59 h 120"/>
                <a:gd name="T28" fmla="*/ 6 w 70"/>
                <a:gd name="T29" fmla="*/ 68 h 120"/>
                <a:gd name="T30" fmla="*/ 9 w 70"/>
                <a:gd name="T31" fmla="*/ 73 h 120"/>
                <a:gd name="T32" fmla="*/ 7 w 70"/>
                <a:gd name="T33" fmla="*/ 82 h 120"/>
                <a:gd name="T34" fmla="*/ 3 w 70"/>
                <a:gd name="T35" fmla="*/ 91 h 120"/>
                <a:gd name="T36" fmla="*/ 0 w 70"/>
                <a:gd name="T37" fmla="*/ 91 h 120"/>
                <a:gd name="T38" fmla="*/ 4 w 70"/>
                <a:gd name="T39" fmla="*/ 97 h 120"/>
                <a:gd name="T40" fmla="*/ 7 w 70"/>
                <a:gd name="T41" fmla="*/ 107 h 120"/>
                <a:gd name="T42" fmla="*/ 9 w 70"/>
                <a:gd name="T43" fmla="*/ 113 h 120"/>
                <a:gd name="T44" fmla="*/ 12 w 70"/>
                <a:gd name="T45" fmla="*/ 119 h 120"/>
                <a:gd name="T46" fmla="*/ 18 w 70"/>
                <a:gd name="T47" fmla="*/ 114 h 120"/>
                <a:gd name="T48" fmla="*/ 25 w 70"/>
                <a:gd name="T49" fmla="*/ 113 h 120"/>
                <a:gd name="T50" fmla="*/ 29 w 70"/>
                <a:gd name="T51" fmla="*/ 100 h 120"/>
                <a:gd name="T52" fmla="*/ 29 w 70"/>
                <a:gd name="T53" fmla="*/ 94 h 120"/>
                <a:gd name="T54" fmla="*/ 35 w 70"/>
                <a:gd name="T55" fmla="*/ 90 h 120"/>
                <a:gd name="T56" fmla="*/ 38 w 70"/>
                <a:gd name="T57" fmla="*/ 87 h 120"/>
                <a:gd name="T58" fmla="*/ 41 w 70"/>
                <a:gd name="T59" fmla="*/ 83 h 120"/>
                <a:gd name="T60" fmla="*/ 32 w 70"/>
                <a:gd name="T61" fmla="*/ 74 h 120"/>
                <a:gd name="T62" fmla="*/ 34 w 70"/>
                <a:gd name="T63" fmla="*/ 63 h 120"/>
                <a:gd name="T64" fmla="*/ 38 w 70"/>
                <a:gd name="T65" fmla="*/ 57 h 120"/>
                <a:gd name="T66" fmla="*/ 49 w 70"/>
                <a:gd name="T67" fmla="*/ 49 h 120"/>
                <a:gd name="T68" fmla="*/ 55 w 70"/>
                <a:gd name="T69" fmla="*/ 43 h 120"/>
                <a:gd name="T70" fmla="*/ 54 w 70"/>
                <a:gd name="T71" fmla="*/ 39 h 120"/>
                <a:gd name="T72" fmla="*/ 57 w 70"/>
                <a:gd name="T73" fmla="*/ 34 h 120"/>
                <a:gd name="T74" fmla="*/ 64 w 70"/>
                <a:gd name="T75" fmla="*/ 31 h 120"/>
                <a:gd name="T76" fmla="*/ 69 w 70"/>
                <a:gd name="T77" fmla="*/ 31 h 120"/>
                <a:gd name="T78" fmla="*/ 67 w 70"/>
                <a:gd name="T79" fmla="*/ 2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0" h="120">
                  <a:moveTo>
                    <a:pt x="67" y="28"/>
                  </a:moveTo>
                  <a:cubicBezTo>
                    <a:pt x="67" y="27"/>
                    <a:pt x="68" y="24"/>
                    <a:pt x="68" y="23"/>
                  </a:cubicBezTo>
                  <a:cubicBezTo>
                    <a:pt x="69" y="23"/>
                    <a:pt x="68" y="21"/>
                    <a:pt x="67" y="20"/>
                  </a:cubicBezTo>
                  <a:cubicBezTo>
                    <a:pt x="67" y="19"/>
                    <a:pt x="67" y="18"/>
                    <a:pt x="68" y="17"/>
                  </a:cubicBezTo>
                  <a:cubicBezTo>
                    <a:pt x="68" y="15"/>
                    <a:pt x="65" y="14"/>
                    <a:pt x="66" y="13"/>
                  </a:cubicBezTo>
                  <a:cubicBezTo>
                    <a:pt x="67" y="12"/>
                    <a:pt x="66" y="11"/>
                    <a:pt x="65" y="9"/>
                  </a:cubicBezTo>
                  <a:cubicBezTo>
                    <a:pt x="64" y="7"/>
                    <a:pt x="60" y="6"/>
                    <a:pt x="59" y="6"/>
                  </a:cubicBezTo>
                  <a:cubicBezTo>
                    <a:pt x="58" y="6"/>
                    <a:pt x="53" y="2"/>
                    <a:pt x="51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0" y="0"/>
                    <a:pt x="48" y="1"/>
                    <a:pt x="48" y="1"/>
                  </a:cubicBezTo>
                  <a:cubicBezTo>
                    <a:pt x="48" y="1"/>
                    <a:pt x="48" y="3"/>
                    <a:pt x="48" y="4"/>
                  </a:cubicBezTo>
                  <a:cubicBezTo>
                    <a:pt x="48" y="5"/>
                    <a:pt x="48" y="7"/>
                    <a:pt x="47" y="7"/>
                  </a:cubicBezTo>
                  <a:cubicBezTo>
                    <a:pt x="46" y="7"/>
                    <a:pt x="38" y="5"/>
                    <a:pt x="38" y="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3" y="10"/>
                    <a:pt x="32" y="10"/>
                  </a:cubicBezTo>
                  <a:cubicBezTo>
                    <a:pt x="31" y="11"/>
                    <a:pt x="30" y="13"/>
                    <a:pt x="29" y="14"/>
                  </a:cubicBezTo>
                  <a:cubicBezTo>
                    <a:pt x="28" y="15"/>
                    <a:pt x="27" y="16"/>
                    <a:pt x="27" y="17"/>
                  </a:cubicBezTo>
                  <a:cubicBezTo>
                    <a:pt x="27" y="18"/>
                    <a:pt x="28" y="20"/>
                    <a:pt x="28" y="20"/>
                  </a:cubicBezTo>
                  <a:cubicBezTo>
                    <a:pt x="27" y="20"/>
                    <a:pt x="23" y="24"/>
                    <a:pt x="22" y="26"/>
                  </a:cubicBezTo>
                  <a:cubicBezTo>
                    <a:pt x="22" y="27"/>
                    <a:pt x="23" y="28"/>
                    <a:pt x="21" y="28"/>
                  </a:cubicBezTo>
                  <a:cubicBezTo>
                    <a:pt x="19" y="28"/>
                    <a:pt x="19" y="30"/>
                    <a:pt x="19" y="30"/>
                  </a:cubicBezTo>
                  <a:cubicBezTo>
                    <a:pt x="19" y="31"/>
                    <a:pt x="18" y="38"/>
                    <a:pt x="16" y="40"/>
                  </a:cubicBezTo>
                  <a:cubicBezTo>
                    <a:pt x="14" y="41"/>
                    <a:pt x="14" y="42"/>
                    <a:pt x="14" y="42"/>
                  </a:cubicBezTo>
                  <a:cubicBezTo>
                    <a:pt x="14" y="43"/>
                    <a:pt x="17" y="45"/>
                    <a:pt x="16" y="46"/>
                  </a:cubicBezTo>
                  <a:cubicBezTo>
                    <a:pt x="15" y="47"/>
                    <a:pt x="15" y="48"/>
                    <a:pt x="14" y="47"/>
                  </a:cubicBezTo>
                  <a:cubicBezTo>
                    <a:pt x="12" y="47"/>
                    <a:pt x="9" y="48"/>
                    <a:pt x="7" y="50"/>
                  </a:cubicBezTo>
                  <a:cubicBezTo>
                    <a:pt x="6" y="51"/>
                    <a:pt x="5" y="52"/>
                    <a:pt x="5" y="55"/>
                  </a:cubicBezTo>
                  <a:cubicBezTo>
                    <a:pt x="6" y="57"/>
                    <a:pt x="6" y="58"/>
                    <a:pt x="6" y="59"/>
                  </a:cubicBezTo>
                  <a:cubicBezTo>
                    <a:pt x="6" y="59"/>
                    <a:pt x="7" y="62"/>
                    <a:pt x="7" y="64"/>
                  </a:cubicBezTo>
                  <a:cubicBezTo>
                    <a:pt x="6" y="65"/>
                    <a:pt x="5" y="67"/>
                    <a:pt x="6" y="68"/>
                  </a:cubicBezTo>
                  <a:cubicBezTo>
                    <a:pt x="6" y="69"/>
                    <a:pt x="8" y="70"/>
                    <a:pt x="9" y="70"/>
                  </a:cubicBezTo>
                  <a:cubicBezTo>
                    <a:pt x="10" y="71"/>
                    <a:pt x="10" y="73"/>
                    <a:pt x="9" y="73"/>
                  </a:cubicBezTo>
                  <a:cubicBezTo>
                    <a:pt x="7" y="74"/>
                    <a:pt x="7" y="75"/>
                    <a:pt x="7" y="77"/>
                  </a:cubicBezTo>
                  <a:cubicBezTo>
                    <a:pt x="8" y="78"/>
                    <a:pt x="8" y="82"/>
                    <a:pt x="7" y="82"/>
                  </a:cubicBezTo>
                  <a:cubicBezTo>
                    <a:pt x="7" y="83"/>
                    <a:pt x="5" y="84"/>
                    <a:pt x="4" y="85"/>
                  </a:cubicBezTo>
                  <a:cubicBezTo>
                    <a:pt x="4" y="87"/>
                    <a:pt x="3" y="92"/>
                    <a:pt x="3" y="91"/>
                  </a:cubicBezTo>
                  <a:cubicBezTo>
                    <a:pt x="2" y="91"/>
                    <a:pt x="1" y="90"/>
                    <a:pt x="0" y="91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1" y="92"/>
                    <a:pt x="1" y="92"/>
                    <a:pt x="1" y="93"/>
                  </a:cubicBezTo>
                  <a:cubicBezTo>
                    <a:pt x="1" y="95"/>
                    <a:pt x="4" y="96"/>
                    <a:pt x="4" y="97"/>
                  </a:cubicBezTo>
                  <a:cubicBezTo>
                    <a:pt x="4" y="98"/>
                    <a:pt x="3" y="99"/>
                    <a:pt x="4" y="100"/>
                  </a:cubicBezTo>
                  <a:cubicBezTo>
                    <a:pt x="4" y="101"/>
                    <a:pt x="6" y="106"/>
                    <a:pt x="7" y="107"/>
                  </a:cubicBezTo>
                  <a:cubicBezTo>
                    <a:pt x="8" y="108"/>
                    <a:pt x="10" y="109"/>
                    <a:pt x="9" y="110"/>
                  </a:cubicBezTo>
                  <a:cubicBezTo>
                    <a:pt x="9" y="111"/>
                    <a:pt x="9" y="112"/>
                    <a:pt x="9" y="113"/>
                  </a:cubicBezTo>
                  <a:cubicBezTo>
                    <a:pt x="9" y="114"/>
                    <a:pt x="10" y="115"/>
                    <a:pt x="10" y="117"/>
                  </a:cubicBezTo>
                  <a:cubicBezTo>
                    <a:pt x="11" y="118"/>
                    <a:pt x="9" y="119"/>
                    <a:pt x="12" y="119"/>
                  </a:cubicBezTo>
                  <a:cubicBezTo>
                    <a:pt x="14" y="119"/>
                    <a:pt x="17" y="120"/>
                    <a:pt x="17" y="118"/>
                  </a:cubicBezTo>
                  <a:cubicBezTo>
                    <a:pt x="16" y="116"/>
                    <a:pt x="16" y="114"/>
                    <a:pt x="18" y="114"/>
                  </a:cubicBezTo>
                  <a:cubicBezTo>
                    <a:pt x="20" y="114"/>
                    <a:pt x="20" y="113"/>
                    <a:pt x="21" y="113"/>
                  </a:cubicBezTo>
                  <a:cubicBezTo>
                    <a:pt x="23" y="113"/>
                    <a:pt x="24" y="114"/>
                    <a:pt x="25" y="113"/>
                  </a:cubicBezTo>
                  <a:cubicBezTo>
                    <a:pt x="26" y="112"/>
                    <a:pt x="26" y="111"/>
                    <a:pt x="27" y="110"/>
                  </a:cubicBezTo>
                  <a:cubicBezTo>
                    <a:pt x="28" y="109"/>
                    <a:pt x="29" y="102"/>
                    <a:pt x="29" y="100"/>
                  </a:cubicBezTo>
                  <a:cubicBezTo>
                    <a:pt x="29" y="98"/>
                    <a:pt x="30" y="97"/>
                    <a:pt x="29" y="96"/>
                  </a:cubicBezTo>
                  <a:cubicBezTo>
                    <a:pt x="29" y="95"/>
                    <a:pt x="28" y="94"/>
                    <a:pt x="29" y="94"/>
                  </a:cubicBezTo>
                  <a:cubicBezTo>
                    <a:pt x="31" y="94"/>
                    <a:pt x="34" y="92"/>
                    <a:pt x="35" y="91"/>
                  </a:cubicBezTo>
                  <a:cubicBezTo>
                    <a:pt x="36" y="90"/>
                    <a:pt x="35" y="90"/>
                    <a:pt x="35" y="90"/>
                  </a:cubicBezTo>
                  <a:cubicBezTo>
                    <a:pt x="35" y="89"/>
                    <a:pt x="36" y="90"/>
                    <a:pt x="37" y="89"/>
                  </a:cubicBezTo>
                  <a:cubicBezTo>
                    <a:pt x="38" y="89"/>
                    <a:pt x="39" y="88"/>
                    <a:pt x="38" y="87"/>
                  </a:cubicBezTo>
                  <a:cubicBezTo>
                    <a:pt x="38" y="87"/>
                    <a:pt x="37" y="87"/>
                    <a:pt x="38" y="86"/>
                  </a:cubicBezTo>
                  <a:cubicBezTo>
                    <a:pt x="40" y="85"/>
                    <a:pt x="42" y="84"/>
                    <a:pt x="41" y="83"/>
                  </a:cubicBezTo>
                  <a:cubicBezTo>
                    <a:pt x="40" y="81"/>
                    <a:pt x="37" y="78"/>
                    <a:pt x="35" y="77"/>
                  </a:cubicBezTo>
                  <a:cubicBezTo>
                    <a:pt x="33" y="76"/>
                    <a:pt x="32" y="76"/>
                    <a:pt x="32" y="74"/>
                  </a:cubicBezTo>
                  <a:cubicBezTo>
                    <a:pt x="32" y="73"/>
                    <a:pt x="32" y="68"/>
                    <a:pt x="33" y="66"/>
                  </a:cubicBezTo>
                  <a:cubicBezTo>
                    <a:pt x="34" y="63"/>
                    <a:pt x="35" y="63"/>
                    <a:pt x="34" y="63"/>
                  </a:cubicBezTo>
                  <a:cubicBezTo>
                    <a:pt x="32" y="62"/>
                    <a:pt x="32" y="62"/>
                    <a:pt x="33" y="61"/>
                  </a:cubicBezTo>
                  <a:cubicBezTo>
                    <a:pt x="35" y="60"/>
                    <a:pt x="36" y="59"/>
                    <a:pt x="38" y="57"/>
                  </a:cubicBezTo>
                  <a:cubicBezTo>
                    <a:pt x="39" y="55"/>
                    <a:pt x="40" y="54"/>
                    <a:pt x="42" y="53"/>
                  </a:cubicBezTo>
                  <a:cubicBezTo>
                    <a:pt x="44" y="52"/>
                    <a:pt x="47" y="51"/>
                    <a:pt x="49" y="49"/>
                  </a:cubicBezTo>
                  <a:cubicBezTo>
                    <a:pt x="50" y="48"/>
                    <a:pt x="51" y="48"/>
                    <a:pt x="53" y="47"/>
                  </a:cubicBezTo>
                  <a:cubicBezTo>
                    <a:pt x="54" y="46"/>
                    <a:pt x="55" y="44"/>
                    <a:pt x="55" y="43"/>
                  </a:cubicBezTo>
                  <a:cubicBezTo>
                    <a:pt x="55" y="43"/>
                    <a:pt x="55" y="43"/>
                    <a:pt x="53" y="41"/>
                  </a:cubicBezTo>
                  <a:cubicBezTo>
                    <a:pt x="52" y="40"/>
                    <a:pt x="53" y="39"/>
                    <a:pt x="54" y="39"/>
                  </a:cubicBezTo>
                  <a:cubicBezTo>
                    <a:pt x="54" y="38"/>
                    <a:pt x="58" y="38"/>
                    <a:pt x="57" y="36"/>
                  </a:cubicBezTo>
                  <a:cubicBezTo>
                    <a:pt x="56" y="35"/>
                    <a:pt x="55" y="35"/>
                    <a:pt x="57" y="34"/>
                  </a:cubicBezTo>
                  <a:cubicBezTo>
                    <a:pt x="60" y="33"/>
                    <a:pt x="60" y="32"/>
                    <a:pt x="61" y="31"/>
                  </a:cubicBezTo>
                  <a:cubicBezTo>
                    <a:pt x="63" y="30"/>
                    <a:pt x="63" y="30"/>
                    <a:pt x="64" y="31"/>
                  </a:cubicBezTo>
                  <a:cubicBezTo>
                    <a:pt x="65" y="32"/>
                    <a:pt x="65" y="32"/>
                    <a:pt x="66" y="31"/>
                  </a:cubicBezTo>
                  <a:cubicBezTo>
                    <a:pt x="67" y="30"/>
                    <a:pt x="67" y="30"/>
                    <a:pt x="69" y="31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69" y="29"/>
                    <a:pt x="68" y="28"/>
                    <a:pt x="67" y="28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83" name="Freeform 698">
              <a:extLst>
                <a:ext uri="{FF2B5EF4-FFF2-40B4-BE49-F238E27FC236}">
                  <a16:creationId xmlns:a16="http://schemas.microsoft.com/office/drawing/2014/main" id="{E2BBEEA8-AF08-F7B5-BD5B-6F96C925D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7557" y="2710075"/>
              <a:ext cx="194948" cy="301501"/>
            </a:xfrm>
            <a:custGeom>
              <a:avLst/>
              <a:gdLst>
                <a:gd name="T0" fmla="*/ 51 w 60"/>
                <a:gd name="T1" fmla="*/ 59 h 93"/>
                <a:gd name="T2" fmla="*/ 51 w 60"/>
                <a:gd name="T3" fmla="*/ 53 h 93"/>
                <a:gd name="T4" fmla="*/ 51 w 60"/>
                <a:gd name="T5" fmla="*/ 47 h 93"/>
                <a:gd name="T6" fmla="*/ 50 w 60"/>
                <a:gd name="T7" fmla="*/ 39 h 93"/>
                <a:gd name="T8" fmla="*/ 50 w 60"/>
                <a:gd name="T9" fmla="*/ 24 h 93"/>
                <a:gd name="T10" fmla="*/ 41 w 60"/>
                <a:gd name="T11" fmla="*/ 16 h 93"/>
                <a:gd name="T12" fmla="*/ 43 w 60"/>
                <a:gd name="T13" fmla="*/ 11 h 93"/>
                <a:gd name="T14" fmla="*/ 47 w 60"/>
                <a:gd name="T15" fmla="*/ 8 h 93"/>
                <a:gd name="T16" fmla="*/ 41 w 60"/>
                <a:gd name="T17" fmla="*/ 2 h 93"/>
                <a:gd name="T18" fmla="*/ 36 w 60"/>
                <a:gd name="T19" fmla="*/ 1 h 93"/>
                <a:gd name="T20" fmla="*/ 28 w 60"/>
                <a:gd name="T21" fmla="*/ 8 h 93"/>
                <a:gd name="T22" fmla="*/ 25 w 60"/>
                <a:gd name="T23" fmla="*/ 13 h 93"/>
                <a:gd name="T24" fmla="*/ 18 w 60"/>
                <a:gd name="T25" fmla="*/ 13 h 93"/>
                <a:gd name="T26" fmla="*/ 9 w 60"/>
                <a:gd name="T27" fmla="*/ 13 h 93"/>
                <a:gd name="T28" fmla="*/ 0 w 60"/>
                <a:gd name="T29" fmla="*/ 10 h 93"/>
                <a:gd name="T30" fmla="*/ 0 w 60"/>
                <a:gd name="T31" fmla="*/ 10 h 93"/>
                <a:gd name="T32" fmla="*/ 14 w 60"/>
                <a:gd name="T33" fmla="*/ 19 h 93"/>
                <a:gd name="T34" fmla="*/ 17 w 60"/>
                <a:gd name="T35" fmla="*/ 27 h 93"/>
                <a:gd name="T36" fmla="*/ 17 w 60"/>
                <a:gd name="T37" fmla="*/ 33 h 93"/>
                <a:gd name="T38" fmla="*/ 19 w 60"/>
                <a:gd name="T39" fmla="*/ 41 h 93"/>
                <a:gd name="T40" fmla="*/ 24 w 60"/>
                <a:gd name="T41" fmla="*/ 43 h 93"/>
                <a:gd name="T42" fmla="*/ 25 w 60"/>
                <a:gd name="T43" fmla="*/ 49 h 93"/>
                <a:gd name="T44" fmla="*/ 22 w 60"/>
                <a:gd name="T45" fmla="*/ 50 h 93"/>
                <a:gd name="T46" fmla="*/ 16 w 60"/>
                <a:gd name="T47" fmla="*/ 57 h 93"/>
                <a:gd name="T48" fmla="*/ 9 w 60"/>
                <a:gd name="T49" fmla="*/ 62 h 93"/>
                <a:gd name="T50" fmla="*/ 4 w 60"/>
                <a:gd name="T51" fmla="*/ 66 h 93"/>
                <a:gd name="T52" fmla="*/ 3 w 60"/>
                <a:gd name="T53" fmla="*/ 74 h 93"/>
                <a:gd name="T54" fmla="*/ 4 w 60"/>
                <a:gd name="T55" fmla="*/ 85 h 93"/>
                <a:gd name="T56" fmla="*/ 7 w 60"/>
                <a:gd name="T57" fmla="*/ 89 h 93"/>
                <a:gd name="T58" fmla="*/ 9 w 60"/>
                <a:gd name="T59" fmla="*/ 88 h 93"/>
                <a:gd name="T60" fmla="*/ 10 w 60"/>
                <a:gd name="T61" fmla="*/ 92 h 93"/>
                <a:gd name="T62" fmla="*/ 13 w 60"/>
                <a:gd name="T63" fmla="*/ 92 h 93"/>
                <a:gd name="T64" fmla="*/ 30 w 60"/>
                <a:gd name="T65" fmla="*/ 88 h 93"/>
                <a:gd name="T66" fmla="*/ 44 w 60"/>
                <a:gd name="T67" fmla="*/ 83 h 93"/>
                <a:gd name="T68" fmla="*/ 59 w 60"/>
                <a:gd name="T69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93">
                  <a:moveTo>
                    <a:pt x="59" y="66"/>
                  </a:moveTo>
                  <a:cubicBezTo>
                    <a:pt x="57" y="63"/>
                    <a:pt x="48" y="61"/>
                    <a:pt x="51" y="59"/>
                  </a:cubicBezTo>
                  <a:cubicBezTo>
                    <a:pt x="53" y="57"/>
                    <a:pt x="55" y="58"/>
                    <a:pt x="54" y="56"/>
                  </a:cubicBezTo>
                  <a:cubicBezTo>
                    <a:pt x="52" y="55"/>
                    <a:pt x="51" y="54"/>
                    <a:pt x="51" y="53"/>
                  </a:cubicBezTo>
                  <a:cubicBezTo>
                    <a:pt x="51" y="52"/>
                    <a:pt x="50" y="51"/>
                    <a:pt x="49" y="50"/>
                  </a:cubicBezTo>
                  <a:cubicBezTo>
                    <a:pt x="48" y="49"/>
                    <a:pt x="52" y="49"/>
                    <a:pt x="51" y="47"/>
                  </a:cubicBezTo>
                  <a:cubicBezTo>
                    <a:pt x="50" y="46"/>
                    <a:pt x="48" y="43"/>
                    <a:pt x="49" y="42"/>
                  </a:cubicBezTo>
                  <a:cubicBezTo>
                    <a:pt x="49" y="41"/>
                    <a:pt x="51" y="41"/>
                    <a:pt x="50" y="39"/>
                  </a:cubicBezTo>
                  <a:cubicBezTo>
                    <a:pt x="49" y="37"/>
                    <a:pt x="45" y="33"/>
                    <a:pt x="46" y="31"/>
                  </a:cubicBezTo>
                  <a:cubicBezTo>
                    <a:pt x="47" y="28"/>
                    <a:pt x="52" y="25"/>
                    <a:pt x="50" y="24"/>
                  </a:cubicBezTo>
                  <a:cubicBezTo>
                    <a:pt x="48" y="22"/>
                    <a:pt x="48" y="20"/>
                    <a:pt x="46" y="20"/>
                  </a:cubicBezTo>
                  <a:cubicBezTo>
                    <a:pt x="45" y="19"/>
                    <a:pt x="41" y="17"/>
                    <a:pt x="41" y="16"/>
                  </a:cubicBezTo>
                  <a:cubicBezTo>
                    <a:pt x="41" y="14"/>
                    <a:pt x="45" y="14"/>
                    <a:pt x="43" y="13"/>
                  </a:cubicBezTo>
                  <a:cubicBezTo>
                    <a:pt x="42" y="12"/>
                    <a:pt x="42" y="11"/>
                    <a:pt x="43" y="11"/>
                  </a:cubicBezTo>
                  <a:cubicBezTo>
                    <a:pt x="44" y="11"/>
                    <a:pt x="46" y="10"/>
                    <a:pt x="46" y="9"/>
                  </a:cubicBezTo>
                  <a:cubicBezTo>
                    <a:pt x="46" y="8"/>
                    <a:pt x="47" y="8"/>
                    <a:pt x="47" y="8"/>
                  </a:cubicBezTo>
                  <a:cubicBezTo>
                    <a:pt x="47" y="7"/>
                    <a:pt x="47" y="5"/>
                    <a:pt x="46" y="5"/>
                  </a:cubicBezTo>
                  <a:cubicBezTo>
                    <a:pt x="45" y="3"/>
                    <a:pt x="42" y="3"/>
                    <a:pt x="41" y="2"/>
                  </a:cubicBezTo>
                  <a:cubicBezTo>
                    <a:pt x="40" y="1"/>
                    <a:pt x="39" y="0"/>
                    <a:pt x="38" y="0"/>
                  </a:cubicBezTo>
                  <a:cubicBezTo>
                    <a:pt x="38" y="0"/>
                    <a:pt x="37" y="1"/>
                    <a:pt x="36" y="1"/>
                  </a:cubicBezTo>
                  <a:cubicBezTo>
                    <a:pt x="35" y="1"/>
                    <a:pt x="32" y="1"/>
                    <a:pt x="32" y="2"/>
                  </a:cubicBezTo>
                  <a:cubicBezTo>
                    <a:pt x="31" y="4"/>
                    <a:pt x="28" y="5"/>
                    <a:pt x="28" y="8"/>
                  </a:cubicBezTo>
                  <a:cubicBezTo>
                    <a:pt x="27" y="10"/>
                    <a:pt x="28" y="12"/>
                    <a:pt x="27" y="12"/>
                  </a:cubicBezTo>
                  <a:cubicBezTo>
                    <a:pt x="26" y="12"/>
                    <a:pt x="26" y="12"/>
                    <a:pt x="25" y="13"/>
                  </a:cubicBezTo>
                  <a:cubicBezTo>
                    <a:pt x="24" y="14"/>
                    <a:pt x="24" y="15"/>
                    <a:pt x="22" y="14"/>
                  </a:cubicBezTo>
                  <a:cubicBezTo>
                    <a:pt x="21" y="14"/>
                    <a:pt x="19" y="12"/>
                    <a:pt x="18" y="13"/>
                  </a:cubicBezTo>
                  <a:cubicBezTo>
                    <a:pt x="17" y="13"/>
                    <a:pt x="15" y="14"/>
                    <a:pt x="14" y="14"/>
                  </a:cubicBezTo>
                  <a:cubicBezTo>
                    <a:pt x="14" y="14"/>
                    <a:pt x="10" y="14"/>
                    <a:pt x="9" y="13"/>
                  </a:cubicBezTo>
                  <a:cubicBezTo>
                    <a:pt x="8" y="12"/>
                    <a:pt x="6" y="8"/>
                    <a:pt x="4" y="8"/>
                  </a:cubicBezTo>
                  <a:cubicBezTo>
                    <a:pt x="3" y="8"/>
                    <a:pt x="1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2"/>
                    <a:pt x="7" y="16"/>
                    <a:pt x="8" y="16"/>
                  </a:cubicBezTo>
                  <a:cubicBezTo>
                    <a:pt x="9" y="16"/>
                    <a:pt x="13" y="17"/>
                    <a:pt x="14" y="19"/>
                  </a:cubicBezTo>
                  <a:cubicBezTo>
                    <a:pt x="15" y="21"/>
                    <a:pt x="16" y="22"/>
                    <a:pt x="15" y="23"/>
                  </a:cubicBezTo>
                  <a:cubicBezTo>
                    <a:pt x="14" y="24"/>
                    <a:pt x="17" y="25"/>
                    <a:pt x="17" y="27"/>
                  </a:cubicBezTo>
                  <a:cubicBezTo>
                    <a:pt x="16" y="28"/>
                    <a:pt x="16" y="29"/>
                    <a:pt x="16" y="30"/>
                  </a:cubicBezTo>
                  <a:cubicBezTo>
                    <a:pt x="17" y="31"/>
                    <a:pt x="18" y="33"/>
                    <a:pt x="17" y="33"/>
                  </a:cubicBezTo>
                  <a:cubicBezTo>
                    <a:pt x="17" y="34"/>
                    <a:pt x="16" y="37"/>
                    <a:pt x="16" y="38"/>
                  </a:cubicBezTo>
                  <a:cubicBezTo>
                    <a:pt x="17" y="38"/>
                    <a:pt x="18" y="39"/>
                    <a:pt x="19" y="41"/>
                  </a:cubicBezTo>
                  <a:cubicBezTo>
                    <a:pt x="19" y="41"/>
                    <a:pt x="19" y="41"/>
                    <a:pt x="18" y="41"/>
                  </a:cubicBezTo>
                  <a:cubicBezTo>
                    <a:pt x="21" y="42"/>
                    <a:pt x="23" y="43"/>
                    <a:pt x="24" y="43"/>
                  </a:cubicBezTo>
                  <a:cubicBezTo>
                    <a:pt x="25" y="44"/>
                    <a:pt x="23" y="47"/>
                    <a:pt x="25" y="47"/>
                  </a:cubicBezTo>
                  <a:cubicBezTo>
                    <a:pt x="26" y="48"/>
                    <a:pt x="26" y="49"/>
                    <a:pt x="25" y="49"/>
                  </a:cubicBezTo>
                  <a:cubicBezTo>
                    <a:pt x="24" y="49"/>
                    <a:pt x="23" y="50"/>
                    <a:pt x="23" y="49"/>
                  </a:cubicBezTo>
                  <a:cubicBezTo>
                    <a:pt x="23" y="49"/>
                    <a:pt x="22" y="49"/>
                    <a:pt x="22" y="50"/>
                  </a:cubicBezTo>
                  <a:cubicBezTo>
                    <a:pt x="21" y="50"/>
                    <a:pt x="20" y="52"/>
                    <a:pt x="19" y="53"/>
                  </a:cubicBezTo>
                  <a:cubicBezTo>
                    <a:pt x="18" y="54"/>
                    <a:pt x="17" y="56"/>
                    <a:pt x="16" y="57"/>
                  </a:cubicBezTo>
                  <a:cubicBezTo>
                    <a:pt x="14" y="57"/>
                    <a:pt x="14" y="57"/>
                    <a:pt x="13" y="58"/>
                  </a:cubicBezTo>
                  <a:cubicBezTo>
                    <a:pt x="13" y="59"/>
                    <a:pt x="10" y="61"/>
                    <a:pt x="9" y="62"/>
                  </a:cubicBezTo>
                  <a:cubicBezTo>
                    <a:pt x="8" y="63"/>
                    <a:pt x="7" y="64"/>
                    <a:pt x="5" y="64"/>
                  </a:cubicBezTo>
                  <a:cubicBezTo>
                    <a:pt x="3" y="64"/>
                    <a:pt x="5" y="64"/>
                    <a:pt x="4" y="66"/>
                  </a:cubicBezTo>
                  <a:cubicBezTo>
                    <a:pt x="3" y="67"/>
                    <a:pt x="2" y="67"/>
                    <a:pt x="3" y="70"/>
                  </a:cubicBezTo>
                  <a:cubicBezTo>
                    <a:pt x="3" y="73"/>
                    <a:pt x="2" y="73"/>
                    <a:pt x="3" y="74"/>
                  </a:cubicBezTo>
                  <a:cubicBezTo>
                    <a:pt x="4" y="76"/>
                    <a:pt x="5" y="74"/>
                    <a:pt x="5" y="77"/>
                  </a:cubicBezTo>
                  <a:cubicBezTo>
                    <a:pt x="5" y="79"/>
                    <a:pt x="5" y="83"/>
                    <a:pt x="4" y="85"/>
                  </a:cubicBezTo>
                  <a:cubicBezTo>
                    <a:pt x="4" y="87"/>
                    <a:pt x="3" y="86"/>
                    <a:pt x="5" y="87"/>
                  </a:cubicBezTo>
                  <a:cubicBezTo>
                    <a:pt x="7" y="88"/>
                    <a:pt x="8" y="88"/>
                    <a:pt x="7" y="89"/>
                  </a:cubicBezTo>
                  <a:cubicBezTo>
                    <a:pt x="7" y="89"/>
                    <a:pt x="4" y="92"/>
                    <a:pt x="6" y="91"/>
                  </a:cubicBezTo>
                  <a:cubicBezTo>
                    <a:pt x="8" y="90"/>
                    <a:pt x="9" y="87"/>
                    <a:pt x="9" y="88"/>
                  </a:cubicBezTo>
                  <a:cubicBezTo>
                    <a:pt x="10" y="89"/>
                    <a:pt x="10" y="90"/>
                    <a:pt x="9" y="91"/>
                  </a:cubicBezTo>
                  <a:cubicBezTo>
                    <a:pt x="9" y="92"/>
                    <a:pt x="8" y="93"/>
                    <a:pt x="10" y="92"/>
                  </a:cubicBezTo>
                  <a:cubicBezTo>
                    <a:pt x="12" y="90"/>
                    <a:pt x="12" y="89"/>
                    <a:pt x="13" y="90"/>
                  </a:cubicBezTo>
                  <a:cubicBezTo>
                    <a:pt x="13" y="92"/>
                    <a:pt x="11" y="93"/>
                    <a:pt x="13" y="92"/>
                  </a:cubicBezTo>
                  <a:cubicBezTo>
                    <a:pt x="15" y="92"/>
                    <a:pt x="18" y="92"/>
                    <a:pt x="20" y="91"/>
                  </a:cubicBezTo>
                  <a:cubicBezTo>
                    <a:pt x="22" y="90"/>
                    <a:pt x="27" y="89"/>
                    <a:pt x="30" y="88"/>
                  </a:cubicBezTo>
                  <a:cubicBezTo>
                    <a:pt x="33" y="88"/>
                    <a:pt x="37" y="87"/>
                    <a:pt x="39" y="87"/>
                  </a:cubicBezTo>
                  <a:cubicBezTo>
                    <a:pt x="41" y="85"/>
                    <a:pt x="42" y="84"/>
                    <a:pt x="44" y="83"/>
                  </a:cubicBezTo>
                  <a:cubicBezTo>
                    <a:pt x="46" y="81"/>
                    <a:pt x="49" y="77"/>
                    <a:pt x="52" y="75"/>
                  </a:cubicBezTo>
                  <a:cubicBezTo>
                    <a:pt x="55" y="73"/>
                    <a:pt x="60" y="69"/>
                    <a:pt x="59" y="6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84" name="Freeform 699">
              <a:extLst>
                <a:ext uri="{FF2B5EF4-FFF2-40B4-BE49-F238E27FC236}">
                  <a16:creationId xmlns:a16="http://schemas.microsoft.com/office/drawing/2014/main" id="{DED944F2-4FC6-E358-2FD5-BF8925A78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3904" y="2677383"/>
              <a:ext cx="458914" cy="382627"/>
            </a:xfrm>
            <a:custGeom>
              <a:avLst/>
              <a:gdLst>
                <a:gd name="T0" fmla="*/ 43 w 142"/>
                <a:gd name="T1" fmla="*/ 90 h 118"/>
                <a:gd name="T2" fmla="*/ 48 w 142"/>
                <a:gd name="T3" fmla="*/ 67 h 118"/>
                <a:gd name="T4" fmla="*/ 56 w 142"/>
                <a:gd name="T5" fmla="*/ 46 h 118"/>
                <a:gd name="T6" fmla="*/ 72 w 142"/>
                <a:gd name="T7" fmla="*/ 25 h 118"/>
                <a:gd name="T8" fmla="*/ 94 w 142"/>
                <a:gd name="T9" fmla="*/ 23 h 118"/>
                <a:gd name="T10" fmla="*/ 113 w 142"/>
                <a:gd name="T11" fmla="*/ 18 h 118"/>
                <a:gd name="T12" fmla="*/ 132 w 142"/>
                <a:gd name="T13" fmla="*/ 18 h 118"/>
                <a:gd name="T14" fmla="*/ 134 w 142"/>
                <a:gd name="T15" fmla="*/ 14 h 118"/>
                <a:gd name="T16" fmla="*/ 140 w 142"/>
                <a:gd name="T17" fmla="*/ 8 h 118"/>
                <a:gd name="T18" fmla="*/ 126 w 142"/>
                <a:gd name="T19" fmla="*/ 5 h 118"/>
                <a:gd name="T20" fmla="*/ 122 w 142"/>
                <a:gd name="T21" fmla="*/ 3 h 118"/>
                <a:gd name="T22" fmla="*/ 109 w 142"/>
                <a:gd name="T23" fmla="*/ 8 h 118"/>
                <a:gd name="T24" fmla="*/ 108 w 142"/>
                <a:gd name="T25" fmla="*/ 2 h 118"/>
                <a:gd name="T26" fmla="*/ 104 w 142"/>
                <a:gd name="T27" fmla="*/ 7 h 118"/>
                <a:gd name="T28" fmla="*/ 100 w 142"/>
                <a:gd name="T29" fmla="*/ 9 h 118"/>
                <a:gd name="T30" fmla="*/ 94 w 142"/>
                <a:gd name="T31" fmla="*/ 9 h 118"/>
                <a:gd name="T32" fmla="*/ 92 w 142"/>
                <a:gd name="T33" fmla="*/ 14 h 118"/>
                <a:gd name="T34" fmla="*/ 85 w 142"/>
                <a:gd name="T35" fmla="*/ 16 h 118"/>
                <a:gd name="T36" fmla="*/ 79 w 142"/>
                <a:gd name="T37" fmla="*/ 17 h 118"/>
                <a:gd name="T38" fmla="*/ 76 w 142"/>
                <a:gd name="T39" fmla="*/ 14 h 118"/>
                <a:gd name="T40" fmla="*/ 77 w 142"/>
                <a:gd name="T41" fmla="*/ 16 h 118"/>
                <a:gd name="T42" fmla="*/ 65 w 142"/>
                <a:gd name="T43" fmla="*/ 18 h 118"/>
                <a:gd name="T44" fmla="*/ 69 w 142"/>
                <a:gd name="T45" fmla="*/ 22 h 118"/>
                <a:gd name="T46" fmla="*/ 62 w 142"/>
                <a:gd name="T47" fmla="*/ 22 h 118"/>
                <a:gd name="T48" fmla="*/ 57 w 142"/>
                <a:gd name="T49" fmla="*/ 22 h 118"/>
                <a:gd name="T50" fmla="*/ 57 w 142"/>
                <a:gd name="T51" fmla="*/ 25 h 118"/>
                <a:gd name="T52" fmla="*/ 56 w 142"/>
                <a:gd name="T53" fmla="*/ 27 h 118"/>
                <a:gd name="T54" fmla="*/ 63 w 142"/>
                <a:gd name="T55" fmla="*/ 25 h 118"/>
                <a:gd name="T56" fmla="*/ 65 w 142"/>
                <a:gd name="T57" fmla="*/ 28 h 118"/>
                <a:gd name="T58" fmla="*/ 59 w 142"/>
                <a:gd name="T59" fmla="*/ 31 h 118"/>
                <a:gd name="T60" fmla="*/ 58 w 142"/>
                <a:gd name="T61" fmla="*/ 34 h 118"/>
                <a:gd name="T62" fmla="*/ 54 w 142"/>
                <a:gd name="T63" fmla="*/ 37 h 118"/>
                <a:gd name="T64" fmla="*/ 53 w 142"/>
                <a:gd name="T65" fmla="*/ 39 h 118"/>
                <a:gd name="T66" fmla="*/ 48 w 142"/>
                <a:gd name="T67" fmla="*/ 43 h 118"/>
                <a:gd name="T68" fmla="*/ 47 w 142"/>
                <a:gd name="T69" fmla="*/ 48 h 118"/>
                <a:gd name="T70" fmla="*/ 41 w 142"/>
                <a:gd name="T71" fmla="*/ 49 h 118"/>
                <a:gd name="T72" fmla="*/ 42 w 142"/>
                <a:gd name="T73" fmla="*/ 53 h 118"/>
                <a:gd name="T74" fmla="*/ 40 w 142"/>
                <a:gd name="T75" fmla="*/ 58 h 118"/>
                <a:gd name="T76" fmla="*/ 40 w 142"/>
                <a:gd name="T77" fmla="*/ 59 h 118"/>
                <a:gd name="T78" fmla="*/ 29 w 142"/>
                <a:gd name="T79" fmla="*/ 67 h 118"/>
                <a:gd name="T80" fmla="*/ 30 w 142"/>
                <a:gd name="T81" fmla="*/ 71 h 118"/>
                <a:gd name="T82" fmla="*/ 32 w 142"/>
                <a:gd name="T83" fmla="*/ 73 h 118"/>
                <a:gd name="T84" fmla="*/ 23 w 142"/>
                <a:gd name="T85" fmla="*/ 74 h 118"/>
                <a:gd name="T86" fmla="*/ 18 w 142"/>
                <a:gd name="T87" fmla="*/ 78 h 118"/>
                <a:gd name="T88" fmla="*/ 16 w 142"/>
                <a:gd name="T89" fmla="*/ 79 h 118"/>
                <a:gd name="T90" fmla="*/ 12 w 142"/>
                <a:gd name="T91" fmla="*/ 80 h 118"/>
                <a:gd name="T92" fmla="*/ 8 w 142"/>
                <a:gd name="T93" fmla="*/ 82 h 118"/>
                <a:gd name="T94" fmla="*/ 6 w 142"/>
                <a:gd name="T95" fmla="*/ 85 h 118"/>
                <a:gd name="T96" fmla="*/ 0 w 142"/>
                <a:gd name="T97" fmla="*/ 89 h 118"/>
                <a:gd name="T98" fmla="*/ 4 w 142"/>
                <a:gd name="T99" fmla="*/ 92 h 118"/>
                <a:gd name="T100" fmla="*/ 3 w 142"/>
                <a:gd name="T101" fmla="*/ 99 h 118"/>
                <a:gd name="T102" fmla="*/ 6 w 142"/>
                <a:gd name="T103" fmla="*/ 101 h 118"/>
                <a:gd name="T104" fmla="*/ 4 w 142"/>
                <a:gd name="T105" fmla="*/ 102 h 118"/>
                <a:gd name="T106" fmla="*/ 5 w 142"/>
                <a:gd name="T107" fmla="*/ 106 h 118"/>
                <a:gd name="T108" fmla="*/ 2 w 142"/>
                <a:gd name="T109" fmla="*/ 108 h 118"/>
                <a:gd name="T110" fmla="*/ 7 w 142"/>
                <a:gd name="T111" fmla="*/ 108 h 118"/>
                <a:gd name="T112" fmla="*/ 3 w 142"/>
                <a:gd name="T113" fmla="*/ 113 h 118"/>
                <a:gd name="T114" fmla="*/ 24 w 142"/>
                <a:gd name="T115" fmla="*/ 113 h 118"/>
                <a:gd name="T116" fmla="*/ 34 w 142"/>
                <a:gd name="T117" fmla="*/ 111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2" h="118">
                  <a:moveTo>
                    <a:pt x="37" y="111"/>
                  </a:moveTo>
                  <a:cubicBezTo>
                    <a:pt x="37" y="112"/>
                    <a:pt x="38" y="107"/>
                    <a:pt x="38" y="105"/>
                  </a:cubicBezTo>
                  <a:cubicBezTo>
                    <a:pt x="39" y="104"/>
                    <a:pt x="41" y="103"/>
                    <a:pt x="41" y="102"/>
                  </a:cubicBezTo>
                  <a:cubicBezTo>
                    <a:pt x="42" y="102"/>
                    <a:pt x="42" y="98"/>
                    <a:pt x="41" y="97"/>
                  </a:cubicBezTo>
                  <a:cubicBezTo>
                    <a:pt x="41" y="95"/>
                    <a:pt x="41" y="94"/>
                    <a:pt x="43" y="93"/>
                  </a:cubicBezTo>
                  <a:cubicBezTo>
                    <a:pt x="44" y="93"/>
                    <a:pt x="44" y="91"/>
                    <a:pt x="43" y="90"/>
                  </a:cubicBezTo>
                  <a:cubicBezTo>
                    <a:pt x="42" y="90"/>
                    <a:pt x="40" y="89"/>
                    <a:pt x="40" y="88"/>
                  </a:cubicBezTo>
                  <a:cubicBezTo>
                    <a:pt x="39" y="87"/>
                    <a:pt x="40" y="85"/>
                    <a:pt x="41" y="84"/>
                  </a:cubicBezTo>
                  <a:cubicBezTo>
                    <a:pt x="41" y="82"/>
                    <a:pt x="40" y="79"/>
                    <a:pt x="40" y="79"/>
                  </a:cubicBezTo>
                  <a:cubicBezTo>
                    <a:pt x="40" y="78"/>
                    <a:pt x="40" y="77"/>
                    <a:pt x="39" y="75"/>
                  </a:cubicBezTo>
                  <a:cubicBezTo>
                    <a:pt x="39" y="72"/>
                    <a:pt x="40" y="71"/>
                    <a:pt x="41" y="70"/>
                  </a:cubicBezTo>
                  <a:cubicBezTo>
                    <a:pt x="43" y="68"/>
                    <a:pt x="46" y="67"/>
                    <a:pt x="48" y="67"/>
                  </a:cubicBezTo>
                  <a:cubicBezTo>
                    <a:pt x="49" y="68"/>
                    <a:pt x="49" y="67"/>
                    <a:pt x="50" y="66"/>
                  </a:cubicBezTo>
                  <a:cubicBezTo>
                    <a:pt x="51" y="65"/>
                    <a:pt x="48" y="63"/>
                    <a:pt x="48" y="62"/>
                  </a:cubicBezTo>
                  <a:cubicBezTo>
                    <a:pt x="48" y="62"/>
                    <a:pt x="48" y="61"/>
                    <a:pt x="50" y="60"/>
                  </a:cubicBezTo>
                  <a:cubicBezTo>
                    <a:pt x="52" y="58"/>
                    <a:pt x="53" y="51"/>
                    <a:pt x="53" y="50"/>
                  </a:cubicBezTo>
                  <a:cubicBezTo>
                    <a:pt x="53" y="50"/>
                    <a:pt x="53" y="48"/>
                    <a:pt x="55" y="48"/>
                  </a:cubicBezTo>
                  <a:cubicBezTo>
                    <a:pt x="57" y="48"/>
                    <a:pt x="56" y="47"/>
                    <a:pt x="56" y="46"/>
                  </a:cubicBezTo>
                  <a:cubicBezTo>
                    <a:pt x="57" y="44"/>
                    <a:pt x="61" y="40"/>
                    <a:pt x="62" y="40"/>
                  </a:cubicBezTo>
                  <a:cubicBezTo>
                    <a:pt x="62" y="40"/>
                    <a:pt x="61" y="38"/>
                    <a:pt x="61" y="37"/>
                  </a:cubicBezTo>
                  <a:cubicBezTo>
                    <a:pt x="61" y="36"/>
                    <a:pt x="62" y="35"/>
                    <a:pt x="63" y="34"/>
                  </a:cubicBezTo>
                  <a:cubicBezTo>
                    <a:pt x="64" y="33"/>
                    <a:pt x="65" y="31"/>
                    <a:pt x="66" y="30"/>
                  </a:cubicBezTo>
                  <a:cubicBezTo>
                    <a:pt x="67" y="30"/>
                    <a:pt x="72" y="30"/>
                    <a:pt x="72" y="30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80" y="27"/>
                    <a:pt x="81" y="27"/>
                  </a:cubicBezTo>
                  <a:cubicBezTo>
                    <a:pt x="82" y="27"/>
                    <a:pt x="82" y="25"/>
                    <a:pt x="82" y="24"/>
                  </a:cubicBezTo>
                  <a:cubicBezTo>
                    <a:pt x="82" y="23"/>
                    <a:pt x="82" y="21"/>
                    <a:pt x="82" y="21"/>
                  </a:cubicBezTo>
                  <a:cubicBezTo>
                    <a:pt x="82" y="21"/>
                    <a:pt x="84" y="20"/>
                    <a:pt x="85" y="20"/>
                  </a:cubicBezTo>
                  <a:cubicBezTo>
                    <a:pt x="86" y="20"/>
                    <a:pt x="88" y="18"/>
                    <a:pt x="89" y="18"/>
                  </a:cubicBezTo>
                  <a:cubicBezTo>
                    <a:pt x="91" y="18"/>
                    <a:pt x="93" y="22"/>
                    <a:pt x="94" y="23"/>
                  </a:cubicBezTo>
                  <a:cubicBezTo>
                    <a:pt x="95" y="24"/>
                    <a:pt x="99" y="24"/>
                    <a:pt x="99" y="24"/>
                  </a:cubicBezTo>
                  <a:cubicBezTo>
                    <a:pt x="100" y="24"/>
                    <a:pt x="102" y="23"/>
                    <a:pt x="103" y="23"/>
                  </a:cubicBezTo>
                  <a:cubicBezTo>
                    <a:pt x="104" y="22"/>
                    <a:pt x="106" y="24"/>
                    <a:pt x="107" y="24"/>
                  </a:cubicBezTo>
                  <a:cubicBezTo>
                    <a:pt x="109" y="25"/>
                    <a:pt x="109" y="24"/>
                    <a:pt x="110" y="23"/>
                  </a:cubicBezTo>
                  <a:cubicBezTo>
                    <a:pt x="111" y="22"/>
                    <a:pt x="111" y="22"/>
                    <a:pt x="112" y="22"/>
                  </a:cubicBezTo>
                  <a:cubicBezTo>
                    <a:pt x="113" y="22"/>
                    <a:pt x="112" y="20"/>
                    <a:pt x="113" y="18"/>
                  </a:cubicBezTo>
                  <a:cubicBezTo>
                    <a:pt x="113" y="15"/>
                    <a:pt x="116" y="14"/>
                    <a:pt x="117" y="12"/>
                  </a:cubicBezTo>
                  <a:cubicBezTo>
                    <a:pt x="117" y="11"/>
                    <a:pt x="120" y="11"/>
                    <a:pt x="121" y="11"/>
                  </a:cubicBezTo>
                  <a:cubicBezTo>
                    <a:pt x="122" y="11"/>
                    <a:pt x="123" y="10"/>
                    <a:pt x="123" y="10"/>
                  </a:cubicBezTo>
                  <a:cubicBezTo>
                    <a:pt x="124" y="10"/>
                    <a:pt x="125" y="11"/>
                    <a:pt x="126" y="12"/>
                  </a:cubicBezTo>
                  <a:cubicBezTo>
                    <a:pt x="127" y="13"/>
                    <a:pt x="130" y="13"/>
                    <a:pt x="131" y="15"/>
                  </a:cubicBezTo>
                  <a:cubicBezTo>
                    <a:pt x="132" y="15"/>
                    <a:pt x="132" y="17"/>
                    <a:pt x="132" y="18"/>
                  </a:cubicBezTo>
                  <a:cubicBezTo>
                    <a:pt x="132" y="18"/>
                    <a:pt x="132" y="18"/>
                    <a:pt x="132" y="18"/>
                  </a:cubicBezTo>
                  <a:cubicBezTo>
                    <a:pt x="133" y="18"/>
                    <a:pt x="135" y="18"/>
                    <a:pt x="136" y="17"/>
                  </a:cubicBezTo>
                  <a:cubicBezTo>
                    <a:pt x="136" y="16"/>
                    <a:pt x="137" y="15"/>
                    <a:pt x="138" y="14"/>
                  </a:cubicBezTo>
                  <a:cubicBezTo>
                    <a:pt x="138" y="13"/>
                    <a:pt x="137" y="12"/>
                    <a:pt x="137" y="12"/>
                  </a:cubicBezTo>
                  <a:cubicBezTo>
                    <a:pt x="137" y="13"/>
                    <a:pt x="137" y="14"/>
                    <a:pt x="136" y="14"/>
                  </a:cubicBezTo>
                  <a:cubicBezTo>
                    <a:pt x="136" y="14"/>
                    <a:pt x="135" y="14"/>
                    <a:pt x="134" y="14"/>
                  </a:cubicBezTo>
                  <a:cubicBezTo>
                    <a:pt x="133" y="14"/>
                    <a:pt x="133" y="14"/>
                    <a:pt x="133" y="14"/>
                  </a:cubicBezTo>
                  <a:cubicBezTo>
                    <a:pt x="133" y="14"/>
                    <a:pt x="134" y="14"/>
                    <a:pt x="134" y="13"/>
                  </a:cubicBezTo>
                  <a:cubicBezTo>
                    <a:pt x="135" y="13"/>
                    <a:pt x="135" y="13"/>
                    <a:pt x="134" y="12"/>
                  </a:cubicBezTo>
                  <a:cubicBezTo>
                    <a:pt x="132" y="11"/>
                    <a:pt x="128" y="10"/>
                    <a:pt x="130" y="10"/>
                  </a:cubicBezTo>
                  <a:cubicBezTo>
                    <a:pt x="132" y="10"/>
                    <a:pt x="134" y="11"/>
                    <a:pt x="136" y="10"/>
                  </a:cubicBezTo>
                  <a:cubicBezTo>
                    <a:pt x="139" y="9"/>
                    <a:pt x="140" y="9"/>
                    <a:pt x="140" y="8"/>
                  </a:cubicBezTo>
                  <a:cubicBezTo>
                    <a:pt x="141" y="7"/>
                    <a:pt x="142" y="7"/>
                    <a:pt x="139" y="6"/>
                  </a:cubicBezTo>
                  <a:cubicBezTo>
                    <a:pt x="137" y="5"/>
                    <a:pt x="135" y="4"/>
                    <a:pt x="133" y="3"/>
                  </a:cubicBezTo>
                  <a:cubicBezTo>
                    <a:pt x="132" y="2"/>
                    <a:pt x="131" y="2"/>
                    <a:pt x="130" y="3"/>
                  </a:cubicBezTo>
                  <a:cubicBezTo>
                    <a:pt x="129" y="3"/>
                    <a:pt x="128" y="5"/>
                    <a:pt x="128" y="6"/>
                  </a:cubicBezTo>
                  <a:cubicBezTo>
                    <a:pt x="127" y="7"/>
                    <a:pt x="126" y="8"/>
                    <a:pt x="126" y="7"/>
                  </a:cubicBezTo>
                  <a:cubicBezTo>
                    <a:pt x="126" y="7"/>
                    <a:pt x="127" y="5"/>
                    <a:pt x="126" y="5"/>
                  </a:cubicBezTo>
                  <a:cubicBezTo>
                    <a:pt x="124" y="5"/>
                    <a:pt x="123" y="4"/>
                    <a:pt x="125" y="4"/>
                  </a:cubicBezTo>
                  <a:cubicBezTo>
                    <a:pt x="126" y="4"/>
                    <a:pt x="127" y="4"/>
                    <a:pt x="126" y="4"/>
                  </a:cubicBezTo>
                  <a:cubicBezTo>
                    <a:pt x="125" y="3"/>
                    <a:pt x="122" y="4"/>
                    <a:pt x="125" y="3"/>
                  </a:cubicBezTo>
                  <a:cubicBezTo>
                    <a:pt x="127" y="2"/>
                    <a:pt x="129" y="3"/>
                    <a:pt x="127" y="2"/>
                  </a:cubicBezTo>
                  <a:cubicBezTo>
                    <a:pt x="125" y="0"/>
                    <a:pt x="122" y="0"/>
                    <a:pt x="122" y="1"/>
                  </a:cubicBezTo>
                  <a:cubicBezTo>
                    <a:pt x="121" y="2"/>
                    <a:pt x="123" y="3"/>
                    <a:pt x="122" y="3"/>
                  </a:cubicBezTo>
                  <a:cubicBezTo>
                    <a:pt x="121" y="4"/>
                    <a:pt x="120" y="5"/>
                    <a:pt x="119" y="6"/>
                  </a:cubicBezTo>
                  <a:cubicBezTo>
                    <a:pt x="118" y="7"/>
                    <a:pt x="117" y="8"/>
                    <a:pt x="117" y="7"/>
                  </a:cubicBezTo>
                  <a:cubicBezTo>
                    <a:pt x="117" y="5"/>
                    <a:pt x="117" y="4"/>
                    <a:pt x="117" y="3"/>
                  </a:cubicBezTo>
                  <a:cubicBezTo>
                    <a:pt x="118" y="2"/>
                    <a:pt x="117" y="2"/>
                    <a:pt x="117" y="2"/>
                  </a:cubicBezTo>
                  <a:cubicBezTo>
                    <a:pt x="116" y="2"/>
                    <a:pt x="111" y="9"/>
                    <a:pt x="110" y="9"/>
                  </a:cubicBezTo>
                  <a:cubicBezTo>
                    <a:pt x="109" y="9"/>
                    <a:pt x="109" y="9"/>
                    <a:pt x="109" y="8"/>
                  </a:cubicBezTo>
                  <a:cubicBezTo>
                    <a:pt x="109" y="7"/>
                    <a:pt x="112" y="4"/>
                    <a:pt x="113" y="3"/>
                  </a:cubicBezTo>
                  <a:cubicBezTo>
                    <a:pt x="113" y="2"/>
                    <a:pt x="114" y="2"/>
                    <a:pt x="113" y="1"/>
                  </a:cubicBezTo>
                  <a:cubicBezTo>
                    <a:pt x="113" y="0"/>
                    <a:pt x="113" y="0"/>
                    <a:pt x="111" y="0"/>
                  </a:cubicBezTo>
                  <a:cubicBezTo>
                    <a:pt x="110" y="0"/>
                    <a:pt x="110" y="1"/>
                    <a:pt x="111" y="1"/>
                  </a:cubicBezTo>
                  <a:cubicBezTo>
                    <a:pt x="112" y="1"/>
                    <a:pt x="112" y="1"/>
                    <a:pt x="111" y="1"/>
                  </a:cubicBezTo>
                  <a:cubicBezTo>
                    <a:pt x="109" y="2"/>
                    <a:pt x="108" y="2"/>
                    <a:pt x="108" y="2"/>
                  </a:cubicBezTo>
                  <a:cubicBezTo>
                    <a:pt x="107" y="1"/>
                    <a:pt x="108" y="0"/>
                    <a:pt x="107" y="0"/>
                  </a:cubicBezTo>
                  <a:cubicBezTo>
                    <a:pt x="106" y="1"/>
                    <a:pt x="106" y="2"/>
                    <a:pt x="105" y="2"/>
                  </a:cubicBezTo>
                  <a:cubicBezTo>
                    <a:pt x="105" y="3"/>
                    <a:pt x="106" y="4"/>
                    <a:pt x="106" y="5"/>
                  </a:cubicBezTo>
                  <a:cubicBezTo>
                    <a:pt x="106" y="5"/>
                    <a:pt x="106" y="6"/>
                    <a:pt x="105" y="5"/>
                  </a:cubicBezTo>
                  <a:cubicBezTo>
                    <a:pt x="105" y="5"/>
                    <a:pt x="104" y="4"/>
                    <a:pt x="104" y="5"/>
                  </a:cubicBezTo>
                  <a:cubicBezTo>
                    <a:pt x="104" y="6"/>
                    <a:pt x="104" y="7"/>
                    <a:pt x="104" y="7"/>
                  </a:cubicBezTo>
                  <a:cubicBezTo>
                    <a:pt x="103" y="6"/>
                    <a:pt x="103" y="6"/>
                    <a:pt x="102" y="6"/>
                  </a:cubicBezTo>
                  <a:cubicBezTo>
                    <a:pt x="101" y="6"/>
                    <a:pt x="100" y="7"/>
                    <a:pt x="101" y="6"/>
                  </a:cubicBezTo>
                  <a:cubicBezTo>
                    <a:pt x="102" y="5"/>
                    <a:pt x="104" y="4"/>
                    <a:pt x="102" y="4"/>
                  </a:cubicBezTo>
                  <a:cubicBezTo>
                    <a:pt x="101" y="4"/>
                    <a:pt x="100" y="6"/>
                    <a:pt x="99" y="6"/>
                  </a:cubicBezTo>
                  <a:cubicBezTo>
                    <a:pt x="98" y="6"/>
                    <a:pt x="97" y="6"/>
                    <a:pt x="97" y="6"/>
                  </a:cubicBezTo>
                  <a:cubicBezTo>
                    <a:pt x="98" y="7"/>
                    <a:pt x="99" y="9"/>
                    <a:pt x="100" y="9"/>
                  </a:cubicBezTo>
                  <a:cubicBezTo>
                    <a:pt x="101" y="8"/>
                    <a:pt x="101" y="9"/>
                    <a:pt x="100" y="9"/>
                  </a:cubicBezTo>
                  <a:cubicBezTo>
                    <a:pt x="99" y="10"/>
                    <a:pt x="100" y="12"/>
                    <a:pt x="99" y="11"/>
                  </a:cubicBezTo>
                  <a:cubicBezTo>
                    <a:pt x="98" y="10"/>
                    <a:pt x="98" y="10"/>
                    <a:pt x="97" y="10"/>
                  </a:cubicBezTo>
                  <a:cubicBezTo>
                    <a:pt x="96" y="10"/>
                    <a:pt x="96" y="9"/>
                    <a:pt x="96" y="9"/>
                  </a:cubicBezTo>
                  <a:cubicBezTo>
                    <a:pt x="96" y="8"/>
                    <a:pt x="96" y="8"/>
                    <a:pt x="95" y="9"/>
                  </a:cubicBezTo>
                  <a:cubicBezTo>
                    <a:pt x="94" y="10"/>
                    <a:pt x="94" y="10"/>
                    <a:pt x="94" y="9"/>
                  </a:cubicBezTo>
                  <a:cubicBezTo>
                    <a:pt x="93" y="9"/>
                    <a:pt x="94" y="8"/>
                    <a:pt x="93" y="8"/>
                  </a:cubicBezTo>
                  <a:cubicBezTo>
                    <a:pt x="92" y="8"/>
                    <a:pt x="90" y="9"/>
                    <a:pt x="89" y="9"/>
                  </a:cubicBezTo>
                  <a:cubicBezTo>
                    <a:pt x="87" y="9"/>
                    <a:pt x="88" y="8"/>
                    <a:pt x="90" y="9"/>
                  </a:cubicBezTo>
                  <a:cubicBezTo>
                    <a:pt x="92" y="10"/>
                    <a:pt x="94" y="11"/>
                    <a:pt x="93" y="11"/>
                  </a:cubicBezTo>
                  <a:cubicBezTo>
                    <a:pt x="92" y="11"/>
                    <a:pt x="92" y="11"/>
                    <a:pt x="92" y="12"/>
                  </a:cubicBezTo>
                  <a:cubicBezTo>
                    <a:pt x="92" y="13"/>
                    <a:pt x="93" y="14"/>
                    <a:pt x="92" y="14"/>
                  </a:cubicBezTo>
                  <a:cubicBezTo>
                    <a:pt x="91" y="13"/>
                    <a:pt x="89" y="12"/>
                    <a:pt x="89" y="12"/>
                  </a:cubicBezTo>
                  <a:cubicBezTo>
                    <a:pt x="89" y="12"/>
                    <a:pt x="88" y="12"/>
                    <a:pt x="88" y="13"/>
                  </a:cubicBezTo>
                  <a:cubicBezTo>
                    <a:pt x="88" y="13"/>
                    <a:pt x="87" y="14"/>
                    <a:pt x="87" y="13"/>
                  </a:cubicBezTo>
                  <a:cubicBezTo>
                    <a:pt x="86" y="12"/>
                    <a:pt x="87" y="11"/>
                    <a:pt x="86" y="12"/>
                  </a:cubicBezTo>
                  <a:cubicBezTo>
                    <a:pt x="86" y="13"/>
                    <a:pt x="84" y="14"/>
                    <a:pt x="85" y="15"/>
                  </a:cubicBezTo>
                  <a:cubicBezTo>
                    <a:pt x="86" y="16"/>
                    <a:pt x="86" y="16"/>
                    <a:pt x="85" y="16"/>
                  </a:cubicBezTo>
                  <a:cubicBezTo>
                    <a:pt x="84" y="16"/>
                    <a:pt x="83" y="17"/>
                    <a:pt x="83" y="15"/>
                  </a:cubicBezTo>
                  <a:cubicBezTo>
                    <a:pt x="83" y="14"/>
                    <a:pt x="84" y="13"/>
                    <a:pt x="83" y="13"/>
                  </a:cubicBezTo>
                  <a:cubicBezTo>
                    <a:pt x="82" y="13"/>
                    <a:pt x="83" y="13"/>
                    <a:pt x="81" y="14"/>
                  </a:cubicBezTo>
                  <a:cubicBezTo>
                    <a:pt x="80" y="14"/>
                    <a:pt x="80" y="15"/>
                    <a:pt x="81" y="15"/>
                  </a:cubicBezTo>
                  <a:cubicBezTo>
                    <a:pt x="82" y="15"/>
                    <a:pt x="81" y="15"/>
                    <a:pt x="80" y="16"/>
                  </a:cubicBezTo>
                  <a:cubicBezTo>
                    <a:pt x="79" y="17"/>
                    <a:pt x="79" y="18"/>
                    <a:pt x="79" y="17"/>
                  </a:cubicBezTo>
                  <a:cubicBezTo>
                    <a:pt x="79" y="15"/>
                    <a:pt x="80" y="15"/>
                    <a:pt x="79" y="14"/>
                  </a:cubicBezTo>
                  <a:cubicBezTo>
                    <a:pt x="78" y="14"/>
                    <a:pt x="76" y="13"/>
                    <a:pt x="77" y="13"/>
                  </a:cubicBezTo>
                  <a:cubicBezTo>
                    <a:pt x="78" y="13"/>
                    <a:pt x="80" y="13"/>
                    <a:pt x="78" y="12"/>
                  </a:cubicBezTo>
                  <a:cubicBezTo>
                    <a:pt x="77" y="11"/>
                    <a:pt x="77" y="11"/>
                    <a:pt x="75" y="11"/>
                  </a:cubicBezTo>
                  <a:cubicBezTo>
                    <a:pt x="74" y="11"/>
                    <a:pt x="75" y="11"/>
                    <a:pt x="75" y="12"/>
                  </a:cubicBezTo>
                  <a:cubicBezTo>
                    <a:pt x="75" y="13"/>
                    <a:pt x="76" y="14"/>
                    <a:pt x="76" y="14"/>
                  </a:cubicBezTo>
                  <a:cubicBezTo>
                    <a:pt x="75" y="14"/>
                    <a:pt x="74" y="14"/>
                    <a:pt x="74" y="14"/>
                  </a:cubicBezTo>
                  <a:cubicBezTo>
                    <a:pt x="73" y="14"/>
                    <a:pt x="72" y="15"/>
                    <a:pt x="73" y="15"/>
                  </a:cubicBezTo>
                  <a:cubicBezTo>
                    <a:pt x="75" y="15"/>
                    <a:pt x="76" y="15"/>
                    <a:pt x="75" y="15"/>
                  </a:cubicBezTo>
                  <a:cubicBezTo>
                    <a:pt x="74" y="15"/>
                    <a:pt x="73" y="15"/>
                    <a:pt x="74" y="16"/>
                  </a:cubicBezTo>
                  <a:cubicBezTo>
                    <a:pt x="76" y="16"/>
                    <a:pt x="76" y="17"/>
                    <a:pt x="76" y="16"/>
                  </a:cubicBezTo>
                  <a:cubicBezTo>
                    <a:pt x="76" y="15"/>
                    <a:pt x="77" y="15"/>
                    <a:pt x="77" y="16"/>
                  </a:cubicBezTo>
                  <a:cubicBezTo>
                    <a:pt x="76" y="17"/>
                    <a:pt x="76" y="18"/>
                    <a:pt x="76" y="18"/>
                  </a:cubicBezTo>
                  <a:cubicBezTo>
                    <a:pt x="75" y="17"/>
                    <a:pt x="75" y="17"/>
                    <a:pt x="74" y="16"/>
                  </a:cubicBezTo>
                  <a:cubicBezTo>
                    <a:pt x="73" y="16"/>
                    <a:pt x="73" y="15"/>
                    <a:pt x="72" y="15"/>
                  </a:cubicBezTo>
                  <a:cubicBezTo>
                    <a:pt x="71" y="16"/>
                    <a:pt x="70" y="17"/>
                    <a:pt x="70" y="16"/>
                  </a:cubicBezTo>
                  <a:cubicBezTo>
                    <a:pt x="69" y="15"/>
                    <a:pt x="69" y="15"/>
                    <a:pt x="68" y="16"/>
                  </a:cubicBezTo>
                  <a:cubicBezTo>
                    <a:pt x="67" y="17"/>
                    <a:pt x="65" y="17"/>
                    <a:pt x="65" y="18"/>
                  </a:cubicBezTo>
                  <a:cubicBezTo>
                    <a:pt x="66" y="19"/>
                    <a:pt x="66" y="19"/>
                    <a:pt x="66" y="20"/>
                  </a:cubicBezTo>
                  <a:cubicBezTo>
                    <a:pt x="65" y="20"/>
                    <a:pt x="65" y="21"/>
                    <a:pt x="66" y="21"/>
                  </a:cubicBezTo>
                  <a:cubicBezTo>
                    <a:pt x="67" y="20"/>
                    <a:pt x="67" y="19"/>
                    <a:pt x="68" y="19"/>
                  </a:cubicBezTo>
                  <a:cubicBezTo>
                    <a:pt x="69" y="20"/>
                    <a:pt x="68" y="21"/>
                    <a:pt x="70" y="20"/>
                  </a:cubicBezTo>
                  <a:cubicBezTo>
                    <a:pt x="71" y="19"/>
                    <a:pt x="71" y="19"/>
                    <a:pt x="70" y="20"/>
                  </a:cubicBezTo>
                  <a:cubicBezTo>
                    <a:pt x="69" y="21"/>
                    <a:pt x="69" y="21"/>
                    <a:pt x="69" y="22"/>
                  </a:cubicBezTo>
                  <a:cubicBezTo>
                    <a:pt x="69" y="23"/>
                    <a:pt x="69" y="25"/>
                    <a:pt x="68" y="24"/>
                  </a:cubicBezTo>
                  <a:cubicBezTo>
                    <a:pt x="68" y="24"/>
                    <a:pt x="67" y="23"/>
                    <a:pt x="66" y="23"/>
                  </a:cubicBezTo>
                  <a:cubicBezTo>
                    <a:pt x="65" y="24"/>
                    <a:pt x="64" y="25"/>
                    <a:pt x="65" y="24"/>
                  </a:cubicBezTo>
                  <a:cubicBezTo>
                    <a:pt x="65" y="23"/>
                    <a:pt x="65" y="23"/>
                    <a:pt x="64" y="23"/>
                  </a:cubicBezTo>
                  <a:cubicBezTo>
                    <a:pt x="63" y="24"/>
                    <a:pt x="63" y="25"/>
                    <a:pt x="63" y="24"/>
                  </a:cubicBezTo>
                  <a:cubicBezTo>
                    <a:pt x="63" y="22"/>
                    <a:pt x="63" y="21"/>
                    <a:pt x="62" y="22"/>
                  </a:cubicBezTo>
                  <a:cubicBezTo>
                    <a:pt x="61" y="22"/>
                    <a:pt x="61" y="25"/>
                    <a:pt x="60" y="24"/>
                  </a:cubicBezTo>
                  <a:cubicBezTo>
                    <a:pt x="60" y="23"/>
                    <a:pt x="60" y="22"/>
                    <a:pt x="60" y="21"/>
                  </a:cubicBezTo>
                  <a:cubicBezTo>
                    <a:pt x="60" y="20"/>
                    <a:pt x="62" y="18"/>
                    <a:pt x="61" y="18"/>
                  </a:cubicBezTo>
                  <a:cubicBezTo>
                    <a:pt x="59" y="19"/>
                    <a:pt x="57" y="20"/>
                    <a:pt x="58" y="21"/>
                  </a:cubicBezTo>
                  <a:cubicBezTo>
                    <a:pt x="58" y="21"/>
                    <a:pt x="60" y="22"/>
                    <a:pt x="58" y="22"/>
                  </a:cubicBezTo>
                  <a:cubicBezTo>
                    <a:pt x="57" y="21"/>
                    <a:pt x="57" y="21"/>
                    <a:pt x="57" y="22"/>
                  </a:cubicBezTo>
                  <a:cubicBezTo>
                    <a:pt x="57" y="23"/>
                    <a:pt x="56" y="24"/>
                    <a:pt x="56" y="23"/>
                  </a:cubicBezTo>
                  <a:cubicBezTo>
                    <a:pt x="56" y="22"/>
                    <a:pt x="56" y="22"/>
                    <a:pt x="55" y="23"/>
                  </a:cubicBezTo>
                  <a:cubicBezTo>
                    <a:pt x="54" y="23"/>
                    <a:pt x="53" y="24"/>
                    <a:pt x="54" y="24"/>
                  </a:cubicBezTo>
                  <a:cubicBezTo>
                    <a:pt x="56" y="24"/>
                    <a:pt x="57" y="24"/>
                    <a:pt x="56" y="24"/>
                  </a:cubicBezTo>
                  <a:cubicBezTo>
                    <a:pt x="55" y="24"/>
                    <a:pt x="55" y="25"/>
                    <a:pt x="56" y="25"/>
                  </a:cubicBezTo>
                  <a:cubicBezTo>
                    <a:pt x="57" y="25"/>
                    <a:pt x="57" y="24"/>
                    <a:pt x="57" y="25"/>
                  </a:cubicBezTo>
                  <a:cubicBezTo>
                    <a:pt x="57" y="25"/>
                    <a:pt x="57" y="26"/>
                    <a:pt x="56" y="26"/>
                  </a:cubicBezTo>
                  <a:cubicBezTo>
                    <a:pt x="55" y="26"/>
                    <a:pt x="55" y="24"/>
                    <a:pt x="54" y="25"/>
                  </a:cubicBezTo>
                  <a:cubicBezTo>
                    <a:pt x="53" y="26"/>
                    <a:pt x="53" y="28"/>
                    <a:pt x="51" y="28"/>
                  </a:cubicBezTo>
                  <a:cubicBezTo>
                    <a:pt x="50" y="28"/>
                    <a:pt x="47" y="29"/>
                    <a:pt x="48" y="29"/>
                  </a:cubicBezTo>
                  <a:cubicBezTo>
                    <a:pt x="50" y="29"/>
                    <a:pt x="51" y="30"/>
                    <a:pt x="52" y="29"/>
                  </a:cubicBezTo>
                  <a:cubicBezTo>
                    <a:pt x="54" y="28"/>
                    <a:pt x="55" y="27"/>
                    <a:pt x="56" y="27"/>
                  </a:cubicBezTo>
                  <a:cubicBezTo>
                    <a:pt x="57" y="28"/>
                    <a:pt x="57" y="28"/>
                    <a:pt x="58" y="27"/>
                  </a:cubicBezTo>
                  <a:cubicBezTo>
                    <a:pt x="59" y="26"/>
                    <a:pt x="59" y="27"/>
                    <a:pt x="60" y="27"/>
                  </a:cubicBezTo>
                  <a:cubicBezTo>
                    <a:pt x="61" y="26"/>
                    <a:pt x="61" y="26"/>
                    <a:pt x="60" y="25"/>
                  </a:cubicBezTo>
                  <a:cubicBezTo>
                    <a:pt x="59" y="24"/>
                    <a:pt x="61" y="25"/>
                    <a:pt x="61" y="25"/>
                  </a:cubicBezTo>
                  <a:cubicBezTo>
                    <a:pt x="61" y="25"/>
                    <a:pt x="61" y="26"/>
                    <a:pt x="62" y="26"/>
                  </a:cubicBezTo>
                  <a:cubicBezTo>
                    <a:pt x="62" y="26"/>
                    <a:pt x="64" y="24"/>
                    <a:pt x="63" y="25"/>
                  </a:cubicBezTo>
                  <a:cubicBezTo>
                    <a:pt x="63" y="26"/>
                    <a:pt x="62" y="26"/>
                    <a:pt x="62" y="27"/>
                  </a:cubicBezTo>
                  <a:cubicBezTo>
                    <a:pt x="62" y="27"/>
                    <a:pt x="62" y="27"/>
                    <a:pt x="62" y="28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3" y="27"/>
                    <a:pt x="65" y="27"/>
                    <a:pt x="64" y="27"/>
                  </a:cubicBezTo>
                  <a:cubicBezTo>
                    <a:pt x="63" y="28"/>
                    <a:pt x="61" y="29"/>
                    <a:pt x="62" y="29"/>
                  </a:cubicBezTo>
                  <a:cubicBezTo>
                    <a:pt x="64" y="29"/>
                    <a:pt x="64" y="29"/>
                    <a:pt x="65" y="28"/>
                  </a:cubicBezTo>
                  <a:cubicBezTo>
                    <a:pt x="66" y="27"/>
                    <a:pt x="67" y="28"/>
                    <a:pt x="66" y="28"/>
                  </a:cubicBezTo>
                  <a:cubicBezTo>
                    <a:pt x="65" y="28"/>
                    <a:pt x="64" y="29"/>
                    <a:pt x="63" y="30"/>
                  </a:cubicBezTo>
                  <a:cubicBezTo>
                    <a:pt x="62" y="30"/>
                    <a:pt x="62" y="30"/>
                    <a:pt x="62" y="31"/>
                  </a:cubicBezTo>
                  <a:cubicBezTo>
                    <a:pt x="62" y="31"/>
                    <a:pt x="61" y="32"/>
                    <a:pt x="60" y="31"/>
                  </a:cubicBezTo>
                  <a:cubicBezTo>
                    <a:pt x="59" y="30"/>
                    <a:pt x="60" y="28"/>
                    <a:pt x="59" y="29"/>
                  </a:cubicBezTo>
                  <a:cubicBezTo>
                    <a:pt x="59" y="30"/>
                    <a:pt x="59" y="32"/>
                    <a:pt x="59" y="31"/>
                  </a:cubicBezTo>
                  <a:cubicBezTo>
                    <a:pt x="58" y="30"/>
                    <a:pt x="58" y="29"/>
                    <a:pt x="57" y="30"/>
                  </a:cubicBezTo>
                  <a:cubicBezTo>
                    <a:pt x="56" y="31"/>
                    <a:pt x="56" y="31"/>
                    <a:pt x="55" y="32"/>
                  </a:cubicBezTo>
                  <a:cubicBezTo>
                    <a:pt x="54" y="33"/>
                    <a:pt x="53" y="34"/>
                    <a:pt x="54" y="34"/>
                  </a:cubicBezTo>
                  <a:cubicBezTo>
                    <a:pt x="55" y="34"/>
                    <a:pt x="56" y="32"/>
                    <a:pt x="56" y="32"/>
                  </a:cubicBezTo>
                  <a:cubicBezTo>
                    <a:pt x="56" y="33"/>
                    <a:pt x="56" y="33"/>
                    <a:pt x="57" y="33"/>
                  </a:cubicBezTo>
                  <a:cubicBezTo>
                    <a:pt x="58" y="33"/>
                    <a:pt x="59" y="34"/>
                    <a:pt x="58" y="34"/>
                  </a:cubicBezTo>
                  <a:cubicBezTo>
                    <a:pt x="57" y="34"/>
                    <a:pt x="56" y="33"/>
                    <a:pt x="55" y="34"/>
                  </a:cubicBezTo>
                  <a:cubicBezTo>
                    <a:pt x="54" y="34"/>
                    <a:pt x="56" y="35"/>
                    <a:pt x="57" y="35"/>
                  </a:cubicBezTo>
                  <a:cubicBezTo>
                    <a:pt x="58" y="35"/>
                    <a:pt x="59" y="35"/>
                    <a:pt x="59" y="36"/>
                  </a:cubicBezTo>
                  <a:cubicBezTo>
                    <a:pt x="58" y="37"/>
                    <a:pt x="59" y="37"/>
                    <a:pt x="58" y="36"/>
                  </a:cubicBezTo>
                  <a:cubicBezTo>
                    <a:pt x="56" y="35"/>
                    <a:pt x="56" y="35"/>
                    <a:pt x="55" y="35"/>
                  </a:cubicBezTo>
                  <a:cubicBezTo>
                    <a:pt x="54" y="35"/>
                    <a:pt x="55" y="36"/>
                    <a:pt x="54" y="37"/>
                  </a:cubicBezTo>
                  <a:cubicBezTo>
                    <a:pt x="53" y="37"/>
                    <a:pt x="51" y="37"/>
                    <a:pt x="52" y="37"/>
                  </a:cubicBezTo>
                  <a:cubicBezTo>
                    <a:pt x="54" y="37"/>
                    <a:pt x="56" y="37"/>
                    <a:pt x="57" y="37"/>
                  </a:cubicBezTo>
                  <a:cubicBezTo>
                    <a:pt x="57" y="38"/>
                    <a:pt x="58" y="39"/>
                    <a:pt x="56" y="38"/>
                  </a:cubicBezTo>
                  <a:cubicBezTo>
                    <a:pt x="55" y="38"/>
                    <a:pt x="55" y="38"/>
                    <a:pt x="54" y="38"/>
                  </a:cubicBezTo>
                  <a:cubicBezTo>
                    <a:pt x="53" y="38"/>
                    <a:pt x="53" y="38"/>
                    <a:pt x="54" y="38"/>
                  </a:cubicBezTo>
                  <a:cubicBezTo>
                    <a:pt x="55" y="38"/>
                    <a:pt x="54" y="39"/>
                    <a:pt x="53" y="39"/>
                  </a:cubicBezTo>
                  <a:cubicBezTo>
                    <a:pt x="52" y="38"/>
                    <a:pt x="52" y="38"/>
                    <a:pt x="50" y="38"/>
                  </a:cubicBezTo>
                  <a:cubicBezTo>
                    <a:pt x="49" y="39"/>
                    <a:pt x="50" y="39"/>
                    <a:pt x="51" y="39"/>
                  </a:cubicBezTo>
                  <a:cubicBezTo>
                    <a:pt x="52" y="39"/>
                    <a:pt x="53" y="40"/>
                    <a:pt x="51" y="40"/>
                  </a:cubicBezTo>
                  <a:cubicBezTo>
                    <a:pt x="49" y="40"/>
                    <a:pt x="49" y="41"/>
                    <a:pt x="49" y="41"/>
                  </a:cubicBezTo>
                  <a:cubicBezTo>
                    <a:pt x="48" y="42"/>
                    <a:pt x="49" y="42"/>
                    <a:pt x="49" y="43"/>
                  </a:cubicBezTo>
                  <a:cubicBezTo>
                    <a:pt x="49" y="43"/>
                    <a:pt x="49" y="43"/>
                    <a:pt x="48" y="43"/>
                  </a:cubicBezTo>
                  <a:cubicBezTo>
                    <a:pt x="47" y="43"/>
                    <a:pt x="47" y="43"/>
                    <a:pt x="46" y="44"/>
                  </a:cubicBezTo>
                  <a:cubicBezTo>
                    <a:pt x="45" y="45"/>
                    <a:pt x="46" y="45"/>
                    <a:pt x="46" y="45"/>
                  </a:cubicBezTo>
                  <a:cubicBezTo>
                    <a:pt x="46" y="45"/>
                    <a:pt x="46" y="46"/>
                    <a:pt x="46" y="46"/>
                  </a:cubicBezTo>
                  <a:cubicBezTo>
                    <a:pt x="45" y="46"/>
                    <a:pt x="44" y="46"/>
                    <a:pt x="45" y="46"/>
                  </a:cubicBezTo>
                  <a:cubicBezTo>
                    <a:pt x="46" y="46"/>
                    <a:pt x="47" y="46"/>
                    <a:pt x="46" y="47"/>
                  </a:cubicBezTo>
                  <a:cubicBezTo>
                    <a:pt x="46" y="47"/>
                    <a:pt x="45" y="48"/>
                    <a:pt x="47" y="48"/>
                  </a:cubicBezTo>
                  <a:cubicBezTo>
                    <a:pt x="48" y="48"/>
                    <a:pt x="49" y="47"/>
                    <a:pt x="50" y="48"/>
                  </a:cubicBezTo>
                  <a:cubicBezTo>
                    <a:pt x="50" y="48"/>
                    <a:pt x="49" y="48"/>
                    <a:pt x="49" y="48"/>
                  </a:cubicBezTo>
                  <a:cubicBezTo>
                    <a:pt x="48" y="48"/>
                    <a:pt x="48" y="49"/>
                    <a:pt x="47" y="49"/>
                  </a:cubicBezTo>
                  <a:cubicBezTo>
                    <a:pt x="46" y="49"/>
                    <a:pt x="46" y="48"/>
                    <a:pt x="45" y="49"/>
                  </a:cubicBezTo>
                  <a:cubicBezTo>
                    <a:pt x="44" y="49"/>
                    <a:pt x="44" y="49"/>
                    <a:pt x="43" y="49"/>
                  </a:cubicBezTo>
                  <a:cubicBezTo>
                    <a:pt x="42" y="49"/>
                    <a:pt x="41" y="49"/>
                    <a:pt x="41" y="49"/>
                  </a:cubicBezTo>
                  <a:cubicBezTo>
                    <a:pt x="42" y="49"/>
                    <a:pt x="43" y="50"/>
                    <a:pt x="42" y="50"/>
                  </a:cubicBezTo>
                  <a:cubicBezTo>
                    <a:pt x="42" y="50"/>
                    <a:pt x="40" y="51"/>
                    <a:pt x="42" y="51"/>
                  </a:cubicBezTo>
                  <a:cubicBezTo>
                    <a:pt x="43" y="51"/>
                    <a:pt x="44" y="50"/>
                    <a:pt x="44" y="50"/>
                  </a:cubicBezTo>
                  <a:cubicBezTo>
                    <a:pt x="44" y="51"/>
                    <a:pt x="44" y="51"/>
                    <a:pt x="43" y="51"/>
                  </a:cubicBezTo>
                  <a:cubicBezTo>
                    <a:pt x="42" y="51"/>
                    <a:pt x="42" y="52"/>
                    <a:pt x="42" y="53"/>
                  </a:cubicBezTo>
                  <a:cubicBezTo>
                    <a:pt x="41" y="53"/>
                    <a:pt x="42" y="53"/>
                    <a:pt x="42" y="53"/>
                  </a:cubicBezTo>
                  <a:cubicBezTo>
                    <a:pt x="42" y="54"/>
                    <a:pt x="42" y="54"/>
                    <a:pt x="41" y="54"/>
                  </a:cubicBezTo>
                  <a:cubicBezTo>
                    <a:pt x="40" y="54"/>
                    <a:pt x="41" y="54"/>
                    <a:pt x="42" y="55"/>
                  </a:cubicBezTo>
                  <a:cubicBezTo>
                    <a:pt x="42" y="55"/>
                    <a:pt x="42" y="55"/>
                    <a:pt x="41" y="55"/>
                  </a:cubicBezTo>
                  <a:cubicBezTo>
                    <a:pt x="40" y="55"/>
                    <a:pt x="40" y="55"/>
                    <a:pt x="40" y="56"/>
                  </a:cubicBezTo>
                  <a:cubicBezTo>
                    <a:pt x="41" y="57"/>
                    <a:pt x="42" y="57"/>
                    <a:pt x="42" y="57"/>
                  </a:cubicBezTo>
                  <a:cubicBezTo>
                    <a:pt x="42" y="57"/>
                    <a:pt x="41" y="58"/>
                    <a:pt x="40" y="58"/>
                  </a:cubicBezTo>
                  <a:cubicBezTo>
                    <a:pt x="39" y="58"/>
                    <a:pt x="38" y="58"/>
                    <a:pt x="37" y="59"/>
                  </a:cubicBezTo>
                  <a:cubicBezTo>
                    <a:pt x="37" y="60"/>
                    <a:pt x="37" y="60"/>
                    <a:pt x="36" y="60"/>
                  </a:cubicBezTo>
                  <a:cubicBezTo>
                    <a:pt x="34" y="60"/>
                    <a:pt x="32" y="60"/>
                    <a:pt x="33" y="60"/>
                  </a:cubicBezTo>
                  <a:cubicBezTo>
                    <a:pt x="34" y="61"/>
                    <a:pt x="36" y="61"/>
                    <a:pt x="36" y="61"/>
                  </a:cubicBezTo>
                  <a:cubicBezTo>
                    <a:pt x="37" y="61"/>
                    <a:pt x="38" y="60"/>
                    <a:pt x="39" y="59"/>
                  </a:cubicBezTo>
                  <a:cubicBezTo>
                    <a:pt x="40" y="59"/>
                    <a:pt x="41" y="59"/>
                    <a:pt x="40" y="59"/>
                  </a:cubicBezTo>
                  <a:cubicBezTo>
                    <a:pt x="38" y="60"/>
                    <a:pt x="38" y="61"/>
                    <a:pt x="38" y="61"/>
                  </a:cubicBezTo>
                  <a:cubicBezTo>
                    <a:pt x="37" y="61"/>
                    <a:pt x="36" y="61"/>
                    <a:pt x="36" y="62"/>
                  </a:cubicBezTo>
                  <a:cubicBezTo>
                    <a:pt x="36" y="63"/>
                    <a:pt x="37" y="63"/>
                    <a:pt x="36" y="64"/>
                  </a:cubicBezTo>
                  <a:cubicBezTo>
                    <a:pt x="36" y="64"/>
                    <a:pt x="35" y="64"/>
                    <a:pt x="34" y="64"/>
                  </a:cubicBezTo>
                  <a:cubicBezTo>
                    <a:pt x="34" y="63"/>
                    <a:pt x="33" y="63"/>
                    <a:pt x="32" y="63"/>
                  </a:cubicBezTo>
                  <a:cubicBezTo>
                    <a:pt x="32" y="64"/>
                    <a:pt x="30" y="66"/>
                    <a:pt x="29" y="67"/>
                  </a:cubicBezTo>
                  <a:cubicBezTo>
                    <a:pt x="28" y="67"/>
                    <a:pt x="27" y="68"/>
                    <a:pt x="28" y="68"/>
                  </a:cubicBezTo>
                  <a:cubicBezTo>
                    <a:pt x="29" y="68"/>
                    <a:pt x="30" y="68"/>
                    <a:pt x="29" y="68"/>
                  </a:cubicBezTo>
                  <a:cubicBezTo>
                    <a:pt x="28" y="69"/>
                    <a:pt x="28" y="69"/>
                    <a:pt x="27" y="69"/>
                  </a:cubicBezTo>
                  <a:cubicBezTo>
                    <a:pt x="26" y="69"/>
                    <a:pt x="25" y="70"/>
                    <a:pt x="26" y="70"/>
                  </a:cubicBezTo>
                  <a:cubicBezTo>
                    <a:pt x="27" y="70"/>
                    <a:pt x="27" y="70"/>
                    <a:pt x="27" y="71"/>
                  </a:cubicBezTo>
                  <a:cubicBezTo>
                    <a:pt x="27" y="72"/>
                    <a:pt x="28" y="72"/>
                    <a:pt x="30" y="71"/>
                  </a:cubicBezTo>
                  <a:cubicBezTo>
                    <a:pt x="31" y="71"/>
                    <a:pt x="34" y="71"/>
                    <a:pt x="34" y="70"/>
                  </a:cubicBezTo>
                  <a:cubicBezTo>
                    <a:pt x="34" y="69"/>
                    <a:pt x="33" y="70"/>
                    <a:pt x="33" y="69"/>
                  </a:cubicBezTo>
                  <a:cubicBezTo>
                    <a:pt x="33" y="68"/>
                    <a:pt x="33" y="68"/>
                    <a:pt x="34" y="69"/>
                  </a:cubicBezTo>
                  <a:cubicBezTo>
                    <a:pt x="35" y="70"/>
                    <a:pt x="36" y="70"/>
                    <a:pt x="35" y="70"/>
                  </a:cubicBezTo>
                  <a:cubicBezTo>
                    <a:pt x="34" y="70"/>
                    <a:pt x="35" y="71"/>
                    <a:pt x="34" y="71"/>
                  </a:cubicBezTo>
                  <a:cubicBezTo>
                    <a:pt x="33" y="72"/>
                    <a:pt x="33" y="72"/>
                    <a:pt x="32" y="73"/>
                  </a:cubicBezTo>
                  <a:cubicBezTo>
                    <a:pt x="31" y="73"/>
                    <a:pt x="31" y="73"/>
                    <a:pt x="30" y="73"/>
                  </a:cubicBezTo>
                  <a:cubicBezTo>
                    <a:pt x="30" y="72"/>
                    <a:pt x="30" y="72"/>
                    <a:pt x="29" y="73"/>
                  </a:cubicBezTo>
                  <a:cubicBezTo>
                    <a:pt x="29" y="73"/>
                    <a:pt x="28" y="74"/>
                    <a:pt x="27" y="74"/>
                  </a:cubicBezTo>
                  <a:cubicBezTo>
                    <a:pt x="27" y="73"/>
                    <a:pt x="26" y="73"/>
                    <a:pt x="26" y="73"/>
                  </a:cubicBezTo>
                  <a:cubicBezTo>
                    <a:pt x="26" y="72"/>
                    <a:pt x="26" y="71"/>
                    <a:pt x="25" y="72"/>
                  </a:cubicBezTo>
                  <a:cubicBezTo>
                    <a:pt x="24" y="73"/>
                    <a:pt x="24" y="74"/>
                    <a:pt x="23" y="74"/>
                  </a:cubicBezTo>
                  <a:cubicBezTo>
                    <a:pt x="22" y="74"/>
                    <a:pt x="22" y="74"/>
                    <a:pt x="22" y="73"/>
                  </a:cubicBezTo>
                  <a:cubicBezTo>
                    <a:pt x="23" y="71"/>
                    <a:pt x="22" y="71"/>
                    <a:pt x="22" y="72"/>
                  </a:cubicBezTo>
                  <a:cubicBezTo>
                    <a:pt x="21" y="73"/>
                    <a:pt x="21" y="73"/>
                    <a:pt x="21" y="74"/>
                  </a:cubicBezTo>
                  <a:cubicBezTo>
                    <a:pt x="21" y="75"/>
                    <a:pt x="22" y="76"/>
                    <a:pt x="20" y="75"/>
                  </a:cubicBezTo>
                  <a:cubicBezTo>
                    <a:pt x="18" y="75"/>
                    <a:pt x="18" y="75"/>
                    <a:pt x="18" y="76"/>
                  </a:cubicBezTo>
                  <a:cubicBezTo>
                    <a:pt x="17" y="76"/>
                    <a:pt x="18" y="77"/>
                    <a:pt x="18" y="78"/>
                  </a:cubicBezTo>
                  <a:cubicBezTo>
                    <a:pt x="18" y="78"/>
                    <a:pt x="17" y="79"/>
                    <a:pt x="17" y="78"/>
                  </a:cubicBezTo>
                  <a:cubicBezTo>
                    <a:pt x="17" y="77"/>
                    <a:pt x="18" y="76"/>
                    <a:pt x="17" y="76"/>
                  </a:cubicBezTo>
                  <a:cubicBezTo>
                    <a:pt x="16" y="76"/>
                    <a:pt x="15" y="76"/>
                    <a:pt x="14" y="77"/>
                  </a:cubicBezTo>
                  <a:cubicBezTo>
                    <a:pt x="13" y="77"/>
                    <a:pt x="12" y="77"/>
                    <a:pt x="12" y="78"/>
                  </a:cubicBezTo>
                  <a:cubicBezTo>
                    <a:pt x="12" y="79"/>
                    <a:pt x="11" y="79"/>
                    <a:pt x="13" y="79"/>
                  </a:cubicBezTo>
                  <a:cubicBezTo>
                    <a:pt x="14" y="79"/>
                    <a:pt x="14" y="80"/>
                    <a:pt x="16" y="79"/>
                  </a:cubicBezTo>
                  <a:cubicBezTo>
                    <a:pt x="17" y="79"/>
                    <a:pt x="17" y="78"/>
                    <a:pt x="18" y="79"/>
                  </a:cubicBezTo>
                  <a:cubicBezTo>
                    <a:pt x="18" y="79"/>
                    <a:pt x="19" y="80"/>
                    <a:pt x="20" y="79"/>
                  </a:cubicBezTo>
                  <a:cubicBezTo>
                    <a:pt x="20" y="78"/>
                    <a:pt x="21" y="78"/>
                    <a:pt x="20" y="79"/>
                  </a:cubicBezTo>
                  <a:cubicBezTo>
                    <a:pt x="19" y="80"/>
                    <a:pt x="19" y="80"/>
                    <a:pt x="18" y="80"/>
                  </a:cubicBezTo>
                  <a:cubicBezTo>
                    <a:pt x="17" y="79"/>
                    <a:pt x="16" y="79"/>
                    <a:pt x="15" y="80"/>
                  </a:cubicBezTo>
                  <a:cubicBezTo>
                    <a:pt x="14" y="80"/>
                    <a:pt x="14" y="81"/>
                    <a:pt x="12" y="80"/>
                  </a:cubicBezTo>
                  <a:cubicBezTo>
                    <a:pt x="11" y="80"/>
                    <a:pt x="8" y="80"/>
                    <a:pt x="8" y="81"/>
                  </a:cubicBezTo>
                  <a:cubicBezTo>
                    <a:pt x="8" y="82"/>
                    <a:pt x="8" y="81"/>
                    <a:pt x="10" y="81"/>
                  </a:cubicBezTo>
                  <a:cubicBezTo>
                    <a:pt x="11" y="82"/>
                    <a:pt x="12" y="82"/>
                    <a:pt x="12" y="83"/>
                  </a:cubicBezTo>
                  <a:cubicBezTo>
                    <a:pt x="12" y="85"/>
                    <a:pt x="12" y="86"/>
                    <a:pt x="11" y="85"/>
                  </a:cubicBezTo>
                  <a:cubicBezTo>
                    <a:pt x="11" y="83"/>
                    <a:pt x="12" y="82"/>
                    <a:pt x="10" y="82"/>
                  </a:cubicBezTo>
                  <a:cubicBezTo>
                    <a:pt x="9" y="82"/>
                    <a:pt x="9" y="82"/>
                    <a:pt x="8" y="82"/>
                  </a:cubicBezTo>
                  <a:cubicBezTo>
                    <a:pt x="8" y="83"/>
                    <a:pt x="8" y="85"/>
                    <a:pt x="8" y="84"/>
                  </a:cubicBezTo>
                  <a:cubicBezTo>
                    <a:pt x="8" y="83"/>
                    <a:pt x="8" y="82"/>
                    <a:pt x="8" y="82"/>
                  </a:cubicBezTo>
                  <a:cubicBezTo>
                    <a:pt x="7" y="81"/>
                    <a:pt x="8" y="79"/>
                    <a:pt x="7" y="80"/>
                  </a:cubicBezTo>
                  <a:cubicBezTo>
                    <a:pt x="7" y="81"/>
                    <a:pt x="6" y="82"/>
                    <a:pt x="6" y="82"/>
                  </a:cubicBezTo>
                  <a:cubicBezTo>
                    <a:pt x="6" y="83"/>
                    <a:pt x="6" y="85"/>
                    <a:pt x="6" y="85"/>
                  </a:cubicBezTo>
                  <a:cubicBezTo>
                    <a:pt x="7" y="85"/>
                    <a:pt x="7" y="85"/>
                    <a:pt x="6" y="85"/>
                  </a:cubicBezTo>
                  <a:cubicBezTo>
                    <a:pt x="5" y="84"/>
                    <a:pt x="5" y="84"/>
                    <a:pt x="5" y="83"/>
                  </a:cubicBezTo>
                  <a:cubicBezTo>
                    <a:pt x="4" y="82"/>
                    <a:pt x="5" y="83"/>
                    <a:pt x="4" y="83"/>
                  </a:cubicBezTo>
                  <a:cubicBezTo>
                    <a:pt x="3" y="84"/>
                    <a:pt x="4" y="85"/>
                    <a:pt x="2" y="85"/>
                  </a:cubicBezTo>
                  <a:cubicBezTo>
                    <a:pt x="1" y="85"/>
                    <a:pt x="0" y="86"/>
                    <a:pt x="0" y="86"/>
                  </a:cubicBezTo>
                  <a:cubicBezTo>
                    <a:pt x="0" y="86"/>
                    <a:pt x="1" y="87"/>
                    <a:pt x="0" y="87"/>
                  </a:cubicBezTo>
                  <a:cubicBezTo>
                    <a:pt x="0" y="88"/>
                    <a:pt x="0" y="89"/>
                    <a:pt x="0" y="89"/>
                  </a:cubicBezTo>
                  <a:cubicBezTo>
                    <a:pt x="1" y="89"/>
                    <a:pt x="2" y="88"/>
                    <a:pt x="2" y="89"/>
                  </a:cubicBezTo>
                  <a:cubicBezTo>
                    <a:pt x="3" y="89"/>
                    <a:pt x="4" y="90"/>
                    <a:pt x="3" y="90"/>
                  </a:cubicBezTo>
                  <a:cubicBezTo>
                    <a:pt x="2" y="90"/>
                    <a:pt x="2" y="90"/>
                    <a:pt x="1" y="90"/>
                  </a:cubicBezTo>
                  <a:cubicBezTo>
                    <a:pt x="0" y="91"/>
                    <a:pt x="0" y="92"/>
                    <a:pt x="0" y="92"/>
                  </a:cubicBezTo>
                  <a:cubicBezTo>
                    <a:pt x="1" y="92"/>
                    <a:pt x="1" y="93"/>
                    <a:pt x="2" y="93"/>
                  </a:cubicBezTo>
                  <a:cubicBezTo>
                    <a:pt x="3" y="93"/>
                    <a:pt x="3" y="93"/>
                    <a:pt x="4" y="92"/>
                  </a:cubicBezTo>
                  <a:cubicBezTo>
                    <a:pt x="5" y="92"/>
                    <a:pt x="7" y="93"/>
                    <a:pt x="5" y="93"/>
                  </a:cubicBezTo>
                  <a:cubicBezTo>
                    <a:pt x="3" y="93"/>
                    <a:pt x="4" y="93"/>
                    <a:pt x="2" y="94"/>
                  </a:cubicBezTo>
                  <a:cubicBezTo>
                    <a:pt x="1" y="94"/>
                    <a:pt x="0" y="94"/>
                    <a:pt x="0" y="95"/>
                  </a:cubicBezTo>
                  <a:cubicBezTo>
                    <a:pt x="0" y="96"/>
                    <a:pt x="0" y="96"/>
                    <a:pt x="1" y="96"/>
                  </a:cubicBezTo>
                  <a:cubicBezTo>
                    <a:pt x="2" y="96"/>
                    <a:pt x="4" y="96"/>
                    <a:pt x="4" y="97"/>
                  </a:cubicBezTo>
                  <a:cubicBezTo>
                    <a:pt x="4" y="98"/>
                    <a:pt x="4" y="100"/>
                    <a:pt x="3" y="99"/>
                  </a:cubicBezTo>
                  <a:cubicBezTo>
                    <a:pt x="3" y="98"/>
                    <a:pt x="3" y="97"/>
                    <a:pt x="2" y="97"/>
                  </a:cubicBezTo>
                  <a:cubicBezTo>
                    <a:pt x="1" y="97"/>
                    <a:pt x="1" y="97"/>
                    <a:pt x="1" y="98"/>
                  </a:cubicBezTo>
                  <a:cubicBezTo>
                    <a:pt x="0" y="98"/>
                    <a:pt x="0" y="100"/>
                    <a:pt x="1" y="100"/>
                  </a:cubicBezTo>
                  <a:cubicBezTo>
                    <a:pt x="1" y="100"/>
                    <a:pt x="2" y="101"/>
                    <a:pt x="3" y="101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5" y="101"/>
                    <a:pt x="5" y="102"/>
                    <a:pt x="6" y="101"/>
                  </a:cubicBezTo>
                  <a:cubicBezTo>
                    <a:pt x="7" y="101"/>
                    <a:pt x="7" y="101"/>
                    <a:pt x="7" y="100"/>
                  </a:cubicBezTo>
                  <a:cubicBezTo>
                    <a:pt x="8" y="99"/>
                    <a:pt x="8" y="98"/>
                    <a:pt x="9" y="99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9"/>
                    <a:pt x="8" y="100"/>
                  </a:cubicBezTo>
                  <a:cubicBezTo>
                    <a:pt x="7" y="101"/>
                    <a:pt x="7" y="102"/>
                    <a:pt x="6" y="102"/>
                  </a:cubicBezTo>
                  <a:cubicBezTo>
                    <a:pt x="6" y="102"/>
                    <a:pt x="5" y="102"/>
                    <a:pt x="4" y="102"/>
                  </a:cubicBezTo>
                  <a:cubicBezTo>
                    <a:pt x="4" y="102"/>
                    <a:pt x="6" y="103"/>
                    <a:pt x="6" y="103"/>
                  </a:cubicBezTo>
                  <a:cubicBezTo>
                    <a:pt x="7" y="104"/>
                    <a:pt x="7" y="104"/>
                    <a:pt x="6" y="103"/>
                  </a:cubicBezTo>
                  <a:cubicBezTo>
                    <a:pt x="4" y="103"/>
                    <a:pt x="4" y="103"/>
                    <a:pt x="5" y="104"/>
                  </a:cubicBezTo>
                  <a:cubicBezTo>
                    <a:pt x="5" y="105"/>
                    <a:pt x="6" y="105"/>
                    <a:pt x="7" y="105"/>
                  </a:cubicBezTo>
                  <a:cubicBezTo>
                    <a:pt x="7" y="106"/>
                    <a:pt x="9" y="106"/>
                    <a:pt x="8" y="106"/>
                  </a:cubicBezTo>
                  <a:cubicBezTo>
                    <a:pt x="6" y="106"/>
                    <a:pt x="6" y="106"/>
                    <a:pt x="5" y="106"/>
                  </a:cubicBezTo>
                  <a:cubicBezTo>
                    <a:pt x="4" y="105"/>
                    <a:pt x="3" y="106"/>
                    <a:pt x="3" y="105"/>
                  </a:cubicBezTo>
                  <a:cubicBezTo>
                    <a:pt x="3" y="104"/>
                    <a:pt x="3" y="101"/>
                    <a:pt x="2" y="103"/>
                  </a:cubicBezTo>
                  <a:cubicBezTo>
                    <a:pt x="2" y="104"/>
                    <a:pt x="2" y="104"/>
                    <a:pt x="2" y="105"/>
                  </a:cubicBezTo>
                  <a:cubicBezTo>
                    <a:pt x="2" y="106"/>
                    <a:pt x="3" y="106"/>
                    <a:pt x="2" y="107"/>
                  </a:cubicBezTo>
                  <a:cubicBezTo>
                    <a:pt x="2" y="107"/>
                    <a:pt x="2" y="108"/>
                    <a:pt x="1" y="108"/>
                  </a:cubicBezTo>
                  <a:cubicBezTo>
                    <a:pt x="1" y="109"/>
                    <a:pt x="2" y="109"/>
                    <a:pt x="2" y="108"/>
                  </a:cubicBezTo>
                  <a:cubicBezTo>
                    <a:pt x="3" y="108"/>
                    <a:pt x="4" y="108"/>
                    <a:pt x="4" y="107"/>
                  </a:cubicBezTo>
                  <a:cubicBezTo>
                    <a:pt x="4" y="106"/>
                    <a:pt x="5" y="106"/>
                    <a:pt x="5" y="107"/>
                  </a:cubicBezTo>
                  <a:cubicBezTo>
                    <a:pt x="5" y="107"/>
                    <a:pt x="5" y="108"/>
                    <a:pt x="5" y="108"/>
                  </a:cubicBezTo>
                  <a:cubicBezTo>
                    <a:pt x="6" y="108"/>
                    <a:pt x="6" y="107"/>
                    <a:pt x="6" y="107"/>
                  </a:cubicBezTo>
                  <a:cubicBezTo>
                    <a:pt x="7" y="107"/>
                    <a:pt x="7" y="106"/>
                    <a:pt x="7" y="107"/>
                  </a:cubicBezTo>
                  <a:cubicBezTo>
                    <a:pt x="7" y="108"/>
                    <a:pt x="7" y="107"/>
                    <a:pt x="7" y="108"/>
                  </a:cubicBezTo>
                  <a:cubicBezTo>
                    <a:pt x="7" y="108"/>
                    <a:pt x="7" y="109"/>
                    <a:pt x="6" y="109"/>
                  </a:cubicBezTo>
                  <a:cubicBezTo>
                    <a:pt x="6" y="109"/>
                    <a:pt x="5" y="110"/>
                    <a:pt x="6" y="110"/>
                  </a:cubicBezTo>
                  <a:cubicBezTo>
                    <a:pt x="6" y="111"/>
                    <a:pt x="7" y="111"/>
                    <a:pt x="7" y="111"/>
                  </a:cubicBezTo>
                  <a:cubicBezTo>
                    <a:pt x="7" y="110"/>
                    <a:pt x="8" y="111"/>
                    <a:pt x="8" y="111"/>
                  </a:cubicBezTo>
                  <a:cubicBezTo>
                    <a:pt x="7" y="111"/>
                    <a:pt x="7" y="112"/>
                    <a:pt x="5" y="112"/>
                  </a:cubicBezTo>
                  <a:cubicBezTo>
                    <a:pt x="4" y="112"/>
                    <a:pt x="4" y="112"/>
                    <a:pt x="3" y="113"/>
                  </a:cubicBezTo>
                  <a:cubicBezTo>
                    <a:pt x="3" y="114"/>
                    <a:pt x="4" y="114"/>
                    <a:pt x="5" y="114"/>
                  </a:cubicBezTo>
                  <a:cubicBezTo>
                    <a:pt x="5" y="114"/>
                    <a:pt x="6" y="115"/>
                    <a:pt x="8" y="116"/>
                  </a:cubicBezTo>
                  <a:cubicBezTo>
                    <a:pt x="10" y="117"/>
                    <a:pt x="10" y="116"/>
                    <a:pt x="10" y="116"/>
                  </a:cubicBezTo>
                  <a:cubicBezTo>
                    <a:pt x="11" y="117"/>
                    <a:pt x="11" y="117"/>
                    <a:pt x="12" y="118"/>
                  </a:cubicBezTo>
                  <a:cubicBezTo>
                    <a:pt x="13" y="118"/>
                    <a:pt x="16" y="118"/>
                    <a:pt x="17" y="117"/>
                  </a:cubicBezTo>
                  <a:cubicBezTo>
                    <a:pt x="18" y="117"/>
                    <a:pt x="22" y="114"/>
                    <a:pt x="24" y="113"/>
                  </a:cubicBezTo>
                  <a:cubicBezTo>
                    <a:pt x="26" y="112"/>
                    <a:pt x="25" y="111"/>
                    <a:pt x="27" y="110"/>
                  </a:cubicBezTo>
                  <a:cubicBezTo>
                    <a:pt x="29" y="109"/>
                    <a:pt x="30" y="110"/>
                    <a:pt x="30" y="108"/>
                  </a:cubicBezTo>
                  <a:cubicBezTo>
                    <a:pt x="31" y="107"/>
                    <a:pt x="31" y="106"/>
                    <a:pt x="31" y="105"/>
                  </a:cubicBezTo>
                  <a:cubicBezTo>
                    <a:pt x="31" y="105"/>
                    <a:pt x="31" y="105"/>
                    <a:pt x="32" y="107"/>
                  </a:cubicBezTo>
                  <a:cubicBezTo>
                    <a:pt x="32" y="109"/>
                    <a:pt x="34" y="108"/>
                    <a:pt x="34" y="109"/>
                  </a:cubicBezTo>
                  <a:cubicBezTo>
                    <a:pt x="34" y="110"/>
                    <a:pt x="34" y="109"/>
                    <a:pt x="34" y="111"/>
                  </a:cubicBezTo>
                  <a:cubicBezTo>
                    <a:pt x="35" y="110"/>
                    <a:pt x="36" y="111"/>
                    <a:pt x="37" y="11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90" name="Freeform 705">
              <a:extLst>
                <a:ext uri="{FF2B5EF4-FFF2-40B4-BE49-F238E27FC236}">
                  <a16:creationId xmlns:a16="http://schemas.microsoft.com/office/drawing/2014/main" id="{AECFB0A5-4B73-EC55-2B2C-78F63FDA5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774" y="3137504"/>
              <a:ext cx="84760" cy="90813"/>
            </a:xfrm>
            <a:custGeom>
              <a:avLst/>
              <a:gdLst>
                <a:gd name="T0" fmla="*/ 23 w 26"/>
                <a:gd name="T1" fmla="*/ 9 h 28"/>
                <a:gd name="T2" fmla="*/ 24 w 26"/>
                <a:gd name="T3" fmla="*/ 8 h 28"/>
                <a:gd name="T4" fmla="*/ 24 w 26"/>
                <a:gd name="T5" fmla="*/ 8 h 28"/>
                <a:gd name="T6" fmla="*/ 20 w 26"/>
                <a:gd name="T7" fmla="*/ 6 h 28"/>
                <a:gd name="T8" fmla="*/ 18 w 26"/>
                <a:gd name="T9" fmla="*/ 7 h 28"/>
                <a:gd name="T10" fmla="*/ 15 w 26"/>
                <a:gd name="T11" fmla="*/ 5 h 28"/>
                <a:gd name="T12" fmla="*/ 18 w 26"/>
                <a:gd name="T13" fmla="*/ 1 h 28"/>
                <a:gd name="T14" fmla="*/ 18 w 26"/>
                <a:gd name="T15" fmla="*/ 1 h 28"/>
                <a:gd name="T16" fmla="*/ 16 w 26"/>
                <a:gd name="T17" fmla="*/ 0 h 28"/>
                <a:gd name="T18" fmla="*/ 13 w 26"/>
                <a:gd name="T19" fmla="*/ 1 h 28"/>
                <a:gd name="T20" fmla="*/ 13 w 26"/>
                <a:gd name="T21" fmla="*/ 1 h 28"/>
                <a:gd name="T22" fmla="*/ 11 w 26"/>
                <a:gd name="T23" fmla="*/ 2 h 28"/>
                <a:gd name="T24" fmla="*/ 11 w 26"/>
                <a:gd name="T25" fmla="*/ 3 h 28"/>
                <a:gd name="T26" fmla="*/ 13 w 26"/>
                <a:gd name="T27" fmla="*/ 5 h 28"/>
                <a:gd name="T28" fmla="*/ 9 w 26"/>
                <a:gd name="T29" fmla="*/ 6 h 28"/>
                <a:gd name="T30" fmla="*/ 6 w 26"/>
                <a:gd name="T31" fmla="*/ 6 h 28"/>
                <a:gd name="T32" fmla="*/ 3 w 26"/>
                <a:gd name="T33" fmla="*/ 7 h 28"/>
                <a:gd name="T34" fmla="*/ 4 w 26"/>
                <a:gd name="T35" fmla="*/ 8 h 28"/>
                <a:gd name="T36" fmla="*/ 3 w 26"/>
                <a:gd name="T37" fmla="*/ 8 h 28"/>
                <a:gd name="T38" fmla="*/ 2 w 26"/>
                <a:gd name="T39" fmla="*/ 9 h 28"/>
                <a:gd name="T40" fmla="*/ 5 w 26"/>
                <a:gd name="T41" fmla="*/ 11 h 28"/>
                <a:gd name="T42" fmla="*/ 3 w 26"/>
                <a:gd name="T43" fmla="*/ 13 h 28"/>
                <a:gd name="T44" fmla="*/ 7 w 26"/>
                <a:gd name="T45" fmla="*/ 14 h 28"/>
                <a:gd name="T46" fmla="*/ 7 w 26"/>
                <a:gd name="T47" fmla="*/ 15 h 28"/>
                <a:gd name="T48" fmla="*/ 5 w 26"/>
                <a:gd name="T49" fmla="*/ 20 h 28"/>
                <a:gd name="T50" fmla="*/ 2 w 26"/>
                <a:gd name="T51" fmla="*/ 22 h 28"/>
                <a:gd name="T52" fmla="*/ 2 w 26"/>
                <a:gd name="T53" fmla="*/ 22 h 28"/>
                <a:gd name="T54" fmla="*/ 3 w 26"/>
                <a:gd name="T55" fmla="*/ 22 h 28"/>
                <a:gd name="T56" fmla="*/ 1 w 26"/>
                <a:gd name="T57" fmla="*/ 24 h 28"/>
                <a:gd name="T58" fmla="*/ 4 w 26"/>
                <a:gd name="T59" fmla="*/ 24 h 28"/>
                <a:gd name="T60" fmla="*/ 3 w 26"/>
                <a:gd name="T61" fmla="*/ 26 h 28"/>
                <a:gd name="T62" fmla="*/ 5 w 26"/>
                <a:gd name="T63" fmla="*/ 25 h 28"/>
                <a:gd name="T64" fmla="*/ 6 w 26"/>
                <a:gd name="T65" fmla="*/ 27 h 28"/>
                <a:gd name="T66" fmla="*/ 9 w 26"/>
                <a:gd name="T67" fmla="*/ 26 h 28"/>
                <a:gd name="T68" fmla="*/ 17 w 26"/>
                <a:gd name="T69" fmla="*/ 23 h 28"/>
                <a:gd name="T70" fmla="*/ 22 w 26"/>
                <a:gd name="T71" fmla="*/ 22 h 28"/>
                <a:gd name="T72" fmla="*/ 24 w 26"/>
                <a:gd name="T73" fmla="*/ 19 h 28"/>
                <a:gd name="T74" fmla="*/ 26 w 26"/>
                <a:gd name="T75" fmla="*/ 14 h 28"/>
                <a:gd name="T76" fmla="*/ 23 w 26"/>
                <a:gd name="T77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6" h="28">
                  <a:moveTo>
                    <a:pt x="23" y="9"/>
                  </a:moveTo>
                  <a:cubicBezTo>
                    <a:pt x="23" y="8"/>
                    <a:pt x="23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2" y="7"/>
                    <a:pt x="21" y="5"/>
                    <a:pt x="20" y="6"/>
                  </a:cubicBezTo>
                  <a:cubicBezTo>
                    <a:pt x="20" y="6"/>
                    <a:pt x="19" y="7"/>
                    <a:pt x="18" y="7"/>
                  </a:cubicBezTo>
                  <a:cubicBezTo>
                    <a:pt x="17" y="7"/>
                    <a:pt x="15" y="6"/>
                    <a:pt x="15" y="5"/>
                  </a:cubicBezTo>
                  <a:cubicBezTo>
                    <a:pt x="15" y="5"/>
                    <a:pt x="17" y="3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1"/>
                    <a:pt x="17" y="1"/>
                    <a:pt x="16" y="0"/>
                  </a:cubicBezTo>
                  <a:cubicBezTo>
                    <a:pt x="14" y="0"/>
                    <a:pt x="13" y="1"/>
                    <a:pt x="13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2"/>
                    <a:pt x="11" y="2"/>
                    <a:pt x="11" y="2"/>
                  </a:cubicBezTo>
                  <a:cubicBezTo>
                    <a:pt x="10" y="3"/>
                    <a:pt x="9" y="3"/>
                    <a:pt x="11" y="3"/>
                  </a:cubicBezTo>
                  <a:cubicBezTo>
                    <a:pt x="12" y="3"/>
                    <a:pt x="14" y="4"/>
                    <a:pt x="13" y="5"/>
                  </a:cubicBezTo>
                  <a:cubicBezTo>
                    <a:pt x="12" y="5"/>
                    <a:pt x="10" y="5"/>
                    <a:pt x="9" y="6"/>
                  </a:cubicBezTo>
                  <a:cubicBezTo>
                    <a:pt x="9" y="6"/>
                    <a:pt x="7" y="6"/>
                    <a:pt x="6" y="6"/>
                  </a:cubicBezTo>
                  <a:cubicBezTo>
                    <a:pt x="5" y="6"/>
                    <a:pt x="2" y="7"/>
                    <a:pt x="3" y="7"/>
                  </a:cubicBezTo>
                  <a:cubicBezTo>
                    <a:pt x="4" y="7"/>
                    <a:pt x="4" y="7"/>
                    <a:pt x="4" y="8"/>
                  </a:cubicBezTo>
                  <a:cubicBezTo>
                    <a:pt x="3" y="8"/>
                    <a:pt x="1" y="8"/>
                    <a:pt x="3" y="8"/>
                  </a:cubicBezTo>
                  <a:cubicBezTo>
                    <a:pt x="4" y="8"/>
                    <a:pt x="1" y="9"/>
                    <a:pt x="2" y="9"/>
                  </a:cubicBezTo>
                  <a:cubicBezTo>
                    <a:pt x="4" y="9"/>
                    <a:pt x="6" y="10"/>
                    <a:pt x="5" y="11"/>
                  </a:cubicBezTo>
                  <a:cubicBezTo>
                    <a:pt x="4" y="11"/>
                    <a:pt x="1" y="13"/>
                    <a:pt x="3" y="13"/>
                  </a:cubicBezTo>
                  <a:cubicBezTo>
                    <a:pt x="5" y="13"/>
                    <a:pt x="6" y="14"/>
                    <a:pt x="7" y="14"/>
                  </a:cubicBezTo>
                  <a:cubicBezTo>
                    <a:pt x="7" y="14"/>
                    <a:pt x="8" y="14"/>
                    <a:pt x="7" y="15"/>
                  </a:cubicBezTo>
                  <a:cubicBezTo>
                    <a:pt x="6" y="16"/>
                    <a:pt x="5" y="19"/>
                    <a:pt x="5" y="20"/>
                  </a:cubicBezTo>
                  <a:cubicBezTo>
                    <a:pt x="4" y="21"/>
                    <a:pt x="3" y="22"/>
                    <a:pt x="2" y="22"/>
                  </a:cubicBezTo>
                  <a:cubicBezTo>
                    <a:pt x="1" y="21"/>
                    <a:pt x="1" y="22"/>
                    <a:pt x="2" y="22"/>
                  </a:cubicBezTo>
                  <a:cubicBezTo>
                    <a:pt x="4" y="22"/>
                    <a:pt x="4" y="22"/>
                    <a:pt x="3" y="22"/>
                  </a:cubicBezTo>
                  <a:cubicBezTo>
                    <a:pt x="2" y="22"/>
                    <a:pt x="0" y="24"/>
                    <a:pt x="1" y="24"/>
                  </a:cubicBezTo>
                  <a:cubicBezTo>
                    <a:pt x="2" y="24"/>
                    <a:pt x="4" y="23"/>
                    <a:pt x="4" y="24"/>
                  </a:cubicBezTo>
                  <a:cubicBezTo>
                    <a:pt x="3" y="24"/>
                    <a:pt x="2" y="26"/>
                    <a:pt x="3" y="26"/>
                  </a:cubicBezTo>
                  <a:cubicBezTo>
                    <a:pt x="4" y="25"/>
                    <a:pt x="6" y="25"/>
                    <a:pt x="5" y="25"/>
                  </a:cubicBezTo>
                  <a:cubicBezTo>
                    <a:pt x="5" y="26"/>
                    <a:pt x="5" y="28"/>
                    <a:pt x="6" y="27"/>
                  </a:cubicBezTo>
                  <a:cubicBezTo>
                    <a:pt x="6" y="26"/>
                    <a:pt x="7" y="27"/>
                    <a:pt x="9" y="26"/>
                  </a:cubicBezTo>
                  <a:cubicBezTo>
                    <a:pt x="10" y="26"/>
                    <a:pt x="14" y="24"/>
                    <a:pt x="17" y="23"/>
                  </a:cubicBezTo>
                  <a:cubicBezTo>
                    <a:pt x="19" y="22"/>
                    <a:pt x="21" y="23"/>
                    <a:pt x="22" y="22"/>
                  </a:cubicBezTo>
                  <a:cubicBezTo>
                    <a:pt x="24" y="21"/>
                    <a:pt x="24" y="20"/>
                    <a:pt x="24" y="19"/>
                  </a:cubicBezTo>
                  <a:cubicBezTo>
                    <a:pt x="25" y="17"/>
                    <a:pt x="26" y="17"/>
                    <a:pt x="26" y="14"/>
                  </a:cubicBezTo>
                  <a:cubicBezTo>
                    <a:pt x="25" y="11"/>
                    <a:pt x="24" y="9"/>
                    <a:pt x="23" y="9"/>
                  </a:cubicBezTo>
                  <a:close/>
                </a:path>
              </a:pathLst>
            </a:custGeom>
            <a:solidFill>
              <a:srgbClr val="F2F2F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91" name="Freeform 706">
              <a:extLst>
                <a:ext uri="{FF2B5EF4-FFF2-40B4-BE49-F238E27FC236}">
                  <a16:creationId xmlns:a16="http://schemas.microsoft.com/office/drawing/2014/main" id="{9C45EA7E-5811-3F5F-E4A9-89BB604DE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0208" y="3133872"/>
              <a:ext cx="48434" cy="30271"/>
            </a:xfrm>
            <a:custGeom>
              <a:avLst/>
              <a:gdLst>
                <a:gd name="T0" fmla="*/ 0 w 15"/>
                <a:gd name="T1" fmla="*/ 6 h 9"/>
                <a:gd name="T2" fmla="*/ 3 w 15"/>
                <a:gd name="T3" fmla="*/ 8 h 9"/>
                <a:gd name="T4" fmla="*/ 5 w 15"/>
                <a:gd name="T5" fmla="*/ 7 h 9"/>
                <a:gd name="T6" fmla="*/ 9 w 15"/>
                <a:gd name="T7" fmla="*/ 9 h 9"/>
                <a:gd name="T8" fmla="*/ 9 w 15"/>
                <a:gd name="T9" fmla="*/ 9 h 9"/>
                <a:gd name="T10" fmla="*/ 11 w 15"/>
                <a:gd name="T11" fmla="*/ 8 h 9"/>
                <a:gd name="T12" fmla="*/ 14 w 15"/>
                <a:gd name="T13" fmla="*/ 6 h 9"/>
                <a:gd name="T14" fmla="*/ 12 w 15"/>
                <a:gd name="T15" fmla="*/ 4 h 9"/>
                <a:gd name="T16" fmla="*/ 12 w 15"/>
                <a:gd name="T17" fmla="*/ 4 h 9"/>
                <a:gd name="T18" fmla="*/ 10 w 15"/>
                <a:gd name="T19" fmla="*/ 1 h 9"/>
                <a:gd name="T20" fmla="*/ 8 w 15"/>
                <a:gd name="T21" fmla="*/ 0 h 9"/>
                <a:gd name="T22" fmla="*/ 5 w 15"/>
                <a:gd name="T23" fmla="*/ 1 h 9"/>
                <a:gd name="T24" fmla="*/ 3 w 15"/>
                <a:gd name="T25" fmla="*/ 2 h 9"/>
                <a:gd name="T26" fmla="*/ 3 w 15"/>
                <a:gd name="T27" fmla="*/ 2 h 9"/>
                <a:gd name="T28" fmla="*/ 0 w 15"/>
                <a:gd name="T2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9">
                  <a:moveTo>
                    <a:pt x="0" y="6"/>
                  </a:moveTo>
                  <a:cubicBezTo>
                    <a:pt x="0" y="7"/>
                    <a:pt x="2" y="8"/>
                    <a:pt x="3" y="8"/>
                  </a:cubicBezTo>
                  <a:cubicBezTo>
                    <a:pt x="4" y="8"/>
                    <a:pt x="5" y="7"/>
                    <a:pt x="5" y="7"/>
                  </a:cubicBezTo>
                  <a:cubicBezTo>
                    <a:pt x="6" y="6"/>
                    <a:pt x="7" y="8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10" y="9"/>
                    <a:pt x="11" y="8"/>
                  </a:cubicBezTo>
                  <a:cubicBezTo>
                    <a:pt x="12" y="7"/>
                    <a:pt x="13" y="6"/>
                    <a:pt x="14" y="6"/>
                  </a:cubicBezTo>
                  <a:cubicBezTo>
                    <a:pt x="15" y="5"/>
                    <a:pt x="13" y="4"/>
                    <a:pt x="12" y="4"/>
                  </a:cubicBezTo>
                  <a:cubicBezTo>
                    <a:pt x="11" y="4"/>
                    <a:pt x="12" y="4"/>
                    <a:pt x="12" y="4"/>
                  </a:cubicBezTo>
                  <a:cubicBezTo>
                    <a:pt x="12" y="3"/>
                    <a:pt x="11" y="1"/>
                    <a:pt x="10" y="1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4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4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92" name="Freeform 707">
              <a:extLst>
                <a:ext uri="{FF2B5EF4-FFF2-40B4-BE49-F238E27FC236}">
                  <a16:creationId xmlns:a16="http://schemas.microsoft.com/office/drawing/2014/main" id="{62750315-B1AC-03ED-429F-FAC26D342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8413" y="3402679"/>
              <a:ext cx="226430" cy="165886"/>
            </a:xfrm>
            <a:custGeom>
              <a:avLst/>
              <a:gdLst>
                <a:gd name="T0" fmla="*/ 63 w 70"/>
                <a:gd name="T1" fmla="*/ 9 h 51"/>
                <a:gd name="T2" fmla="*/ 60 w 70"/>
                <a:gd name="T3" fmla="*/ 8 h 51"/>
                <a:gd name="T4" fmla="*/ 55 w 70"/>
                <a:gd name="T5" fmla="*/ 6 h 51"/>
                <a:gd name="T6" fmla="*/ 49 w 70"/>
                <a:gd name="T7" fmla="*/ 6 h 51"/>
                <a:gd name="T8" fmla="*/ 42 w 70"/>
                <a:gd name="T9" fmla="*/ 2 h 51"/>
                <a:gd name="T10" fmla="*/ 40 w 70"/>
                <a:gd name="T11" fmla="*/ 3 h 51"/>
                <a:gd name="T12" fmla="*/ 36 w 70"/>
                <a:gd name="T13" fmla="*/ 2 h 51"/>
                <a:gd name="T14" fmla="*/ 32 w 70"/>
                <a:gd name="T15" fmla="*/ 2 h 51"/>
                <a:gd name="T16" fmla="*/ 21 w 70"/>
                <a:gd name="T17" fmla="*/ 1 h 51"/>
                <a:gd name="T18" fmla="*/ 9 w 70"/>
                <a:gd name="T19" fmla="*/ 0 h 51"/>
                <a:gd name="T20" fmla="*/ 5 w 70"/>
                <a:gd name="T21" fmla="*/ 2 h 51"/>
                <a:gd name="T22" fmla="*/ 1 w 70"/>
                <a:gd name="T23" fmla="*/ 4 h 51"/>
                <a:gd name="T24" fmla="*/ 0 w 70"/>
                <a:gd name="T25" fmla="*/ 6 h 51"/>
                <a:gd name="T26" fmla="*/ 2 w 70"/>
                <a:gd name="T27" fmla="*/ 11 h 51"/>
                <a:gd name="T28" fmla="*/ 2 w 70"/>
                <a:gd name="T29" fmla="*/ 12 h 51"/>
                <a:gd name="T30" fmla="*/ 5 w 70"/>
                <a:gd name="T31" fmla="*/ 11 h 51"/>
                <a:gd name="T32" fmla="*/ 7 w 70"/>
                <a:gd name="T33" fmla="*/ 13 h 51"/>
                <a:gd name="T34" fmla="*/ 12 w 70"/>
                <a:gd name="T35" fmla="*/ 12 h 51"/>
                <a:gd name="T36" fmla="*/ 15 w 70"/>
                <a:gd name="T37" fmla="*/ 13 h 51"/>
                <a:gd name="T38" fmla="*/ 15 w 70"/>
                <a:gd name="T39" fmla="*/ 16 h 51"/>
                <a:gd name="T40" fmla="*/ 13 w 70"/>
                <a:gd name="T41" fmla="*/ 19 h 51"/>
                <a:gd name="T42" fmla="*/ 13 w 70"/>
                <a:gd name="T43" fmla="*/ 24 h 51"/>
                <a:gd name="T44" fmla="*/ 11 w 70"/>
                <a:gd name="T45" fmla="*/ 27 h 51"/>
                <a:gd name="T46" fmla="*/ 12 w 70"/>
                <a:gd name="T47" fmla="*/ 30 h 51"/>
                <a:gd name="T48" fmla="*/ 12 w 70"/>
                <a:gd name="T49" fmla="*/ 33 h 51"/>
                <a:gd name="T50" fmla="*/ 11 w 70"/>
                <a:gd name="T51" fmla="*/ 36 h 51"/>
                <a:gd name="T52" fmla="*/ 11 w 70"/>
                <a:gd name="T53" fmla="*/ 39 h 51"/>
                <a:gd name="T54" fmla="*/ 10 w 70"/>
                <a:gd name="T55" fmla="*/ 43 h 51"/>
                <a:gd name="T56" fmla="*/ 10 w 70"/>
                <a:gd name="T57" fmla="*/ 43 h 51"/>
                <a:gd name="T58" fmla="*/ 13 w 70"/>
                <a:gd name="T59" fmla="*/ 43 h 51"/>
                <a:gd name="T60" fmla="*/ 19 w 70"/>
                <a:gd name="T61" fmla="*/ 50 h 51"/>
                <a:gd name="T62" fmla="*/ 21 w 70"/>
                <a:gd name="T63" fmla="*/ 50 h 51"/>
                <a:gd name="T64" fmla="*/ 24 w 70"/>
                <a:gd name="T65" fmla="*/ 48 h 51"/>
                <a:gd name="T66" fmla="*/ 30 w 70"/>
                <a:gd name="T67" fmla="*/ 46 h 51"/>
                <a:gd name="T68" fmla="*/ 38 w 70"/>
                <a:gd name="T69" fmla="*/ 46 h 51"/>
                <a:gd name="T70" fmla="*/ 41 w 70"/>
                <a:gd name="T71" fmla="*/ 43 h 51"/>
                <a:gd name="T72" fmla="*/ 47 w 70"/>
                <a:gd name="T73" fmla="*/ 39 h 51"/>
                <a:gd name="T74" fmla="*/ 51 w 70"/>
                <a:gd name="T75" fmla="*/ 34 h 51"/>
                <a:gd name="T76" fmla="*/ 52 w 70"/>
                <a:gd name="T77" fmla="*/ 32 h 51"/>
                <a:gd name="T78" fmla="*/ 50 w 70"/>
                <a:gd name="T79" fmla="*/ 27 h 51"/>
                <a:gd name="T80" fmla="*/ 54 w 70"/>
                <a:gd name="T81" fmla="*/ 21 h 51"/>
                <a:gd name="T82" fmla="*/ 56 w 70"/>
                <a:gd name="T83" fmla="*/ 19 h 51"/>
                <a:gd name="T84" fmla="*/ 63 w 70"/>
                <a:gd name="T85" fmla="*/ 15 h 51"/>
                <a:gd name="T86" fmla="*/ 69 w 70"/>
                <a:gd name="T87" fmla="*/ 10 h 51"/>
                <a:gd name="T88" fmla="*/ 69 w 70"/>
                <a:gd name="T89" fmla="*/ 9 h 51"/>
                <a:gd name="T90" fmla="*/ 69 w 70"/>
                <a:gd name="T91" fmla="*/ 9 h 51"/>
                <a:gd name="T92" fmla="*/ 63 w 70"/>
                <a:gd name="T93" fmla="*/ 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0" h="51">
                  <a:moveTo>
                    <a:pt x="63" y="9"/>
                  </a:moveTo>
                  <a:cubicBezTo>
                    <a:pt x="61" y="9"/>
                    <a:pt x="61" y="9"/>
                    <a:pt x="60" y="8"/>
                  </a:cubicBezTo>
                  <a:cubicBezTo>
                    <a:pt x="58" y="7"/>
                    <a:pt x="57" y="6"/>
                    <a:pt x="55" y="6"/>
                  </a:cubicBezTo>
                  <a:cubicBezTo>
                    <a:pt x="53" y="7"/>
                    <a:pt x="53" y="7"/>
                    <a:pt x="49" y="6"/>
                  </a:cubicBezTo>
                  <a:cubicBezTo>
                    <a:pt x="46" y="6"/>
                    <a:pt x="43" y="4"/>
                    <a:pt x="42" y="2"/>
                  </a:cubicBezTo>
                  <a:cubicBezTo>
                    <a:pt x="41" y="3"/>
                    <a:pt x="41" y="3"/>
                    <a:pt x="40" y="3"/>
                  </a:cubicBezTo>
                  <a:cubicBezTo>
                    <a:pt x="39" y="3"/>
                    <a:pt x="37" y="1"/>
                    <a:pt x="36" y="2"/>
                  </a:cubicBezTo>
                  <a:cubicBezTo>
                    <a:pt x="35" y="2"/>
                    <a:pt x="33" y="3"/>
                    <a:pt x="32" y="2"/>
                  </a:cubicBezTo>
                  <a:cubicBezTo>
                    <a:pt x="31" y="2"/>
                    <a:pt x="25" y="2"/>
                    <a:pt x="21" y="1"/>
                  </a:cubicBezTo>
                  <a:cubicBezTo>
                    <a:pt x="17" y="1"/>
                    <a:pt x="12" y="1"/>
                    <a:pt x="9" y="0"/>
                  </a:cubicBezTo>
                  <a:cubicBezTo>
                    <a:pt x="7" y="0"/>
                    <a:pt x="6" y="2"/>
                    <a:pt x="5" y="2"/>
                  </a:cubicBezTo>
                  <a:cubicBezTo>
                    <a:pt x="4" y="2"/>
                    <a:pt x="2" y="3"/>
                    <a:pt x="1" y="4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1" y="7"/>
                    <a:pt x="2" y="10"/>
                    <a:pt x="2" y="11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3" y="12"/>
                    <a:pt x="5" y="11"/>
                    <a:pt x="5" y="11"/>
                  </a:cubicBezTo>
                  <a:cubicBezTo>
                    <a:pt x="6" y="10"/>
                    <a:pt x="5" y="13"/>
                    <a:pt x="7" y="13"/>
                  </a:cubicBezTo>
                  <a:cubicBezTo>
                    <a:pt x="8" y="13"/>
                    <a:pt x="11" y="13"/>
                    <a:pt x="12" y="12"/>
                  </a:cubicBezTo>
                  <a:cubicBezTo>
                    <a:pt x="13" y="11"/>
                    <a:pt x="15" y="12"/>
                    <a:pt x="15" y="13"/>
                  </a:cubicBezTo>
                  <a:cubicBezTo>
                    <a:pt x="15" y="14"/>
                    <a:pt x="17" y="15"/>
                    <a:pt x="15" y="16"/>
                  </a:cubicBezTo>
                  <a:cubicBezTo>
                    <a:pt x="14" y="17"/>
                    <a:pt x="13" y="17"/>
                    <a:pt x="13" y="19"/>
                  </a:cubicBezTo>
                  <a:cubicBezTo>
                    <a:pt x="14" y="22"/>
                    <a:pt x="13" y="22"/>
                    <a:pt x="13" y="24"/>
                  </a:cubicBezTo>
                  <a:cubicBezTo>
                    <a:pt x="13" y="27"/>
                    <a:pt x="13" y="27"/>
                    <a:pt x="11" y="27"/>
                  </a:cubicBezTo>
                  <a:cubicBezTo>
                    <a:pt x="9" y="27"/>
                    <a:pt x="10" y="28"/>
                    <a:pt x="12" y="30"/>
                  </a:cubicBezTo>
                  <a:cubicBezTo>
                    <a:pt x="13" y="32"/>
                    <a:pt x="13" y="32"/>
                    <a:pt x="12" y="33"/>
                  </a:cubicBezTo>
                  <a:cubicBezTo>
                    <a:pt x="11" y="34"/>
                    <a:pt x="10" y="35"/>
                    <a:pt x="11" y="36"/>
                  </a:cubicBezTo>
                  <a:cubicBezTo>
                    <a:pt x="12" y="37"/>
                    <a:pt x="12" y="37"/>
                    <a:pt x="11" y="39"/>
                  </a:cubicBezTo>
                  <a:cubicBezTo>
                    <a:pt x="11" y="40"/>
                    <a:pt x="10" y="41"/>
                    <a:pt x="10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1" y="42"/>
                    <a:pt x="12" y="42"/>
                    <a:pt x="13" y="43"/>
                  </a:cubicBezTo>
                  <a:cubicBezTo>
                    <a:pt x="14" y="44"/>
                    <a:pt x="18" y="50"/>
                    <a:pt x="19" y="50"/>
                  </a:cubicBezTo>
                  <a:cubicBezTo>
                    <a:pt x="20" y="51"/>
                    <a:pt x="21" y="51"/>
                    <a:pt x="21" y="50"/>
                  </a:cubicBezTo>
                  <a:cubicBezTo>
                    <a:pt x="22" y="50"/>
                    <a:pt x="22" y="48"/>
                    <a:pt x="24" y="48"/>
                  </a:cubicBezTo>
                  <a:cubicBezTo>
                    <a:pt x="25" y="47"/>
                    <a:pt x="28" y="46"/>
                    <a:pt x="30" y="46"/>
                  </a:cubicBezTo>
                  <a:cubicBezTo>
                    <a:pt x="31" y="46"/>
                    <a:pt x="36" y="46"/>
                    <a:pt x="38" y="46"/>
                  </a:cubicBezTo>
                  <a:cubicBezTo>
                    <a:pt x="40" y="45"/>
                    <a:pt x="41" y="45"/>
                    <a:pt x="41" y="43"/>
                  </a:cubicBezTo>
                  <a:cubicBezTo>
                    <a:pt x="41" y="42"/>
                    <a:pt x="46" y="41"/>
                    <a:pt x="47" y="39"/>
                  </a:cubicBezTo>
                  <a:cubicBezTo>
                    <a:pt x="48" y="38"/>
                    <a:pt x="49" y="35"/>
                    <a:pt x="51" y="34"/>
                  </a:cubicBezTo>
                  <a:cubicBezTo>
                    <a:pt x="52" y="33"/>
                    <a:pt x="52" y="33"/>
                    <a:pt x="52" y="32"/>
                  </a:cubicBezTo>
                  <a:cubicBezTo>
                    <a:pt x="51" y="31"/>
                    <a:pt x="49" y="29"/>
                    <a:pt x="50" y="27"/>
                  </a:cubicBezTo>
                  <a:cubicBezTo>
                    <a:pt x="51" y="25"/>
                    <a:pt x="53" y="22"/>
                    <a:pt x="54" y="21"/>
                  </a:cubicBezTo>
                  <a:cubicBezTo>
                    <a:pt x="55" y="21"/>
                    <a:pt x="56" y="19"/>
                    <a:pt x="56" y="19"/>
                  </a:cubicBezTo>
                  <a:cubicBezTo>
                    <a:pt x="56" y="18"/>
                    <a:pt x="62" y="17"/>
                    <a:pt x="63" y="15"/>
                  </a:cubicBezTo>
                  <a:cubicBezTo>
                    <a:pt x="65" y="14"/>
                    <a:pt x="70" y="12"/>
                    <a:pt x="69" y="10"/>
                  </a:cubicBezTo>
                  <a:cubicBezTo>
                    <a:pt x="69" y="10"/>
                    <a:pt x="69" y="9"/>
                    <a:pt x="69" y="9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7" y="9"/>
                    <a:pt x="66" y="10"/>
                    <a:pt x="63" y="9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93" name="Freeform 708">
              <a:extLst>
                <a:ext uri="{FF2B5EF4-FFF2-40B4-BE49-F238E27FC236}">
                  <a16:creationId xmlns:a16="http://schemas.microsoft.com/office/drawing/2014/main" id="{73F53EC9-2E64-96F3-C8D4-A5B6232F4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4781" y="3435372"/>
              <a:ext cx="58121" cy="113820"/>
            </a:xfrm>
            <a:custGeom>
              <a:avLst/>
              <a:gdLst>
                <a:gd name="T0" fmla="*/ 12 w 18"/>
                <a:gd name="T1" fmla="*/ 29 h 35"/>
                <a:gd name="T2" fmla="*/ 12 w 18"/>
                <a:gd name="T3" fmla="*/ 26 h 35"/>
                <a:gd name="T4" fmla="*/ 13 w 18"/>
                <a:gd name="T5" fmla="*/ 23 h 35"/>
                <a:gd name="T6" fmla="*/ 13 w 18"/>
                <a:gd name="T7" fmla="*/ 20 h 35"/>
                <a:gd name="T8" fmla="*/ 12 w 18"/>
                <a:gd name="T9" fmla="*/ 17 h 35"/>
                <a:gd name="T10" fmla="*/ 14 w 18"/>
                <a:gd name="T11" fmla="*/ 14 h 35"/>
                <a:gd name="T12" fmla="*/ 14 w 18"/>
                <a:gd name="T13" fmla="*/ 9 h 35"/>
                <a:gd name="T14" fmla="*/ 16 w 18"/>
                <a:gd name="T15" fmla="*/ 6 h 35"/>
                <a:gd name="T16" fmla="*/ 16 w 18"/>
                <a:gd name="T17" fmla="*/ 3 h 35"/>
                <a:gd name="T18" fmla="*/ 13 w 18"/>
                <a:gd name="T19" fmla="*/ 2 h 35"/>
                <a:gd name="T20" fmla="*/ 8 w 18"/>
                <a:gd name="T21" fmla="*/ 3 h 35"/>
                <a:gd name="T22" fmla="*/ 6 w 18"/>
                <a:gd name="T23" fmla="*/ 1 h 35"/>
                <a:gd name="T24" fmla="*/ 3 w 18"/>
                <a:gd name="T25" fmla="*/ 2 h 35"/>
                <a:gd name="T26" fmla="*/ 4 w 18"/>
                <a:gd name="T27" fmla="*/ 6 h 35"/>
                <a:gd name="T28" fmla="*/ 2 w 18"/>
                <a:gd name="T29" fmla="*/ 16 h 35"/>
                <a:gd name="T30" fmla="*/ 0 w 18"/>
                <a:gd name="T31" fmla="*/ 21 h 35"/>
                <a:gd name="T32" fmla="*/ 2 w 18"/>
                <a:gd name="T33" fmla="*/ 24 h 35"/>
                <a:gd name="T34" fmla="*/ 3 w 18"/>
                <a:gd name="T35" fmla="*/ 27 h 35"/>
                <a:gd name="T36" fmla="*/ 3 w 18"/>
                <a:gd name="T37" fmla="*/ 34 h 35"/>
                <a:gd name="T38" fmla="*/ 9 w 18"/>
                <a:gd name="T39" fmla="*/ 34 h 35"/>
                <a:gd name="T40" fmla="*/ 11 w 18"/>
                <a:gd name="T41" fmla="*/ 33 h 35"/>
                <a:gd name="T42" fmla="*/ 11 w 18"/>
                <a:gd name="T43" fmla="*/ 33 h 35"/>
                <a:gd name="T44" fmla="*/ 12 w 18"/>
                <a:gd name="T45" fmla="*/ 2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" h="35">
                  <a:moveTo>
                    <a:pt x="12" y="29"/>
                  </a:moveTo>
                  <a:cubicBezTo>
                    <a:pt x="13" y="27"/>
                    <a:pt x="13" y="27"/>
                    <a:pt x="12" y="26"/>
                  </a:cubicBezTo>
                  <a:cubicBezTo>
                    <a:pt x="11" y="25"/>
                    <a:pt x="12" y="24"/>
                    <a:pt x="13" y="23"/>
                  </a:cubicBezTo>
                  <a:cubicBezTo>
                    <a:pt x="14" y="22"/>
                    <a:pt x="14" y="22"/>
                    <a:pt x="13" y="20"/>
                  </a:cubicBezTo>
                  <a:cubicBezTo>
                    <a:pt x="11" y="18"/>
                    <a:pt x="10" y="17"/>
                    <a:pt x="12" y="17"/>
                  </a:cubicBezTo>
                  <a:cubicBezTo>
                    <a:pt x="14" y="17"/>
                    <a:pt x="14" y="17"/>
                    <a:pt x="14" y="14"/>
                  </a:cubicBezTo>
                  <a:cubicBezTo>
                    <a:pt x="14" y="12"/>
                    <a:pt x="15" y="12"/>
                    <a:pt x="14" y="9"/>
                  </a:cubicBezTo>
                  <a:cubicBezTo>
                    <a:pt x="14" y="7"/>
                    <a:pt x="15" y="7"/>
                    <a:pt x="16" y="6"/>
                  </a:cubicBezTo>
                  <a:cubicBezTo>
                    <a:pt x="18" y="5"/>
                    <a:pt x="16" y="4"/>
                    <a:pt x="16" y="3"/>
                  </a:cubicBezTo>
                  <a:cubicBezTo>
                    <a:pt x="16" y="2"/>
                    <a:pt x="14" y="1"/>
                    <a:pt x="13" y="2"/>
                  </a:cubicBezTo>
                  <a:cubicBezTo>
                    <a:pt x="12" y="3"/>
                    <a:pt x="9" y="3"/>
                    <a:pt x="8" y="3"/>
                  </a:cubicBezTo>
                  <a:cubicBezTo>
                    <a:pt x="6" y="3"/>
                    <a:pt x="7" y="0"/>
                    <a:pt x="6" y="1"/>
                  </a:cubicBezTo>
                  <a:cubicBezTo>
                    <a:pt x="6" y="1"/>
                    <a:pt x="4" y="2"/>
                    <a:pt x="3" y="2"/>
                  </a:cubicBezTo>
                  <a:cubicBezTo>
                    <a:pt x="3" y="3"/>
                    <a:pt x="4" y="5"/>
                    <a:pt x="4" y="6"/>
                  </a:cubicBezTo>
                  <a:cubicBezTo>
                    <a:pt x="4" y="6"/>
                    <a:pt x="3" y="14"/>
                    <a:pt x="2" y="16"/>
                  </a:cubicBezTo>
                  <a:cubicBezTo>
                    <a:pt x="1" y="18"/>
                    <a:pt x="0" y="20"/>
                    <a:pt x="0" y="21"/>
                  </a:cubicBezTo>
                  <a:cubicBezTo>
                    <a:pt x="0" y="22"/>
                    <a:pt x="1" y="25"/>
                    <a:pt x="2" y="24"/>
                  </a:cubicBezTo>
                  <a:cubicBezTo>
                    <a:pt x="2" y="24"/>
                    <a:pt x="3" y="25"/>
                    <a:pt x="3" y="27"/>
                  </a:cubicBezTo>
                  <a:cubicBezTo>
                    <a:pt x="3" y="29"/>
                    <a:pt x="2" y="33"/>
                    <a:pt x="3" y="34"/>
                  </a:cubicBezTo>
                  <a:cubicBezTo>
                    <a:pt x="4" y="34"/>
                    <a:pt x="7" y="35"/>
                    <a:pt x="9" y="34"/>
                  </a:cubicBezTo>
                  <a:cubicBezTo>
                    <a:pt x="10" y="33"/>
                    <a:pt x="10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1"/>
                    <a:pt x="12" y="30"/>
                    <a:pt x="12" y="29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</p:grpSp>
      <p:grpSp>
        <p:nvGrpSpPr>
          <p:cNvPr id="905" name="Agrupar 904">
            <a:extLst>
              <a:ext uri="{FF2B5EF4-FFF2-40B4-BE49-F238E27FC236}">
                <a16:creationId xmlns:a16="http://schemas.microsoft.com/office/drawing/2014/main" id="{EE329B64-43E6-91E1-5F53-8059A9C838AA}"/>
              </a:ext>
            </a:extLst>
          </p:cNvPr>
          <p:cNvGrpSpPr/>
          <p:nvPr/>
        </p:nvGrpSpPr>
        <p:grpSpPr>
          <a:xfrm>
            <a:off x="426736" y="2150746"/>
            <a:ext cx="1678131" cy="1292976"/>
            <a:chOff x="239720" y="2142395"/>
            <a:chExt cx="2068142" cy="1593473"/>
          </a:xfrm>
        </p:grpSpPr>
        <p:sp>
          <p:nvSpPr>
            <p:cNvPr id="591" name="Freeform 505">
              <a:extLst>
                <a:ext uri="{FF2B5EF4-FFF2-40B4-BE49-F238E27FC236}">
                  <a16:creationId xmlns:a16="http://schemas.microsoft.com/office/drawing/2014/main" id="{FD8A1C81-0249-0AC3-1EF8-3445640C5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0263" y="3648688"/>
              <a:ext cx="41169" cy="9687"/>
            </a:xfrm>
            <a:custGeom>
              <a:avLst/>
              <a:gdLst>
                <a:gd name="T0" fmla="*/ 11 w 13"/>
                <a:gd name="T1" fmla="*/ 2 h 3"/>
                <a:gd name="T2" fmla="*/ 5 w 13"/>
                <a:gd name="T3" fmla="*/ 0 h 3"/>
                <a:gd name="T4" fmla="*/ 3 w 13"/>
                <a:gd name="T5" fmla="*/ 3 h 3"/>
                <a:gd name="T6" fmla="*/ 11 w 13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">
                  <a:moveTo>
                    <a:pt x="11" y="2"/>
                  </a:moveTo>
                  <a:cubicBezTo>
                    <a:pt x="8" y="1"/>
                    <a:pt x="8" y="0"/>
                    <a:pt x="5" y="0"/>
                  </a:cubicBezTo>
                  <a:cubicBezTo>
                    <a:pt x="2" y="0"/>
                    <a:pt x="0" y="3"/>
                    <a:pt x="3" y="3"/>
                  </a:cubicBezTo>
                  <a:cubicBezTo>
                    <a:pt x="6" y="3"/>
                    <a:pt x="13" y="3"/>
                    <a:pt x="11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92" name="Freeform 506">
              <a:extLst>
                <a:ext uri="{FF2B5EF4-FFF2-40B4-BE49-F238E27FC236}">
                  <a16:creationId xmlns:a16="http://schemas.microsoft.com/office/drawing/2014/main" id="{8F56F7BD-3F30-0BA3-B93D-C8010D92E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6839" y="3645055"/>
              <a:ext cx="44802" cy="15741"/>
            </a:xfrm>
            <a:custGeom>
              <a:avLst/>
              <a:gdLst>
                <a:gd name="T0" fmla="*/ 13 w 14"/>
                <a:gd name="T1" fmla="*/ 4 h 5"/>
                <a:gd name="T2" fmla="*/ 7 w 14"/>
                <a:gd name="T3" fmla="*/ 1 h 5"/>
                <a:gd name="T4" fmla="*/ 2 w 14"/>
                <a:gd name="T5" fmla="*/ 2 h 5"/>
                <a:gd name="T6" fmla="*/ 8 w 14"/>
                <a:gd name="T7" fmla="*/ 5 h 5"/>
                <a:gd name="T8" fmla="*/ 11 w 14"/>
                <a:gd name="T9" fmla="*/ 4 h 5"/>
                <a:gd name="T10" fmla="*/ 13 w 14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5">
                  <a:moveTo>
                    <a:pt x="13" y="4"/>
                  </a:moveTo>
                  <a:cubicBezTo>
                    <a:pt x="13" y="2"/>
                    <a:pt x="9" y="1"/>
                    <a:pt x="7" y="1"/>
                  </a:cubicBezTo>
                  <a:cubicBezTo>
                    <a:pt x="6" y="0"/>
                    <a:pt x="0" y="1"/>
                    <a:pt x="2" y="2"/>
                  </a:cubicBezTo>
                  <a:cubicBezTo>
                    <a:pt x="5" y="4"/>
                    <a:pt x="6" y="5"/>
                    <a:pt x="8" y="5"/>
                  </a:cubicBezTo>
                  <a:cubicBezTo>
                    <a:pt x="10" y="4"/>
                    <a:pt x="10" y="4"/>
                    <a:pt x="11" y="4"/>
                  </a:cubicBezTo>
                  <a:cubicBezTo>
                    <a:pt x="12" y="5"/>
                    <a:pt x="14" y="5"/>
                    <a:pt x="13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93" name="Freeform 507">
              <a:extLst>
                <a:ext uri="{FF2B5EF4-FFF2-40B4-BE49-F238E27FC236}">
                  <a16:creationId xmlns:a16="http://schemas.microsoft.com/office/drawing/2014/main" id="{F538E6D1-83B6-D653-5296-B6FFFBB1F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6651" y="3560296"/>
              <a:ext cx="190104" cy="61753"/>
            </a:xfrm>
            <a:custGeom>
              <a:avLst/>
              <a:gdLst>
                <a:gd name="T0" fmla="*/ 59 w 59"/>
                <a:gd name="T1" fmla="*/ 17 h 19"/>
                <a:gd name="T2" fmla="*/ 54 w 59"/>
                <a:gd name="T3" fmla="*/ 18 h 19"/>
                <a:gd name="T4" fmla="*/ 52 w 59"/>
                <a:gd name="T5" fmla="*/ 19 h 19"/>
                <a:gd name="T6" fmla="*/ 49 w 59"/>
                <a:gd name="T7" fmla="*/ 18 h 19"/>
                <a:gd name="T8" fmla="*/ 41 w 59"/>
                <a:gd name="T9" fmla="*/ 19 h 19"/>
                <a:gd name="T10" fmla="*/ 41 w 59"/>
                <a:gd name="T11" fmla="*/ 17 h 19"/>
                <a:gd name="T12" fmla="*/ 43 w 59"/>
                <a:gd name="T13" fmla="*/ 15 h 19"/>
                <a:gd name="T14" fmla="*/ 39 w 59"/>
                <a:gd name="T15" fmla="*/ 14 h 19"/>
                <a:gd name="T16" fmla="*/ 36 w 59"/>
                <a:gd name="T17" fmla="*/ 12 h 19"/>
                <a:gd name="T18" fmla="*/ 34 w 59"/>
                <a:gd name="T19" fmla="*/ 9 h 19"/>
                <a:gd name="T20" fmla="*/ 28 w 59"/>
                <a:gd name="T21" fmla="*/ 9 h 19"/>
                <a:gd name="T22" fmla="*/ 23 w 59"/>
                <a:gd name="T23" fmla="*/ 6 h 19"/>
                <a:gd name="T24" fmla="*/ 17 w 59"/>
                <a:gd name="T25" fmla="*/ 5 h 19"/>
                <a:gd name="T26" fmla="*/ 18 w 59"/>
                <a:gd name="T27" fmla="*/ 3 h 19"/>
                <a:gd name="T28" fmla="*/ 11 w 59"/>
                <a:gd name="T29" fmla="*/ 3 h 19"/>
                <a:gd name="T30" fmla="*/ 3 w 59"/>
                <a:gd name="T31" fmla="*/ 6 h 19"/>
                <a:gd name="T32" fmla="*/ 1 w 59"/>
                <a:gd name="T33" fmla="*/ 6 h 19"/>
                <a:gd name="T34" fmla="*/ 6 w 59"/>
                <a:gd name="T35" fmla="*/ 2 h 19"/>
                <a:gd name="T36" fmla="*/ 16 w 59"/>
                <a:gd name="T37" fmla="*/ 0 h 19"/>
                <a:gd name="T38" fmla="*/ 28 w 59"/>
                <a:gd name="T39" fmla="*/ 1 h 19"/>
                <a:gd name="T40" fmla="*/ 35 w 59"/>
                <a:gd name="T41" fmla="*/ 4 h 19"/>
                <a:gd name="T42" fmla="*/ 37 w 59"/>
                <a:gd name="T43" fmla="*/ 4 h 19"/>
                <a:gd name="T44" fmla="*/ 41 w 59"/>
                <a:gd name="T45" fmla="*/ 8 h 19"/>
                <a:gd name="T46" fmla="*/ 45 w 59"/>
                <a:gd name="T47" fmla="*/ 9 h 19"/>
                <a:gd name="T48" fmla="*/ 51 w 59"/>
                <a:gd name="T49" fmla="*/ 12 h 19"/>
                <a:gd name="T50" fmla="*/ 55 w 59"/>
                <a:gd name="T51" fmla="*/ 14 h 19"/>
                <a:gd name="T52" fmla="*/ 59 w 59"/>
                <a:gd name="T53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" h="19">
                  <a:moveTo>
                    <a:pt x="59" y="17"/>
                  </a:moveTo>
                  <a:cubicBezTo>
                    <a:pt x="59" y="19"/>
                    <a:pt x="55" y="18"/>
                    <a:pt x="54" y="18"/>
                  </a:cubicBezTo>
                  <a:cubicBezTo>
                    <a:pt x="53" y="18"/>
                    <a:pt x="53" y="19"/>
                    <a:pt x="52" y="19"/>
                  </a:cubicBezTo>
                  <a:cubicBezTo>
                    <a:pt x="51" y="18"/>
                    <a:pt x="50" y="18"/>
                    <a:pt x="49" y="18"/>
                  </a:cubicBezTo>
                  <a:cubicBezTo>
                    <a:pt x="48" y="18"/>
                    <a:pt x="42" y="19"/>
                    <a:pt x="41" y="19"/>
                  </a:cubicBezTo>
                  <a:cubicBezTo>
                    <a:pt x="40" y="19"/>
                    <a:pt x="39" y="18"/>
                    <a:pt x="41" y="17"/>
                  </a:cubicBezTo>
                  <a:cubicBezTo>
                    <a:pt x="43" y="16"/>
                    <a:pt x="44" y="16"/>
                    <a:pt x="43" y="15"/>
                  </a:cubicBezTo>
                  <a:cubicBezTo>
                    <a:pt x="42" y="15"/>
                    <a:pt x="41" y="15"/>
                    <a:pt x="39" y="14"/>
                  </a:cubicBezTo>
                  <a:cubicBezTo>
                    <a:pt x="37" y="13"/>
                    <a:pt x="37" y="13"/>
                    <a:pt x="36" y="12"/>
                  </a:cubicBezTo>
                  <a:cubicBezTo>
                    <a:pt x="35" y="10"/>
                    <a:pt x="36" y="9"/>
                    <a:pt x="34" y="9"/>
                  </a:cubicBezTo>
                  <a:cubicBezTo>
                    <a:pt x="32" y="9"/>
                    <a:pt x="30" y="10"/>
                    <a:pt x="28" y="9"/>
                  </a:cubicBezTo>
                  <a:cubicBezTo>
                    <a:pt x="27" y="8"/>
                    <a:pt x="26" y="6"/>
                    <a:pt x="23" y="6"/>
                  </a:cubicBezTo>
                  <a:cubicBezTo>
                    <a:pt x="21" y="6"/>
                    <a:pt x="16" y="6"/>
                    <a:pt x="17" y="5"/>
                  </a:cubicBezTo>
                  <a:cubicBezTo>
                    <a:pt x="18" y="4"/>
                    <a:pt x="20" y="4"/>
                    <a:pt x="18" y="3"/>
                  </a:cubicBezTo>
                  <a:cubicBezTo>
                    <a:pt x="17" y="3"/>
                    <a:pt x="12" y="3"/>
                    <a:pt x="11" y="3"/>
                  </a:cubicBezTo>
                  <a:cubicBezTo>
                    <a:pt x="10" y="4"/>
                    <a:pt x="5" y="6"/>
                    <a:pt x="3" y="6"/>
                  </a:cubicBezTo>
                  <a:cubicBezTo>
                    <a:pt x="1" y="6"/>
                    <a:pt x="0" y="7"/>
                    <a:pt x="1" y="6"/>
                  </a:cubicBezTo>
                  <a:cubicBezTo>
                    <a:pt x="2" y="5"/>
                    <a:pt x="4" y="3"/>
                    <a:pt x="6" y="2"/>
                  </a:cubicBezTo>
                  <a:cubicBezTo>
                    <a:pt x="9" y="1"/>
                    <a:pt x="12" y="0"/>
                    <a:pt x="16" y="0"/>
                  </a:cubicBezTo>
                  <a:cubicBezTo>
                    <a:pt x="19" y="0"/>
                    <a:pt x="26" y="0"/>
                    <a:pt x="28" y="1"/>
                  </a:cubicBezTo>
                  <a:cubicBezTo>
                    <a:pt x="30" y="3"/>
                    <a:pt x="35" y="5"/>
                    <a:pt x="35" y="4"/>
                  </a:cubicBezTo>
                  <a:cubicBezTo>
                    <a:pt x="35" y="4"/>
                    <a:pt x="36" y="3"/>
                    <a:pt x="37" y="4"/>
                  </a:cubicBezTo>
                  <a:cubicBezTo>
                    <a:pt x="38" y="6"/>
                    <a:pt x="38" y="6"/>
                    <a:pt x="41" y="8"/>
                  </a:cubicBezTo>
                  <a:cubicBezTo>
                    <a:pt x="45" y="9"/>
                    <a:pt x="42" y="7"/>
                    <a:pt x="45" y="9"/>
                  </a:cubicBezTo>
                  <a:cubicBezTo>
                    <a:pt x="47" y="11"/>
                    <a:pt x="50" y="11"/>
                    <a:pt x="51" y="12"/>
                  </a:cubicBezTo>
                  <a:cubicBezTo>
                    <a:pt x="51" y="12"/>
                    <a:pt x="53" y="14"/>
                    <a:pt x="55" y="14"/>
                  </a:cubicBezTo>
                  <a:cubicBezTo>
                    <a:pt x="57" y="14"/>
                    <a:pt x="59" y="16"/>
                    <a:pt x="59" y="1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94" name="Freeform 508">
              <a:extLst>
                <a:ext uri="{FF2B5EF4-FFF2-40B4-BE49-F238E27FC236}">
                  <a16:creationId xmlns:a16="http://schemas.microsoft.com/office/drawing/2014/main" id="{DA2C9F8F-31BA-FA3C-1615-6138686E1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2894" y="3519127"/>
              <a:ext cx="13319" cy="15741"/>
            </a:xfrm>
            <a:custGeom>
              <a:avLst/>
              <a:gdLst>
                <a:gd name="T0" fmla="*/ 2 w 4"/>
                <a:gd name="T1" fmla="*/ 5 h 5"/>
                <a:gd name="T2" fmla="*/ 1 w 4"/>
                <a:gd name="T3" fmla="*/ 3 h 5"/>
                <a:gd name="T4" fmla="*/ 2 w 4"/>
                <a:gd name="T5" fmla="*/ 1 h 5"/>
                <a:gd name="T6" fmla="*/ 2 w 4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2" y="5"/>
                  </a:moveTo>
                  <a:cubicBezTo>
                    <a:pt x="1" y="5"/>
                    <a:pt x="0" y="4"/>
                    <a:pt x="1" y="3"/>
                  </a:cubicBezTo>
                  <a:cubicBezTo>
                    <a:pt x="1" y="3"/>
                    <a:pt x="1" y="0"/>
                    <a:pt x="2" y="1"/>
                  </a:cubicBezTo>
                  <a:cubicBezTo>
                    <a:pt x="2" y="2"/>
                    <a:pt x="4" y="5"/>
                    <a:pt x="2" y="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95" name="Freeform 509">
              <a:extLst>
                <a:ext uri="{FF2B5EF4-FFF2-40B4-BE49-F238E27FC236}">
                  <a16:creationId xmlns:a16="http://schemas.microsoft.com/office/drawing/2014/main" id="{DEA4BAAB-D14D-1921-3248-1F7260CB1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075" y="3596621"/>
              <a:ext cx="6054" cy="6054"/>
            </a:xfrm>
            <a:custGeom>
              <a:avLst/>
              <a:gdLst>
                <a:gd name="T0" fmla="*/ 2 w 2"/>
                <a:gd name="T1" fmla="*/ 1 h 2"/>
                <a:gd name="T2" fmla="*/ 0 w 2"/>
                <a:gd name="T3" fmla="*/ 1 h 2"/>
                <a:gd name="T4" fmla="*/ 2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2"/>
                    <a:pt x="2" y="2"/>
                    <a:pt x="2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96" name="Freeform 510">
              <a:extLst>
                <a:ext uri="{FF2B5EF4-FFF2-40B4-BE49-F238E27FC236}">
                  <a16:creationId xmlns:a16="http://schemas.microsoft.com/office/drawing/2014/main" id="{E93A3075-31CD-E3AA-EAA4-F428B46F2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6818" y="3074747"/>
              <a:ext cx="25428" cy="26639"/>
            </a:xfrm>
            <a:custGeom>
              <a:avLst/>
              <a:gdLst>
                <a:gd name="T0" fmla="*/ 3 w 8"/>
                <a:gd name="T1" fmla="*/ 7 h 8"/>
                <a:gd name="T2" fmla="*/ 1 w 8"/>
                <a:gd name="T3" fmla="*/ 7 h 8"/>
                <a:gd name="T4" fmla="*/ 1 w 8"/>
                <a:gd name="T5" fmla="*/ 4 h 8"/>
                <a:gd name="T6" fmla="*/ 5 w 8"/>
                <a:gd name="T7" fmla="*/ 0 h 8"/>
                <a:gd name="T8" fmla="*/ 7 w 8"/>
                <a:gd name="T9" fmla="*/ 1 h 8"/>
                <a:gd name="T10" fmla="*/ 6 w 8"/>
                <a:gd name="T11" fmla="*/ 3 h 8"/>
                <a:gd name="T12" fmla="*/ 3 w 8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">
                  <a:moveTo>
                    <a:pt x="3" y="7"/>
                  </a:moveTo>
                  <a:cubicBezTo>
                    <a:pt x="3" y="8"/>
                    <a:pt x="1" y="8"/>
                    <a:pt x="1" y="7"/>
                  </a:cubicBezTo>
                  <a:cubicBezTo>
                    <a:pt x="1" y="6"/>
                    <a:pt x="0" y="5"/>
                    <a:pt x="1" y="4"/>
                  </a:cubicBezTo>
                  <a:cubicBezTo>
                    <a:pt x="2" y="4"/>
                    <a:pt x="4" y="0"/>
                    <a:pt x="5" y="0"/>
                  </a:cubicBezTo>
                  <a:cubicBezTo>
                    <a:pt x="6" y="0"/>
                    <a:pt x="8" y="0"/>
                    <a:pt x="7" y="1"/>
                  </a:cubicBezTo>
                  <a:cubicBezTo>
                    <a:pt x="6" y="1"/>
                    <a:pt x="7" y="2"/>
                    <a:pt x="6" y="3"/>
                  </a:cubicBezTo>
                  <a:cubicBezTo>
                    <a:pt x="6" y="4"/>
                    <a:pt x="3" y="6"/>
                    <a:pt x="3" y="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97" name="Freeform 511">
              <a:extLst>
                <a:ext uri="{FF2B5EF4-FFF2-40B4-BE49-F238E27FC236}">
                  <a16:creationId xmlns:a16="http://schemas.microsoft.com/office/drawing/2014/main" id="{37EB024D-ADFF-3418-178E-511D375B5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559" y="3088066"/>
              <a:ext cx="19374" cy="13319"/>
            </a:xfrm>
            <a:custGeom>
              <a:avLst/>
              <a:gdLst>
                <a:gd name="T0" fmla="*/ 2 w 6"/>
                <a:gd name="T1" fmla="*/ 4 h 4"/>
                <a:gd name="T2" fmla="*/ 1 w 6"/>
                <a:gd name="T3" fmla="*/ 1 h 4"/>
                <a:gd name="T4" fmla="*/ 4 w 6"/>
                <a:gd name="T5" fmla="*/ 0 h 4"/>
                <a:gd name="T6" fmla="*/ 4 w 6"/>
                <a:gd name="T7" fmla="*/ 2 h 4"/>
                <a:gd name="T8" fmla="*/ 2 w 6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2" y="4"/>
                  </a:moveTo>
                  <a:cubicBezTo>
                    <a:pt x="0" y="3"/>
                    <a:pt x="0" y="2"/>
                    <a:pt x="1" y="1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6" y="0"/>
                    <a:pt x="5" y="1"/>
                    <a:pt x="4" y="2"/>
                  </a:cubicBezTo>
                  <a:cubicBezTo>
                    <a:pt x="3" y="2"/>
                    <a:pt x="3" y="4"/>
                    <a:pt x="2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98" name="Freeform 512">
              <a:extLst>
                <a:ext uri="{FF2B5EF4-FFF2-40B4-BE49-F238E27FC236}">
                  <a16:creationId xmlns:a16="http://schemas.microsoft.com/office/drawing/2014/main" id="{1BC1B20B-3997-387E-D810-7D30CD7F1C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4752" y="3068692"/>
              <a:ext cx="44802" cy="25428"/>
            </a:xfrm>
            <a:custGeom>
              <a:avLst/>
              <a:gdLst>
                <a:gd name="T0" fmla="*/ 10 w 14"/>
                <a:gd name="T1" fmla="*/ 7 h 8"/>
                <a:gd name="T2" fmla="*/ 8 w 14"/>
                <a:gd name="T3" fmla="*/ 6 h 8"/>
                <a:gd name="T4" fmla="*/ 6 w 14"/>
                <a:gd name="T5" fmla="*/ 7 h 8"/>
                <a:gd name="T6" fmla="*/ 4 w 14"/>
                <a:gd name="T7" fmla="*/ 5 h 8"/>
                <a:gd name="T8" fmla="*/ 3 w 14"/>
                <a:gd name="T9" fmla="*/ 4 h 8"/>
                <a:gd name="T10" fmla="*/ 1 w 14"/>
                <a:gd name="T11" fmla="*/ 3 h 8"/>
                <a:gd name="T12" fmla="*/ 1 w 14"/>
                <a:gd name="T13" fmla="*/ 1 h 8"/>
                <a:gd name="T14" fmla="*/ 4 w 14"/>
                <a:gd name="T15" fmla="*/ 3 h 8"/>
                <a:gd name="T16" fmla="*/ 5 w 14"/>
                <a:gd name="T17" fmla="*/ 3 h 8"/>
                <a:gd name="T18" fmla="*/ 7 w 14"/>
                <a:gd name="T19" fmla="*/ 4 h 8"/>
                <a:gd name="T20" fmla="*/ 13 w 14"/>
                <a:gd name="T21" fmla="*/ 4 h 8"/>
                <a:gd name="T22" fmla="*/ 10 w 14"/>
                <a:gd name="T2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8">
                  <a:moveTo>
                    <a:pt x="10" y="7"/>
                  </a:moveTo>
                  <a:cubicBezTo>
                    <a:pt x="8" y="8"/>
                    <a:pt x="9" y="6"/>
                    <a:pt x="8" y="6"/>
                  </a:cubicBezTo>
                  <a:cubicBezTo>
                    <a:pt x="7" y="6"/>
                    <a:pt x="7" y="7"/>
                    <a:pt x="6" y="7"/>
                  </a:cubicBezTo>
                  <a:cubicBezTo>
                    <a:pt x="5" y="6"/>
                    <a:pt x="5" y="6"/>
                    <a:pt x="4" y="5"/>
                  </a:cubicBezTo>
                  <a:cubicBezTo>
                    <a:pt x="3" y="5"/>
                    <a:pt x="4" y="5"/>
                    <a:pt x="3" y="4"/>
                  </a:cubicBezTo>
                  <a:cubicBezTo>
                    <a:pt x="2" y="4"/>
                    <a:pt x="1" y="4"/>
                    <a:pt x="1" y="3"/>
                  </a:cubicBezTo>
                  <a:cubicBezTo>
                    <a:pt x="0" y="2"/>
                    <a:pt x="1" y="0"/>
                    <a:pt x="1" y="1"/>
                  </a:cubicBezTo>
                  <a:cubicBezTo>
                    <a:pt x="2" y="2"/>
                    <a:pt x="3" y="3"/>
                    <a:pt x="4" y="3"/>
                  </a:cubicBezTo>
                  <a:cubicBezTo>
                    <a:pt x="5" y="3"/>
                    <a:pt x="4" y="2"/>
                    <a:pt x="5" y="3"/>
                  </a:cubicBezTo>
                  <a:cubicBezTo>
                    <a:pt x="6" y="4"/>
                    <a:pt x="5" y="4"/>
                    <a:pt x="7" y="4"/>
                  </a:cubicBezTo>
                  <a:cubicBezTo>
                    <a:pt x="8" y="4"/>
                    <a:pt x="14" y="4"/>
                    <a:pt x="13" y="4"/>
                  </a:cubicBezTo>
                  <a:cubicBezTo>
                    <a:pt x="12" y="5"/>
                    <a:pt x="11" y="7"/>
                    <a:pt x="10" y="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599" name="Freeform 513">
              <a:extLst>
                <a:ext uri="{FF2B5EF4-FFF2-40B4-BE49-F238E27FC236}">
                  <a16:creationId xmlns:a16="http://schemas.microsoft.com/office/drawing/2014/main" id="{0F6ED89F-2500-3485-7A27-D8AF78E26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4752" y="3003307"/>
              <a:ext cx="52067" cy="19374"/>
            </a:xfrm>
            <a:custGeom>
              <a:avLst/>
              <a:gdLst>
                <a:gd name="T0" fmla="*/ 14 w 16"/>
                <a:gd name="T1" fmla="*/ 6 h 6"/>
                <a:gd name="T2" fmla="*/ 6 w 16"/>
                <a:gd name="T3" fmla="*/ 4 h 6"/>
                <a:gd name="T4" fmla="*/ 1 w 16"/>
                <a:gd name="T5" fmla="*/ 1 h 6"/>
                <a:gd name="T6" fmla="*/ 10 w 16"/>
                <a:gd name="T7" fmla="*/ 2 h 6"/>
                <a:gd name="T8" fmla="*/ 14 w 1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6">
                  <a:moveTo>
                    <a:pt x="14" y="6"/>
                  </a:moveTo>
                  <a:cubicBezTo>
                    <a:pt x="13" y="6"/>
                    <a:pt x="8" y="5"/>
                    <a:pt x="6" y="4"/>
                  </a:cubicBezTo>
                  <a:cubicBezTo>
                    <a:pt x="3" y="3"/>
                    <a:pt x="0" y="1"/>
                    <a:pt x="1" y="1"/>
                  </a:cubicBezTo>
                  <a:cubicBezTo>
                    <a:pt x="2" y="0"/>
                    <a:pt x="6" y="0"/>
                    <a:pt x="10" y="2"/>
                  </a:cubicBezTo>
                  <a:cubicBezTo>
                    <a:pt x="13" y="4"/>
                    <a:pt x="16" y="4"/>
                    <a:pt x="14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00" name="Freeform 514">
              <a:extLst>
                <a:ext uri="{FF2B5EF4-FFF2-40B4-BE49-F238E27FC236}">
                  <a16:creationId xmlns:a16="http://schemas.microsoft.com/office/drawing/2014/main" id="{853BCB6F-B673-26CF-5864-B1F0A798A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5566" y="2962138"/>
              <a:ext cx="116242" cy="110187"/>
            </a:xfrm>
            <a:custGeom>
              <a:avLst/>
              <a:gdLst>
                <a:gd name="T0" fmla="*/ 22 w 36"/>
                <a:gd name="T1" fmla="*/ 1 h 34"/>
                <a:gd name="T2" fmla="*/ 19 w 36"/>
                <a:gd name="T3" fmla="*/ 0 h 34"/>
                <a:gd name="T4" fmla="*/ 16 w 36"/>
                <a:gd name="T5" fmla="*/ 2 h 34"/>
                <a:gd name="T6" fmla="*/ 12 w 36"/>
                <a:gd name="T7" fmla="*/ 8 h 34"/>
                <a:gd name="T8" fmla="*/ 11 w 36"/>
                <a:gd name="T9" fmla="*/ 9 h 34"/>
                <a:gd name="T10" fmla="*/ 7 w 36"/>
                <a:gd name="T11" fmla="*/ 17 h 34"/>
                <a:gd name="T12" fmla="*/ 4 w 36"/>
                <a:gd name="T13" fmla="*/ 21 h 34"/>
                <a:gd name="T14" fmla="*/ 3 w 36"/>
                <a:gd name="T15" fmla="*/ 22 h 34"/>
                <a:gd name="T16" fmla="*/ 5 w 36"/>
                <a:gd name="T17" fmla="*/ 23 h 34"/>
                <a:gd name="T18" fmla="*/ 2 w 36"/>
                <a:gd name="T19" fmla="*/ 26 h 34"/>
                <a:gd name="T20" fmla="*/ 1 w 36"/>
                <a:gd name="T21" fmla="*/ 29 h 34"/>
                <a:gd name="T22" fmla="*/ 4 w 36"/>
                <a:gd name="T23" fmla="*/ 29 h 34"/>
                <a:gd name="T24" fmla="*/ 11 w 36"/>
                <a:gd name="T25" fmla="*/ 29 h 34"/>
                <a:gd name="T26" fmla="*/ 19 w 36"/>
                <a:gd name="T27" fmla="*/ 29 h 34"/>
                <a:gd name="T28" fmla="*/ 22 w 36"/>
                <a:gd name="T29" fmla="*/ 30 h 34"/>
                <a:gd name="T30" fmla="*/ 25 w 36"/>
                <a:gd name="T31" fmla="*/ 29 h 34"/>
                <a:gd name="T32" fmla="*/ 24 w 36"/>
                <a:gd name="T33" fmla="*/ 31 h 34"/>
                <a:gd name="T34" fmla="*/ 22 w 36"/>
                <a:gd name="T35" fmla="*/ 34 h 34"/>
                <a:gd name="T36" fmla="*/ 26 w 36"/>
                <a:gd name="T37" fmla="*/ 31 h 34"/>
                <a:gd name="T38" fmla="*/ 30 w 36"/>
                <a:gd name="T39" fmla="*/ 29 h 34"/>
                <a:gd name="T40" fmla="*/ 32 w 36"/>
                <a:gd name="T41" fmla="*/ 27 h 34"/>
                <a:gd name="T42" fmla="*/ 35 w 36"/>
                <a:gd name="T43" fmla="*/ 23 h 34"/>
                <a:gd name="T44" fmla="*/ 34 w 36"/>
                <a:gd name="T45" fmla="*/ 22 h 34"/>
                <a:gd name="T46" fmla="*/ 31 w 36"/>
                <a:gd name="T47" fmla="*/ 22 h 34"/>
                <a:gd name="T48" fmla="*/ 30 w 36"/>
                <a:gd name="T49" fmla="*/ 20 h 34"/>
                <a:gd name="T50" fmla="*/ 32 w 36"/>
                <a:gd name="T51" fmla="*/ 17 h 34"/>
                <a:gd name="T52" fmla="*/ 28 w 36"/>
                <a:gd name="T53" fmla="*/ 16 h 34"/>
                <a:gd name="T54" fmla="*/ 27 w 36"/>
                <a:gd name="T55" fmla="*/ 15 h 34"/>
                <a:gd name="T56" fmla="*/ 24 w 36"/>
                <a:gd name="T57" fmla="*/ 18 h 34"/>
                <a:gd name="T58" fmla="*/ 22 w 36"/>
                <a:gd name="T59" fmla="*/ 16 h 34"/>
                <a:gd name="T60" fmla="*/ 19 w 36"/>
                <a:gd name="T61" fmla="*/ 14 h 34"/>
                <a:gd name="T62" fmla="*/ 21 w 36"/>
                <a:gd name="T63" fmla="*/ 12 h 34"/>
                <a:gd name="T64" fmla="*/ 18 w 36"/>
                <a:gd name="T65" fmla="*/ 11 h 34"/>
                <a:gd name="T66" fmla="*/ 15 w 36"/>
                <a:gd name="T67" fmla="*/ 14 h 34"/>
                <a:gd name="T68" fmla="*/ 17 w 36"/>
                <a:gd name="T69" fmla="*/ 10 h 34"/>
                <a:gd name="T70" fmla="*/ 20 w 36"/>
                <a:gd name="T71" fmla="*/ 5 h 34"/>
                <a:gd name="T72" fmla="*/ 20 w 36"/>
                <a:gd name="T73" fmla="*/ 3 h 34"/>
                <a:gd name="T74" fmla="*/ 22 w 36"/>
                <a:gd name="T75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" h="34">
                  <a:moveTo>
                    <a:pt x="22" y="1"/>
                  </a:moveTo>
                  <a:cubicBezTo>
                    <a:pt x="23" y="0"/>
                    <a:pt x="21" y="0"/>
                    <a:pt x="19" y="0"/>
                  </a:cubicBezTo>
                  <a:cubicBezTo>
                    <a:pt x="18" y="0"/>
                    <a:pt x="17" y="1"/>
                    <a:pt x="16" y="2"/>
                  </a:cubicBezTo>
                  <a:cubicBezTo>
                    <a:pt x="15" y="3"/>
                    <a:pt x="12" y="7"/>
                    <a:pt x="12" y="8"/>
                  </a:cubicBezTo>
                  <a:cubicBezTo>
                    <a:pt x="11" y="9"/>
                    <a:pt x="11" y="8"/>
                    <a:pt x="11" y="9"/>
                  </a:cubicBezTo>
                  <a:cubicBezTo>
                    <a:pt x="11" y="10"/>
                    <a:pt x="8" y="16"/>
                    <a:pt x="7" y="17"/>
                  </a:cubicBezTo>
                  <a:cubicBezTo>
                    <a:pt x="7" y="18"/>
                    <a:pt x="5" y="20"/>
                    <a:pt x="4" y="21"/>
                  </a:cubicBezTo>
                  <a:cubicBezTo>
                    <a:pt x="3" y="22"/>
                    <a:pt x="2" y="22"/>
                    <a:pt x="3" y="22"/>
                  </a:cubicBezTo>
                  <a:cubicBezTo>
                    <a:pt x="3" y="23"/>
                    <a:pt x="5" y="22"/>
                    <a:pt x="5" y="23"/>
                  </a:cubicBezTo>
                  <a:cubicBezTo>
                    <a:pt x="5" y="24"/>
                    <a:pt x="4" y="26"/>
                    <a:pt x="2" y="26"/>
                  </a:cubicBezTo>
                  <a:cubicBezTo>
                    <a:pt x="1" y="27"/>
                    <a:pt x="0" y="28"/>
                    <a:pt x="1" y="29"/>
                  </a:cubicBezTo>
                  <a:cubicBezTo>
                    <a:pt x="2" y="29"/>
                    <a:pt x="3" y="30"/>
                    <a:pt x="4" y="29"/>
                  </a:cubicBezTo>
                  <a:cubicBezTo>
                    <a:pt x="6" y="28"/>
                    <a:pt x="9" y="29"/>
                    <a:pt x="11" y="29"/>
                  </a:cubicBezTo>
                  <a:cubicBezTo>
                    <a:pt x="13" y="30"/>
                    <a:pt x="18" y="29"/>
                    <a:pt x="19" y="29"/>
                  </a:cubicBezTo>
                  <a:cubicBezTo>
                    <a:pt x="21" y="29"/>
                    <a:pt x="21" y="30"/>
                    <a:pt x="22" y="30"/>
                  </a:cubicBezTo>
                  <a:cubicBezTo>
                    <a:pt x="23" y="30"/>
                    <a:pt x="24" y="28"/>
                    <a:pt x="25" y="29"/>
                  </a:cubicBezTo>
                  <a:cubicBezTo>
                    <a:pt x="25" y="29"/>
                    <a:pt x="25" y="30"/>
                    <a:pt x="24" y="31"/>
                  </a:cubicBezTo>
                  <a:cubicBezTo>
                    <a:pt x="23" y="32"/>
                    <a:pt x="21" y="34"/>
                    <a:pt x="22" y="34"/>
                  </a:cubicBezTo>
                  <a:cubicBezTo>
                    <a:pt x="24" y="33"/>
                    <a:pt x="24" y="32"/>
                    <a:pt x="26" y="31"/>
                  </a:cubicBezTo>
                  <a:cubicBezTo>
                    <a:pt x="28" y="30"/>
                    <a:pt x="29" y="30"/>
                    <a:pt x="30" y="29"/>
                  </a:cubicBezTo>
                  <a:cubicBezTo>
                    <a:pt x="31" y="28"/>
                    <a:pt x="31" y="28"/>
                    <a:pt x="32" y="27"/>
                  </a:cubicBezTo>
                  <a:cubicBezTo>
                    <a:pt x="32" y="26"/>
                    <a:pt x="34" y="24"/>
                    <a:pt x="35" y="23"/>
                  </a:cubicBezTo>
                  <a:cubicBezTo>
                    <a:pt x="36" y="22"/>
                    <a:pt x="36" y="22"/>
                    <a:pt x="34" y="22"/>
                  </a:cubicBezTo>
                  <a:cubicBezTo>
                    <a:pt x="33" y="22"/>
                    <a:pt x="33" y="23"/>
                    <a:pt x="31" y="22"/>
                  </a:cubicBezTo>
                  <a:cubicBezTo>
                    <a:pt x="30" y="20"/>
                    <a:pt x="28" y="20"/>
                    <a:pt x="30" y="20"/>
                  </a:cubicBezTo>
                  <a:cubicBezTo>
                    <a:pt x="31" y="19"/>
                    <a:pt x="35" y="17"/>
                    <a:pt x="32" y="17"/>
                  </a:cubicBezTo>
                  <a:cubicBezTo>
                    <a:pt x="30" y="16"/>
                    <a:pt x="29" y="17"/>
                    <a:pt x="28" y="16"/>
                  </a:cubicBezTo>
                  <a:cubicBezTo>
                    <a:pt x="28" y="15"/>
                    <a:pt x="28" y="14"/>
                    <a:pt x="27" y="15"/>
                  </a:cubicBezTo>
                  <a:cubicBezTo>
                    <a:pt x="26" y="16"/>
                    <a:pt x="24" y="19"/>
                    <a:pt x="24" y="18"/>
                  </a:cubicBezTo>
                  <a:cubicBezTo>
                    <a:pt x="24" y="18"/>
                    <a:pt x="24" y="17"/>
                    <a:pt x="22" y="16"/>
                  </a:cubicBezTo>
                  <a:cubicBezTo>
                    <a:pt x="21" y="15"/>
                    <a:pt x="19" y="15"/>
                    <a:pt x="19" y="14"/>
                  </a:cubicBezTo>
                  <a:cubicBezTo>
                    <a:pt x="20" y="14"/>
                    <a:pt x="23" y="13"/>
                    <a:pt x="21" y="12"/>
                  </a:cubicBezTo>
                  <a:cubicBezTo>
                    <a:pt x="19" y="12"/>
                    <a:pt x="19" y="10"/>
                    <a:pt x="18" y="11"/>
                  </a:cubicBezTo>
                  <a:cubicBezTo>
                    <a:pt x="17" y="13"/>
                    <a:pt x="15" y="15"/>
                    <a:pt x="15" y="14"/>
                  </a:cubicBezTo>
                  <a:cubicBezTo>
                    <a:pt x="15" y="12"/>
                    <a:pt x="15" y="11"/>
                    <a:pt x="17" y="10"/>
                  </a:cubicBezTo>
                  <a:cubicBezTo>
                    <a:pt x="18" y="8"/>
                    <a:pt x="19" y="6"/>
                    <a:pt x="20" y="5"/>
                  </a:cubicBezTo>
                  <a:cubicBezTo>
                    <a:pt x="21" y="4"/>
                    <a:pt x="21" y="3"/>
                    <a:pt x="20" y="3"/>
                  </a:cubicBezTo>
                  <a:cubicBezTo>
                    <a:pt x="19" y="3"/>
                    <a:pt x="21" y="2"/>
                    <a:pt x="22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01" name="Freeform 515">
              <a:extLst>
                <a:ext uri="{FF2B5EF4-FFF2-40B4-BE49-F238E27FC236}">
                  <a16:creationId xmlns:a16="http://schemas.microsoft.com/office/drawing/2014/main" id="{52E05BEC-67DE-36A3-B762-9397D2F23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2434" y="3043265"/>
              <a:ext cx="25428" cy="38747"/>
            </a:xfrm>
            <a:custGeom>
              <a:avLst/>
              <a:gdLst>
                <a:gd name="T0" fmla="*/ 6 w 8"/>
                <a:gd name="T1" fmla="*/ 0 h 12"/>
                <a:gd name="T2" fmla="*/ 2 w 8"/>
                <a:gd name="T3" fmla="*/ 4 h 12"/>
                <a:gd name="T4" fmla="*/ 0 w 8"/>
                <a:gd name="T5" fmla="*/ 9 h 12"/>
                <a:gd name="T6" fmla="*/ 4 w 8"/>
                <a:gd name="T7" fmla="*/ 8 h 12"/>
                <a:gd name="T8" fmla="*/ 4 w 8"/>
                <a:gd name="T9" fmla="*/ 11 h 12"/>
                <a:gd name="T10" fmla="*/ 6 w 8"/>
                <a:gd name="T11" fmla="*/ 10 h 12"/>
                <a:gd name="T12" fmla="*/ 7 w 8"/>
                <a:gd name="T13" fmla="*/ 6 h 12"/>
                <a:gd name="T14" fmla="*/ 8 w 8"/>
                <a:gd name="T15" fmla="*/ 3 h 12"/>
                <a:gd name="T16" fmla="*/ 5 w 8"/>
                <a:gd name="T17" fmla="*/ 4 h 12"/>
                <a:gd name="T18" fmla="*/ 6 w 8"/>
                <a:gd name="T1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2">
                  <a:moveTo>
                    <a:pt x="6" y="0"/>
                  </a:moveTo>
                  <a:cubicBezTo>
                    <a:pt x="5" y="1"/>
                    <a:pt x="3" y="3"/>
                    <a:pt x="2" y="4"/>
                  </a:cubicBezTo>
                  <a:cubicBezTo>
                    <a:pt x="1" y="6"/>
                    <a:pt x="0" y="10"/>
                    <a:pt x="0" y="9"/>
                  </a:cubicBezTo>
                  <a:cubicBezTo>
                    <a:pt x="1" y="9"/>
                    <a:pt x="4" y="6"/>
                    <a:pt x="4" y="8"/>
                  </a:cubicBezTo>
                  <a:cubicBezTo>
                    <a:pt x="3" y="9"/>
                    <a:pt x="2" y="12"/>
                    <a:pt x="4" y="11"/>
                  </a:cubicBezTo>
                  <a:cubicBezTo>
                    <a:pt x="5" y="10"/>
                    <a:pt x="5" y="11"/>
                    <a:pt x="6" y="10"/>
                  </a:cubicBezTo>
                  <a:cubicBezTo>
                    <a:pt x="6" y="9"/>
                    <a:pt x="6" y="7"/>
                    <a:pt x="7" y="6"/>
                  </a:cubicBezTo>
                  <a:cubicBezTo>
                    <a:pt x="8" y="6"/>
                    <a:pt x="8" y="3"/>
                    <a:pt x="8" y="3"/>
                  </a:cubicBezTo>
                  <a:cubicBezTo>
                    <a:pt x="7" y="4"/>
                    <a:pt x="5" y="5"/>
                    <a:pt x="5" y="4"/>
                  </a:cubicBezTo>
                  <a:cubicBezTo>
                    <a:pt x="6" y="3"/>
                    <a:pt x="7" y="0"/>
                    <a:pt x="6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04" name="Freeform 518">
              <a:extLst>
                <a:ext uri="{FF2B5EF4-FFF2-40B4-BE49-F238E27FC236}">
                  <a16:creationId xmlns:a16="http://schemas.microsoft.com/office/drawing/2014/main" id="{582E54A1-B618-8B3B-750E-BAF83AC0B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7507" y="2923391"/>
              <a:ext cx="23006" cy="12108"/>
            </a:xfrm>
            <a:custGeom>
              <a:avLst/>
              <a:gdLst>
                <a:gd name="T0" fmla="*/ 7 w 7"/>
                <a:gd name="T1" fmla="*/ 3 h 4"/>
                <a:gd name="T2" fmla="*/ 2 w 7"/>
                <a:gd name="T3" fmla="*/ 1 h 4"/>
                <a:gd name="T4" fmla="*/ 1 w 7"/>
                <a:gd name="T5" fmla="*/ 2 h 4"/>
                <a:gd name="T6" fmla="*/ 7 w 7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">
                  <a:moveTo>
                    <a:pt x="7" y="3"/>
                  </a:moveTo>
                  <a:cubicBezTo>
                    <a:pt x="7" y="0"/>
                    <a:pt x="4" y="0"/>
                    <a:pt x="2" y="1"/>
                  </a:cubicBezTo>
                  <a:cubicBezTo>
                    <a:pt x="1" y="1"/>
                    <a:pt x="0" y="1"/>
                    <a:pt x="1" y="2"/>
                  </a:cubicBezTo>
                  <a:cubicBezTo>
                    <a:pt x="3" y="3"/>
                    <a:pt x="7" y="4"/>
                    <a:pt x="7" y="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05" name="Freeform 519">
              <a:extLst>
                <a:ext uri="{FF2B5EF4-FFF2-40B4-BE49-F238E27FC236}">
                  <a16:creationId xmlns:a16="http://schemas.microsoft.com/office/drawing/2014/main" id="{CDCFB8A8-8228-BC38-CED8-76E666A22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3833" y="2838632"/>
              <a:ext cx="23006" cy="19374"/>
            </a:xfrm>
            <a:custGeom>
              <a:avLst/>
              <a:gdLst>
                <a:gd name="T0" fmla="*/ 4 w 7"/>
                <a:gd name="T1" fmla="*/ 5 h 6"/>
                <a:gd name="T2" fmla="*/ 1 w 7"/>
                <a:gd name="T3" fmla="*/ 3 h 6"/>
                <a:gd name="T4" fmla="*/ 2 w 7"/>
                <a:gd name="T5" fmla="*/ 2 h 6"/>
                <a:gd name="T6" fmla="*/ 6 w 7"/>
                <a:gd name="T7" fmla="*/ 1 h 6"/>
                <a:gd name="T8" fmla="*/ 6 w 7"/>
                <a:gd name="T9" fmla="*/ 4 h 6"/>
                <a:gd name="T10" fmla="*/ 4 w 7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4" y="5"/>
                  </a:moveTo>
                  <a:cubicBezTo>
                    <a:pt x="2" y="4"/>
                    <a:pt x="2" y="3"/>
                    <a:pt x="1" y="3"/>
                  </a:cubicBezTo>
                  <a:cubicBezTo>
                    <a:pt x="0" y="3"/>
                    <a:pt x="1" y="3"/>
                    <a:pt x="2" y="2"/>
                  </a:cubicBezTo>
                  <a:cubicBezTo>
                    <a:pt x="4" y="1"/>
                    <a:pt x="4" y="0"/>
                    <a:pt x="6" y="1"/>
                  </a:cubicBezTo>
                  <a:cubicBezTo>
                    <a:pt x="7" y="2"/>
                    <a:pt x="7" y="2"/>
                    <a:pt x="6" y="4"/>
                  </a:cubicBezTo>
                  <a:cubicBezTo>
                    <a:pt x="6" y="5"/>
                    <a:pt x="6" y="6"/>
                    <a:pt x="4" y="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21" name="Freeform 535">
              <a:extLst>
                <a:ext uri="{FF2B5EF4-FFF2-40B4-BE49-F238E27FC236}">
                  <a16:creationId xmlns:a16="http://schemas.microsoft.com/office/drawing/2014/main" id="{912ED1F4-3771-50C6-E527-48C08FF4F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63" y="3619627"/>
              <a:ext cx="21795" cy="25428"/>
            </a:xfrm>
            <a:custGeom>
              <a:avLst/>
              <a:gdLst>
                <a:gd name="T0" fmla="*/ 6 w 7"/>
                <a:gd name="T1" fmla="*/ 5 h 8"/>
                <a:gd name="T2" fmla="*/ 3 w 7"/>
                <a:gd name="T3" fmla="*/ 1 h 8"/>
                <a:gd name="T4" fmla="*/ 1 w 7"/>
                <a:gd name="T5" fmla="*/ 1 h 8"/>
                <a:gd name="T6" fmla="*/ 1 w 7"/>
                <a:gd name="T7" fmla="*/ 5 h 8"/>
                <a:gd name="T8" fmla="*/ 2 w 7"/>
                <a:gd name="T9" fmla="*/ 7 h 8"/>
                <a:gd name="T10" fmla="*/ 6 w 7"/>
                <a:gd name="T1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8">
                  <a:moveTo>
                    <a:pt x="6" y="5"/>
                  </a:moveTo>
                  <a:cubicBezTo>
                    <a:pt x="7" y="3"/>
                    <a:pt x="4" y="2"/>
                    <a:pt x="3" y="1"/>
                  </a:cubicBezTo>
                  <a:cubicBezTo>
                    <a:pt x="2" y="1"/>
                    <a:pt x="2" y="0"/>
                    <a:pt x="1" y="1"/>
                  </a:cubicBezTo>
                  <a:cubicBezTo>
                    <a:pt x="0" y="2"/>
                    <a:pt x="1" y="4"/>
                    <a:pt x="1" y="5"/>
                  </a:cubicBezTo>
                  <a:cubicBezTo>
                    <a:pt x="1" y="6"/>
                    <a:pt x="1" y="8"/>
                    <a:pt x="2" y="7"/>
                  </a:cubicBezTo>
                  <a:cubicBezTo>
                    <a:pt x="3" y="6"/>
                    <a:pt x="5" y="5"/>
                    <a:pt x="6" y="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22" name="Freeform 536">
              <a:extLst>
                <a:ext uri="{FF2B5EF4-FFF2-40B4-BE49-F238E27FC236}">
                  <a16:creationId xmlns:a16="http://schemas.microsoft.com/office/drawing/2014/main" id="{58F60279-0899-5709-9914-6D479FD7E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860" y="2981511"/>
              <a:ext cx="100501" cy="64175"/>
            </a:xfrm>
            <a:custGeom>
              <a:avLst/>
              <a:gdLst>
                <a:gd name="T0" fmla="*/ 29 w 31"/>
                <a:gd name="T1" fmla="*/ 18 h 20"/>
                <a:gd name="T2" fmla="*/ 26 w 31"/>
                <a:gd name="T3" fmla="*/ 13 h 20"/>
                <a:gd name="T4" fmla="*/ 21 w 31"/>
                <a:gd name="T5" fmla="*/ 10 h 20"/>
                <a:gd name="T6" fmla="*/ 18 w 31"/>
                <a:gd name="T7" fmla="*/ 5 h 20"/>
                <a:gd name="T8" fmla="*/ 15 w 31"/>
                <a:gd name="T9" fmla="*/ 3 h 20"/>
                <a:gd name="T10" fmla="*/ 8 w 31"/>
                <a:gd name="T11" fmla="*/ 2 h 20"/>
                <a:gd name="T12" fmla="*/ 2 w 31"/>
                <a:gd name="T13" fmla="*/ 1 h 20"/>
                <a:gd name="T14" fmla="*/ 2 w 31"/>
                <a:gd name="T15" fmla="*/ 2 h 20"/>
                <a:gd name="T16" fmla="*/ 5 w 31"/>
                <a:gd name="T17" fmla="*/ 3 h 20"/>
                <a:gd name="T18" fmla="*/ 5 w 31"/>
                <a:gd name="T19" fmla="*/ 4 h 20"/>
                <a:gd name="T20" fmla="*/ 4 w 31"/>
                <a:gd name="T21" fmla="*/ 3 h 20"/>
                <a:gd name="T22" fmla="*/ 5 w 31"/>
                <a:gd name="T23" fmla="*/ 6 h 20"/>
                <a:gd name="T24" fmla="*/ 9 w 31"/>
                <a:gd name="T25" fmla="*/ 7 h 20"/>
                <a:gd name="T26" fmla="*/ 12 w 31"/>
                <a:gd name="T27" fmla="*/ 9 h 20"/>
                <a:gd name="T28" fmla="*/ 13 w 31"/>
                <a:gd name="T29" fmla="*/ 10 h 20"/>
                <a:gd name="T30" fmla="*/ 13 w 31"/>
                <a:gd name="T31" fmla="*/ 11 h 20"/>
                <a:gd name="T32" fmla="*/ 16 w 31"/>
                <a:gd name="T33" fmla="*/ 12 h 20"/>
                <a:gd name="T34" fmla="*/ 16 w 31"/>
                <a:gd name="T35" fmla="*/ 14 h 20"/>
                <a:gd name="T36" fmla="*/ 21 w 31"/>
                <a:gd name="T37" fmla="*/ 13 h 20"/>
                <a:gd name="T38" fmla="*/ 20 w 31"/>
                <a:gd name="T39" fmla="*/ 14 h 20"/>
                <a:gd name="T40" fmla="*/ 25 w 31"/>
                <a:gd name="T41" fmla="*/ 18 h 20"/>
                <a:gd name="T42" fmla="*/ 29 w 31"/>
                <a:gd name="T43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" h="20">
                  <a:moveTo>
                    <a:pt x="29" y="18"/>
                  </a:moveTo>
                  <a:cubicBezTo>
                    <a:pt x="28" y="16"/>
                    <a:pt x="28" y="15"/>
                    <a:pt x="26" y="13"/>
                  </a:cubicBezTo>
                  <a:cubicBezTo>
                    <a:pt x="25" y="11"/>
                    <a:pt x="22" y="11"/>
                    <a:pt x="21" y="10"/>
                  </a:cubicBezTo>
                  <a:cubicBezTo>
                    <a:pt x="20" y="9"/>
                    <a:pt x="19" y="6"/>
                    <a:pt x="18" y="5"/>
                  </a:cubicBezTo>
                  <a:cubicBezTo>
                    <a:pt x="17" y="4"/>
                    <a:pt x="17" y="4"/>
                    <a:pt x="15" y="3"/>
                  </a:cubicBezTo>
                  <a:cubicBezTo>
                    <a:pt x="13" y="3"/>
                    <a:pt x="10" y="3"/>
                    <a:pt x="8" y="2"/>
                  </a:cubicBezTo>
                  <a:cubicBezTo>
                    <a:pt x="5" y="1"/>
                    <a:pt x="3" y="0"/>
                    <a:pt x="2" y="1"/>
                  </a:cubicBezTo>
                  <a:cubicBezTo>
                    <a:pt x="1" y="1"/>
                    <a:pt x="0" y="2"/>
                    <a:pt x="2" y="2"/>
                  </a:cubicBezTo>
                  <a:cubicBezTo>
                    <a:pt x="3" y="3"/>
                    <a:pt x="4" y="2"/>
                    <a:pt x="5" y="3"/>
                  </a:cubicBezTo>
                  <a:cubicBezTo>
                    <a:pt x="6" y="4"/>
                    <a:pt x="7" y="5"/>
                    <a:pt x="5" y="4"/>
                  </a:cubicBezTo>
                  <a:cubicBezTo>
                    <a:pt x="4" y="3"/>
                    <a:pt x="4" y="2"/>
                    <a:pt x="4" y="3"/>
                  </a:cubicBezTo>
                  <a:cubicBezTo>
                    <a:pt x="4" y="4"/>
                    <a:pt x="3" y="5"/>
                    <a:pt x="5" y="6"/>
                  </a:cubicBezTo>
                  <a:cubicBezTo>
                    <a:pt x="7" y="6"/>
                    <a:pt x="8" y="6"/>
                    <a:pt x="9" y="7"/>
                  </a:cubicBezTo>
                  <a:cubicBezTo>
                    <a:pt x="10" y="8"/>
                    <a:pt x="11" y="9"/>
                    <a:pt x="12" y="9"/>
                  </a:cubicBezTo>
                  <a:cubicBezTo>
                    <a:pt x="13" y="9"/>
                    <a:pt x="13" y="9"/>
                    <a:pt x="13" y="10"/>
                  </a:cubicBezTo>
                  <a:cubicBezTo>
                    <a:pt x="12" y="10"/>
                    <a:pt x="10" y="11"/>
                    <a:pt x="13" y="11"/>
                  </a:cubicBezTo>
                  <a:cubicBezTo>
                    <a:pt x="16" y="11"/>
                    <a:pt x="16" y="11"/>
                    <a:pt x="16" y="12"/>
                  </a:cubicBezTo>
                  <a:cubicBezTo>
                    <a:pt x="16" y="13"/>
                    <a:pt x="15" y="14"/>
                    <a:pt x="16" y="14"/>
                  </a:cubicBezTo>
                  <a:cubicBezTo>
                    <a:pt x="18" y="14"/>
                    <a:pt x="21" y="13"/>
                    <a:pt x="21" y="13"/>
                  </a:cubicBezTo>
                  <a:cubicBezTo>
                    <a:pt x="21" y="13"/>
                    <a:pt x="20" y="13"/>
                    <a:pt x="20" y="14"/>
                  </a:cubicBezTo>
                  <a:cubicBezTo>
                    <a:pt x="20" y="15"/>
                    <a:pt x="23" y="17"/>
                    <a:pt x="25" y="18"/>
                  </a:cubicBezTo>
                  <a:cubicBezTo>
                    <a:pt x="27" y="18"/>
                    <a:pt x="31" y="20"/>
                    <a:pt x="29" y="18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23" name="Freeform 537">
              <a:extLst>
                <a:ext uri="{FF2B5EF4-FFF2-40B4-BE49-F238E27FC236}">
                  <a16:creationId xmlns:a16="http://schemas.microsoft.com/office/drawing/2014/main" id="{00D841DF-F72A-EC0F-2BA2-89138E5F10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944" y="2900385"/>
              <a:ext cx="44802" cy="54488"/>
            </a:xfrm>
            <a:custGeom>
              <a:avLst/>
              <a:gdLst>
                <a:gd name="T0" fmla="*/ 11 w 14"/>
                <a:gd name="T1" fmla="*/ 16 h 17"/>
                <a:gd name="T2" fmla="*/ 8 w 14"/>
                <a:gd name="T3" fmla="*/ 12 h 17"/>
                <a:gd name="T4" fmla="*/ 7 w 14"/>
                <a:gd name="T5" fmla="*/ 10 h 17"/>
                <a:gd name="T6" fmla="*/ 7 w 14"/>
                <a:gd name="T7" fmla="*/ 8 h 17"/>
                <a:gd name="T8" fmla="*/ 6 w 14"/>
                <a:gd name="T9" fmla="*/ 6 h 17"/>
                <a:gd name="T10" fmla="*/ 6 w 14"/>
                <a:gd name="T11" fmla="*/ 4 h 17"/>
                <a:gd name="T12" fmla="*/ 7 w 14"/>
                <a:gd name="T13" fmla="*/ 2 h 17"/>
                <a:gd name="T14" fmla="*/ 5 w 14"/>
                <a:gd name="T15" fmla="*/ 4 h 17"/>
                <a:gd name="T16" fmla="*/ 3 w 14"/>
                <a:gd name="T17" fmla="*/ 4 h 17"/>
                <a:gd name="T18" fmla="*/ 5 w 14"/>
                <a:gd name="T19" fmla="*/ 1 h 17"/>
                <a:gd name="T20" fmla="*/ 0 w 14"/>
                <a:gd name="T21" fmla="*/ 1 h 17"/>
                <a:gd name="T22" fmla="*/ 3 w 14"/>
                <a:gd name="T23" fmla="*/ 8 h 17"/>
                <a:gd name="T24" fmla="*/ 11 w 14"/>
                <a:gd name="T2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7">
                  <a:moveTo>
                    <a:pt x="11" y="16"/>
                  </a:moveTo>
                  <a:cubicBezTo>
                    <a:pt x="14" y="17"/>
                    <a:pt x="9" y="13"/>
                    <a:pt x="8" y="12"/>
                  </a:cubicBezTo>
                  <a:cubicBezTo>
                    <a:pt x="7" y="11"/>
                    <a:pt x="7" y="10"/>
                    <a:pt x="7" y="10"/>
                  </a:cubicBezTo>
                  <a:cubicBezTo>
                    <a:pt x="7" y="9"/>
                    <a:pt x="8" y="9"/>
                    <a:pt x="7" y="8"/>
                  </a:cubicBezTo>
                  <a:cubicBezTo>
                    <a:pt x="6" y="7"/>
                    <a:pt x="5" y="8"/>
                    <a:pt x="6" y="6"/>
                  </a:cubicBezTo>
                  <a:cubicBezTo>
                    <a:pt x="6" y="5"/>
                    <a:pt x="5" y="5"/>
                    <a:pt x="6" y="4"/>
                  </a:cubicBezTo>
                  <a:cubicBezTo>
                    <a:pt x="8" y="3"/>
                    <a:pt x="8" y="1"/>
                    <a:pt x="7" y="2"/>
                  </a:cubicBezTo>
                  <a:cubicBezTo>
                    <a:pt x="5" y="2"/>
                    <a:pt x="5" y="3"/>
                    <a:pt x="5" y="4"/>
                  </a:cubicBezTo>
                  <a:cubicBezTo>
                    <a:pt x="4" y="4"/>
                    <a:pt x="2" y="5"/>
                    <a:pt x="3" y="4"/>
                  </a:cubicBezTo>
                  <a:cubicBezTo>
                    <a:pt x="4" y="2"/>
                    <a:pt x="6" y="1"/>
                    <a:pt x="5" y="1"/>
                  </a:cubicBezTo>
                  <a:cubicBezTo>
                    <a:pt x="3" y="1"/>
                    <a:pt x="0" y="0"/>
                    <a:pt x="0" y="1"/>
                  </a:cubicBezTo>
                  <a:cubicBezTo>
                    <a:pt x="0" y="3"/>
                    <a:pt x="1" y="6"/>
                    <a:pt x="3" y="8"/>
                  </a:cubicBezTo>
                  <a:cubicBezTo>
                    <a:pt x="5" y="10"/>
                    <a:pt x="8" y="15"/>
                    <a:pt x="11" y="1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24" name="Freeform 538">
              <a:extLst>
                <a:ext uri="{FF2B5EF4-FFF2-40B4-BE49-F238E27FC236}">
                  <a16:creationId xmlns:a16="http://schemas.microsoft.com/office/drawing/2014/main" id="{A3396E8B-43ED-D828-58CF-B1A5EE767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365" y="2844686"/>
              <a:ext cx="13319" cy="13319"/>
            </a:xfrm>
            <a:custGeom>
              <a:avLst/>
              <a:gdLst>
                <a:gd name="T0" fmla="*/ 3 w 4"/>
                <a:gd name="T1" fmla="*/ 3 h 4"/>
                <a:gd name="T2" fmla="*/ 1 w 4"/>
                <a:gd name="T3" fmla="*/ 1 h 4"/>
                <a:gd name="T4" fmla="*/ 3 w 4"/>
                <a:gd name="T5" fmla="*/ 1 h 4"/>
                <a:gd name="T6" fmla="*/ 3 w 4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3" y="3"/>
                  </a:moveTo>
                  <a:cubicBezTo>
                    <a:pt x="1" y="2"/>
                    <a:pt x="0" y="2"/>
                    <a:pt x="1" y="1"/>
                  </a:cubicBezTo>
                  <a:cubicBezTo>
                    <a:pt x="2" y="1"/>
                    <a:pt x="2" y="0"/>
                    <a:pt x="3" y="1"/>
                  </a:cubicBezTo>
                  <a:cubicBezTo>
                    <a:pt x="3" y="2"/>
                    <a:pt x="4" y="4"/>
                    <a:pt x="3" y="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25" name="Freeform 539">
              <a:extLst>
                <a:ext uri="{FF2B5EF4-FFF2-40B4-BE49-F238E27FC236}">
                  <a16:creationId xmlns:a16="http://schemas.microsoft.com/office/drawing/2014/main" id="{D4CFE694-7F44-0033-6171-11BE53FA2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992" y="2828945"/>
              <a:ext cx="19374" cy="19374"/>
            </a:xfrm>
            <a:custGeom>
              <a:avLst/>
              <a:gdLst>
                <a:gd name="T0" fmla="*/ 5 w 6"/>
                <a:gd name="T1" fmla="*/ 2 h 6"/>
                <a:gd name="T2" fmla="*/ 3 w 6"/>
                <a:gd name="T3" fmla="*/ 1 h 6"/>
                <a:gd name="T4" fmla="*/ 0 w 6"/>
                <a:gd name="T5" fmla="*/ 0 h 6"/>
                <a:gd name="T6" fmla="*/ 1 w 6"/>
                <a:gd name="T7" fmla="*/ 1 h 6"/>
                <a:gd name="T8" fmla="*/ 0 w 6"/>
                <a:gd name="T9" fmla="*/ 2 h 6"/>
                <a:gd name="T10" fmla="*/ 1 w 6"/>
                <a:gd name="T11" fmla="*/ 3 h 6"/>
                <a:gd name="T12" fmla="*/ 2 w 6"/>
                <a:gd name="T13" fmla="*/ 5 h 6"/>
                <a:gd name="T14" fmla="*/ 3 w 6"/>
                <a:gd name="T15" fmla="*/ 4 h 6"/>
                <a:gd name="T16" fmla="*/ 5 w 6"/>
                <a:gd name="T17" fmla="*/ 4 h 6"/>
                <a:gd name="T18" fmla="*/ 4 w 6"/>
                <a:gd name="T19" fmla="*/ 3 h 6"/>
                <a:gd name="T20" fmla="*/ 5 w 6"/>
                <a:gd name="T2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4" y="2"/>
                    <a:pt x="5" y="2"/>
                    <a:pt x="3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1" y="2"/>
                    <a:pt x="1" y="3"/>
                  </a:cubicBezTo>
                  <a:cubicBezTo>
                    <a:pt x="1" y="4"/>
                    <a:pt x="1" y="6"/>
                    <a:pt x="2" y="5"/>
                  </a:cubicBezTo>
                  <a:cubicBezTo>
                    <a:pt x="2" y="5"/>
                    <a:pt x="3" y="4"/>
                    <a:pt x="3" y="4"/>
                  </a:cubicBezTo>
                  <a:cubicBezTo>
                    <a:pt x="4" y="4"/>
                    <a:pt x="6" y="5"/>
                    <a:pt x="5" y="4"/>
                  </a:cubicBezTo>
                  <a:cubicBezTo>
                    <a:pt x="4" y="3"/>
                    <a:pt x="3" y="3"/>
                    <a:pt x="4" y="3"/>
                  </a:cubicBezTo>
                  <a:cubicBezTo>
                    <a:pt x="5" y="3"/>
                    <a:pt x="6" y="2"/>
                    <a:pt x="5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26" name="Freeform 540">
              <a:extLst>
                <a:ext uri="{FF2B5EF4-FFF2-40B4-BE49-F238E27FC236}">
                  <a16:creationId xmlns:a16="http://schemas.microsoft.com/office/drawing/2014/main" id="{AF855D20-1C1C-6EDC-7485-2A45729AB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305" y="2832577"/>
              <a:ext cx="9687" cy="21795"/>
            </a:xfrm>
            <a:custGeom>
              <a:avLst/>
              <a:gdLst>
                <a:gd name="T0" fmla="*/ 1 w 3"/>
                <a:gd name="T1" fmla="*/ 0 h 7"/>
                <a:gd name="T2" fmla="*/ 0 w 3"/>
                <a:gd name="T3" fmla="*/ 1 h 7"/>
                <a:gd name="T4" fmla="*/ 1 w 3"/>
                <a:gd name="T5" fmla="*/ 3 h 7"/>
                <a:gd name="T6" fmla="*/ 1 w 3"/>
                <a:gd name="T7" fmla="*/ 6 h 7"/>
                <a:gd name="T8" fmla="*/ 3 w 3"/>
                <a:gd name="T9" fmla="*/ 4 h 7"/>
                <a:gd name="T10" fmla="*/ 3 w 3"/>
                <a:gd name="T11" fmla="*/ 2 h 7"/>
                <a:gd name="T12" fmla="*/ 1 w 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7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2"/>
                    <a:pt x="2" y="3"/>
                    <a:pt x="1" y="3"/>
                  </a:cubicBezTo>
                  <a:cubicBezTo>
                    <a:pt x="1" y="4"/>
                    <a:pt x="1" y="7"/>
                    <a:pt x="1" y="6"/>
                  </a:cubicBezTo>
                  <a:cubicBezTo>
                    <a:pt x="2" y="5"/>
                    <a:pt x="3" y="6"/>
                    <a:pt x="3" y="4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3" y="2"/>
                    <a:pt x="3" y="0"/>
                    <a:pt x="1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27" name="Freeform 541">
              <a:extLst>
                <a:ext uri="{FF2B5EF4-FFF2-40B4-BE49-F238E27FC236}">
                  <a16:creationId xmlns:a16="http://schemas.microsoft.com/office/drawing/2014/main" id="{259E7D43-59B9-3064-23A9-6F2DC52E3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509" y="2819258"/>
              <a:ext cx="19374" cy="32693"/>
            </a:xfrm>
            <a:custGeom>
              <a:avLst/>
              <a:gdLst>
                <a:gd name="T0" fmla="*/ 5 w 6"/>
                <a:gd name="T1" fmla="*/ 9 h 10"/>
                <a:gd name="T2" fmla="*/ 3 w 6"/>
                <a:gd name="T3" fmla="*/ 6 h 10"/>
                <a:gd name="T4" fmla="*/ 2 w 6"/>
                <a:gd name="T5" fmla="*/ 4 h 10"/>
                <a:gd name="T6" fmla="*/ 3 w 6"/>
                <a:gd name="T7" fmla="*/ 2 h 10"/>
                <a:gd name="T8" fmla="*/ 1 w 6"/>
                <a:gd name="T9" fmla="*/ 1 h 10"/>
                <a:gd name="T10" fmla="*/ 2 w 6"/>
                <a:gd name="T11" fmla="*/ 0 h 10"/>
                <a:gd name="T12" fmla="*/ 5 w 6"/>
                <a:gd name="T13" fmla="*/ 3 h 10"/>
                <a:gd name="T14" fmla="*/ 6 w 6"/>
                <a:gd name="T15" fmla="*/ 5 h 10"/>
                <a:gd name="T16" fmla="*/ 5 w 6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0">
                  <a:moveTo>
                    <a:pt x="5" y="9"/>
                  </a:moveTo>
                  <a:cubicBezTo>
                    <a:pt x="4" y="8"/>
                    <a:pt x="4" y="7"/>
                    <a:pt x="3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2" y="2"/>
                    <a:pt x="1" y="2"/>
                    <a:pt x="1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4" y="1"/>
                    <a:pt x="5" y="3"/>
                  </a:cubicBezTo>
                  <a:cubicBezTo>
                    <a:pt x="5" y="4"/>
                    <a:pt x="6" y="4"/>
                    <a:pt x="6" y="5"/>
                  </a:cubicBezTo>
                  <a:cubicBezTo>
                    <a:pt x="5" y="6"/>
                    <a:pt x="6" y="10"/>
                    <a:pt x="5" y="9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28" name="Freeform 542">
              <a:extLst>
                <a:ext uri="{FF2B5EF4-FFF2-40B4-BE49-F238E27FC236}">
                  <a16:creationId xmlns:a16="http://schemas.microsoft.com/office/drawing/2014/main" id="{BBEB8D26-6556-6700-16D1-A2EB6136A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557" y="2799884"/>
              <a:ext cx="29061" cy="19374"/>
            </a:xfrm>
            <a:custGeom>
              <a:avLst/>
              <a:gdLst>
                <a:gd name="T0" fmla="*/ 4 w 9"/>
                <a:gd name="T1" fmla="*/ 6 h 6"/>
                <a:gd name="T2" fmla="*/ 2 w 9"/>
                <a:gd name="T3" fmla="*/ 3 h 6"/>
                <a:gd name="T4" fmla="*/ 2 w 9"/>
                <a:gd name="T5" fmla="*/ 2 h 6"/>
                <a:gd name="T6" fmla="*/ 1 w 9"/>
                <a:gd name="T7" fmla="*/ 1 h 6"/>
                <a:gd name="T8" fmla="*/ 4 w 9"/>
                <a:gd name="T9" fmla="*/ 0 h 6"/>
                <a:gd name="T10" fmla="*/ 5 w 9"/>
                <a:gd name="T11" fmla="*/ 1 h 6"/>
                <a:gd name="T12" fmla="*/ 5 w 9"/>
                <a:gd name="T13" fmla="*/ 2 h 6"/>
                <a:gd name="T14" fmla="*/ 8 w 9"/>
                <a:gd name="T15" fmla="*/ 4 h 6"/>
                <a:gd name="T16" fmla="*/ 6 w 9"/>
                <a:gd name="T17" fmla="*/ 4 h 6"/>
                <a:gd name="T18" fmla="*/ 5 w 9"/>
                <a:gd name="T19" fmla="*/ 5 h 6"/>
                <a:gd name="T20" fmla="*/ 4 w 9"/>
                <a:gd name="T2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6">
                  <a:moveTo>
                    <a:pt x="4" y="6"/>
                  </a:moveTo>
                  <a:cubicBezTo>
                    <a:pt x="3" y="4"/>
                    <a:pt x="1" y="3"/>
                    <a:pt x="2" y="3"/>
                  </a:cubicBezTo>
                  <a:cubicBezTo>
                    <a:pt x="2" y="2"/>
                    <a:pt x="3" y="2"/>
                    <a:pt x="2" y="2"/>
                  </a:cubicBezTo>
                  <a:cubicBezTo>
                    <a:pt x="2" y="1"/>
                    <a:pt x="0" y="2"/>
                    <a:pt x="1" y="1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5" y="0"/>
                    <a:pt x="6" y="0"/>
                    <a:pt x="5" y="1"/>
                  </a:cubicBezTo>
                  <a:cubicBezTo>
                    <a:pt x="4" y="1"/>
                    <a:pt x="4" y="1"/>
                    <a:pt x="5" y="2"/>
                  </a:cubicBezTo>
                  <a:cubicBezTo>
                    <a:pt x="6" y="3"/>
                    <a:pt x="9" y="4"/>
                    <a:pt x="8" y="4"/>
                  </a:cubicBezTo>
                  <a:cubicBezTo>
                    <a:pt x="7" y="4"/>
                    <a:pt x="7" y="5"/>
                    <a:pt x="6" y="4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5" y="6"/>
                    <a:pt x="5" y="6"/>
                    <a:pt x="4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29" name="Freeform 543">
              <a:extLst>
                <a:ext uri="{FF2B5EF4-FFF2-40B4-BE49-F238E27FC236}">
                  <a16:creationId xmlns:a16="http://schemas.microsoft.com/office/drawing/2014/main" id="{2CE8A87D-E503-E492-316A-E8467AF1F9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618" y="2799884"/>
              <a:ext cx="19374" cy="32693"/>
            </a:xfrm>
            <a:custGeom>
              <a:avLst/>
              <a:gdLst>
                <a:gd name="T0" fmla="*/ 3 w 6"/>
                <a:gd name="T1" fmla="*/ 8 h 10"/>
                <a:gd name="T2" fmla="*/ 4 w 6"/>
                <a:gd name="T3" fmla="*/ 6 h 10"/>
                <a:gd name="T4" fmla="*/ 2 w 6"/>
                <a:gd name="T5" fmla="*/ 4 h 10"/>
                <a:gd name="T6" fmla="*/ 2 w 6"/>
                <a:gd name="T7" fmla="*/ 3 h 10"/>
                <a:gd name="T8" fmla="*/ 1 w 6"/>
                <a:gd name="T9" fmla="*/ 1 h 10"/>
                <a:gd name="T10" fmla="*/ 3 w 6"/>
                <a:gd name="T11" fmla="*/ 1 h 10"/>
                <a:gd name="T12" fmla="*/ 5 w 6"/>
                <a:gd name="T13" fmla="*/ 3 h 10"/>
                <a:gd name="T14" fmla="*/ 6 w 6"/>
                <a:gd name="T15" fmla="*/ 4 h 10"/>
                <a:gd name="T16" fmla="*/ 5 w 6"/>
                <a:gd name="T17" fmla="*/ 7 h 10"/>
                <a:gd name="T18" fmla="*/ 3 w 6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10">
                  <a:moveTo>
                    <a:pt x="3" y="8"/>
                  </a:moveTo>
                  <a:cubicBezTo>
                    <a:pt x="3" y="7"/>
                    <a:pt x="4" y="7"/>
                    <a:pt x="4" y="6"/>
                  </a:cubicBezTo>
                  <a:cubicBezTo>
                    <a:pt x="3" y="5"/>
                    <a:pt x="2" y="5"/>
                    <a:pt x="2" y="4"/>
                  </a:cubicBezTo>
                  <a:cubicBezTo>
                    <a:pt x="1" y="4"/>
                    <a:pt x="2" y="4"/>
                    <a:pt x="2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3" y="0"/>
                    <a:pt x="2" y="1"/>
                    <a:pt x="3" y="1"/>
                  </a:cubicBezTo>
                  <a:cubicBezTo>
                    <a:pt x="5" y="1"/>
                    <a:pt x="6" y="2"/>
                    <a:pt x="5" y="3"/>
                  </a:cubicBezTo>
                  <a:cubicBezTo>
                    <a:pt x="4" y="3"/>
                    <a:pt x="5" y="3"/>
                    <a:pt x="6" y="4"/>
                  </a:cubicBezTo>
                  <a:cubicBezTo>
                    <a:pt x="6" y="5"/>
                    <a:pt x="6" y="6"/>
                    <a:pt x="5" y="7"/>
                  </a:cubicBezTo>
                  <a:cubicBezTo>
                    <a:pt x="5" y="7"/>
                    <a:pt x="2" y="10"/>
                    <a:pt x="3" y="8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30" name="Freeform 544">
              <a:extLst>
                <a:ext uri="{FF2B5EF4-FFF2-40B4-BE49-F238E27FC236}">
                  <a16:creationId xmlns:a16="http://schemas.microsoft.com/office/drawing/2014/main" id="{0A613660-426C-1657-0C77-DD1D1F7BF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509" y="2803517"/>
              <a:ext cx="12109" cy="2422"/>
            </a:xfrm>
            <a:custGeom>
              <a:avLst/>
              <a:gdLst>
                <a:gd name="T0" fmla="*/ 3 w 4"/>
                <a:gd name="T1" fmla="*/ 1 h 1"/>
                <a:gd name="T2" fmla="*/ 1 w 4"/>
                <a:gd name="T3" fmla="*/ 1 h 1"/>
                <a:gd name="T4" fmla="*/ 4 w 4"/>
                <a:gd name="T5" fmla="*/ 0 h 1"/>
                <a:gd name="T6" fmla="*/ 3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3" y="1"/>
                  </a:moveTo>
                  <a:cubicBezTo>
                    <a:pt x="1" y="1"/>
                    <a:pt x="0" y="1"/>
                    <a:pt x="1" y="1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31" name="Freeform 545">
              <a:extLst>
                <a:ext uri="{FF2B5EF4-FFF2-40B4-BE49-F238E27FC236}">
                  <a16:creationId xmlns:a16="http://schemas.microsoft.com/office/drawing/2014/main" id="{3A9F88E5-7BE1-2DAD-5EFC-051F05D77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837" y="2809571"/>
              <a:ext cx="44802" cy="23006"/>
            </a:xfrm>
            <a:custGeom>
              <a:avLst/>
              <a:gdLst>
                <a:gd name="T0" fmla="*/ 11 w 14"/>
                <a:gd name="T1" fmla="*/ 0 h 7"/>
                <a:gd name="T2" fmla="*/ 8 w 14"/>
                <a:gd name="T3" fmla="*/ 1 h 7"/>
                <a:gd name="T4" fmla="*/ 5 w 14"/>
                <a:gd name="T5" fmla="*/ 1 h 7"/>
                <a:gd name="T6" fmla="*/ 5 w 14"/>
                <a:gd name="T7" fmla="*/ 3 h 7"/>
                <a:gd name="T8" fmla="*/ 5 w 14"/>
                <a:gd name="T9" fmla="*/ 4 h 7"/>
                <a:gd name="T10" fmla="*/ 2 w 14"/>
                <a:gd name="T11" fmla="*/ 2 h 7"/>
                <a:gd name="T12" fmla="*/ 0 w 14"/>
                <a:gd name="T13" fmla="*/ 4 h 7"/>
                <a:gd name="T14" fmla="*/ 2 w 14"/>
                <a:gd name="T15" fmla="*/ 7 h 7"/>
                <a:gd name="T16" fmla="*/ 5 w 14"/>
                <a:gd name="T17" fmla="*/ 6 h 7"/>
                <a:gd name="T18" fmla="*/ 8 w 14"/>
                <a:gd name="T19" fmla="*/ 6 h 7"/>
                <a:gd name="T20" fmla="*/ 11 w 14"/>
                <a:gd name="T21" fmla="*/ 5 h 7"/>
                <a:gd name="T22" fmla="*/ 11 w 14"/>
                <a:gd name="T23" fmla="*/ 3 h 7"/>
                <a:gd name="T24" fmla="*/ 12 w 14"/>
                <a:gd name="T25" fmla="*/ 3 h 7"/>
                <a:gd name="T26" fmla="*/ 14 w 14"/>
                <a:gd name="T27" fmla="*/ 2 h 7"/>
                <a:gd name="T28" fmla="*/ 11 w 14"/>
                <a:gd name="T2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cubicBezTo>
                    <a:pt x="10" y="0"/>
                    <a:pt x="9" y="1"/>
                    <a:pt x="8" y="1"/>
                  </a:cubicBezTo>
                  <a:cubicBezTo>
                    <a:pt x="7" y="1"/>
                    <a:pt x="6" y="0"/>
                    <a:pt x="5" y="1"/>
                  </a:cubicBezTo>
                  <a:cubicBezTo>
                    <a:pt x="5" y="1"/>
                    <a:pt x="4" y="2"/>
                    <a:pt x="5" y="3"/>
                  </a:cubicBezTo>
                  <a:cubicBezTo>
                    <a:pt x="6" y="3"/>
                    <a:pt x="7" y="5"/>
                    <a:pt x="5" y="4"/>
                  </a:cubicBezTo>
                  <a:cubicBezTo>
                    <a:pt x="4" y="3"/>
                    <a:pt x="2" y="2"/>
                    <a:pt x="2" y="2"/>
                  </a:cubicBezTo>
                  <a:cubicBezTo>
                    <a:pt x="1" y="3"/>
                    <a:pt x="0" y="3"/>
                    <a:pt x="0" y="4"/>
                  </a:cubicBezTo>
                  <a:cubicBezTo>
                    <a:pt x="1" y="5"/>
                    <a:pt x="1" y="7"/>
                    <a:pt x="2" y="7"/>
                  </a:cubicBezTo>
                  <a:cubicBezTo>
                    <a:pt x="4" y="7"/>
                    <a:pt x="3" y="6"/>
                    <a:pt x="5" y="6"/>
                  </a:cubicBezTo>
                  <a:cubicBezTo>
                    <a:pt x="6" y="7"/>
                    <a:pt x="7" y="6"/>
                    <a:pt x="8" y="6"/>
                  </a:cubicBezTo>
                  <a:cubicBezTo>
                    <a:pt x="8" y="5"/>
                    <a:pt x="9" y="6"/>
                    <a:pt x="11" y="5"/>
                  </a:cubicBezTo>
                  <a:cubicBezTo>
                    <a:pt x="12" y="4"/>
                    <a:pt x="12" y="4"/>
                    <a:pt x="11" y="3"/>
                  </a:cubicBezTo>
                  <a:cubicBezTo>
                    <a:pt x="10" y="3"/>
                    <a:pt x="11" y="3"/>
                    <a:pt x="12" y="3"/>
                  </a:cubicBezTo>
                  <a:cubicBezTo>
                    <a:pt x="14" y="3"/>
                    <a:pt x="14" y="3"/>
                    <a:pt x="14" y="2"/>
                  </a:cubicBezTo>
                  <a:cubicBezTo>
                    <a:pt x="13" y="1"/>
                    <a:pt x="12" y="0"/>
                    <a:pt x="11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32" name="Freeform 546">
              <a:extLst>
                <a:ext uri="{FF2B5EF4-FFF2-40B4-BE49-F238E27FC236}">
                  <a16:creationId xmlns:a16="http://schemas.microsoft.com/office/drawing/2014/main" id="{116540AC-72FC-CAFA-DE2E-1B59AB199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11" y="2786565"/>
              <a:ext cx="29061" cy="23006"/>
            </a:xfrm>
            <a:custGeom>
              <a:avLst/>
              <a:gdLst>
                <a:gd name="T0" fmla="*/ 2 w 9"/>
                <a:gd name="T1" fmla="*/ 6 h 7"/>
                <a:gd name="T2" fmla="*/ 6 w 9"/>
                <a:gd name="T3" fmla="*/ 4 h 7"/>
                <a:gd name="T4" fmla="*/ 9 w 9"/>
                <a:gd name="T5" fmla="*/ 4 h 7"/>
                <a:gd name="T6" fmla="*/ 6 w 9"/>
                <a:gd name="T7" fmla="*/ 1 h 7"/>
                <a:gd name="T8" fmla="*/ 2 w 9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2" y="6"/>
                  </a:moveTo>
                  <a:cubicBezTo>
                    <a:pt x="4" y="6"/>
                    <a:pt x="5" y="5"/>
                    <a:pt x="6" y="4"/>
                  </a:cubicBezTo>
                  <a:cubicBezTo>
                    <a:pt x="8" y="4"/>
                    <a:pt x="9" y="5"/>
                    <a:pt x="9" y="4"/>
                  </a:cubicBezTo>
                  <a:cubicBezTo>
                    <a:pt x="8" y="3"/>
                    <a:pt x="7" y="0"/>
                    <a:pt x="6" y="1"/>
                  </a:cubicBezTo>
                  <a:cubicBezTo>
                    <a:pt x="6" y="1"/>
                    <a:pt x="0" y="7"/>
                    <a:pt x="2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33" name="Freeform 547">
              <a:extLst>
                <a:ext uri="{FF2B5EF4-FFF2-40B4-BE49-F238E27FC236}">
                  <a16:creationId xmlns:a16="http://schemas.microsoft.com/office/drawing/2014/main" id="{5E9BB697-3AA4-59F9-8723-35AC7FA44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889" y="2883433"/>
              <a:ext cx="46013" cy="16952"/>
            </a:xfrm>
            <a:custGeom>
              <a:avLst/>
              <a:gdLst>
                <a:gd name="T0" fmla="*/ 12 w 14"/>
                <a:gd name="T1" fmla="*/ 2 h 5"/>
                <a:gd name="T2" fmla="*/ 10 w 14"/>
                <a:gd name="T3" fmla="*/ 0 h 5"/>
                <a:gd name="T4" fmla="*/ 4 w 14"/>
                <a:gd name="T5" fmla="*/ 4 h 5"/>
                <a:gd name="T6" fmla="*/ 12 w 14"/>
                <a:gd name="T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5">
                  <a:moveTo>
                    <a:pt x="12" y="2"/>
                  </a:moveTo>
                  <a:cubicBezTo>
                    <a:pt x="14" y="2"/>
                    <a:pt x="12" y="0"/>
                    <a:pt x="10" y="0"/>
                  </a:cubicBezTo>
                  <a:cubicBezTo>
                    <a:pt x="8" y="0"/>
                    <a:pt x="0" y="3"/>
                    <a:pt x="4" y="4"/>
                  </a:cubicBezTo>
                  <a:cubicBezTo>
                    <a:pt x="8" y="5"/>
                    <a:pt x="10" y="1"/>
                    <a:pt x="12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34" name="Freeform 548">
              <a:extLst>
                <a:ext uri="{FF2B5EF4-FFF2-40B4-BE49-F238E27FC236}">
                  <a16:creationId xmlns:a16="http://schemas.microsoft.com/office/drawing/2014/main" id="{0F1EAEBB-5B6A-E2F2-3212-7A9A64D03B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142" y="2906439"/>
              <a:ext cx="26639" cy="19374"/>
            </a:xfrm>
            <a:custGeom>
              <a:avLst/>
              <a:gdLst>
                <a:gd name="T0" fmla="*/ 8 w 8"/>
                <a:gd name="T1" fmla="*/ 2 h 6"/>
                <a:gd name="T2" fmla="*/ 4 w 8"/>
                <a:gd name="T3" fmla="*/ 1 h 6"/>
                <a:gd name="T4" fmla="*/ 4 w 8"/>
                <a:gd name="T5" fmla="*/ 4 h 6"/>
                <a:gd name="T6" fmla="*/ 1 w 8"/>
                <a:gd name="T7" fmla="*/ 5 h 6"/>
                <a:gd name="T8" fmla="*/ 6 w 8"/>
                <a:gd name="T9" fmla="*/ 4 h 6"/>
                <a:gd name="T10" fmla="*/ 8 w 8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cubicBezTo>
                    <a:pt x="8" y="0"/>
                    <a:pt x="5" y="0"/>
                    <a:pt x="4" y="1"/>
                  </a:cubicBezTo>
                  <a:cubicBezTo>
                    <a:pt x="4" y="3"/>
                    <a:pt x="5" y="3"/>
                    <a:pt x="4" y="4"/>
                  </a:cubicBezTo>
                  <a:cubicBezTo>
                    <a:pt x="3" y="4"/>
                    <a:pt x="0" y="5"/>
                    <a:pt x="1" y="5"/>
                  </a:cubicBezTo>
                  <a:cubicBezTo>
                    <a:pt x="2" y="5"/>
                    <a:pt x="4" y="6"/>
                    <a:pt x="6" y="4"/>
                  </a:cubicBezTo>
                  <a:cubicBezTo>
                    <a:pt x="7" y="3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38" name="Freeform 553">
              <a:extLst>
                <a:ext uri="{FF2B5EF4-FFF2-40B4-BE49-F238E27FC236}">
                  <a16:creationId xmlns:a16="http://schemas.microsoft.com/office/drawing/2014/main" id="{C6F5B326-8EC7-9289-4FA0-2EA669418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2747" y="2343396"/>
              <a:ext cx="331775" cy="162253"/>
            </a:xfrm>
            <a:custGeom>
              <a:avLst/>
              <a:gdLst>
                <a:gd name="T0" fmla="*/ 81 w 103"/>
                <a:gd name="T1" fmla="*/ 45 h 50"/>
                <a:gd name="T2" fmla="*/ 73 w 103"/>
                <a:gd name="T3" fmla="*/ 43 h 50"/>
                <a:gd name="T4" fmla="*/ 63 w 103"/>
                <a:gd name="T5" fmla="*/ 45 h 50"/>
                <a:gd name="T6" fmla="*/ 49 w 103"/>
                <a:gd name="T7" fmla="*/ 48 h 50"/>
                <a:gd name="T8" fmla="*/ 32 w 103"/>
                <a:gd name="T9" fmla="*/ 46 h 50"/>
                <a:gd name="T10" fmla="*/ 17 w 103"/>
                <a:gd name="T11" fmla="*/ 41 h 50"/>
                <a:gd name="T12" fmla="*/ 25 w 103"/>
                <a:gd name="T13" fmla="*/ 32 h 50"/>
                <a:gd name="T14" fmla="*/ 43 w 103"/>
                <a:gd name="T15" fmla="*/ 32 h 50"/>
                <a:gd name="T16" fmla="*/ 19 w 103"/>
                <a:gd name="T17" fmla="*/ 29 h 50"/>
                <a:gd name="T18" fmla="*/ 9 w 103"/>
                <a:gd name="T19" fmla="*/ 23 h 50"/>
                <a:gd name="T20" fmla="*/ 12 w 103"/>
                <a:gd name="T21" fmla="*/ 21 h 50"/>
                <a:gd name="T22" fmla="*/ 7 w 103"/>
                <a:gd name="T23" fmla="*/ 18 h 50"/>
                <a:gd name="T24" fmla="*/ 5 w 103"/>
                <a:gd name="T25" fmla="*/ 13 h 50"/>
                <a:gd name="T26" fmla="*/ 5 w 103"/>
                <a:gd name="T27" fmla="*/ 10 h 50"/>
                <a:gd name="T28" fmla="*/ 22 w 103"/>
                <a:gd name="T29" fmla="*/ 1 h 50"/>
                <a:gd name="T30" fmla="*/ 29 w 103"/>
                <a:gd name="T31" fmla="*/ 5 h 50"/>
                <a:gd name="T32" fmla="*/ 32 w 103"/>
                <a:gd name="T33" fmla="*/ 8 h 50"/>
                <a:gd name="T34" fmla="*/ 43 w 103"/>
                <a:gd name="T35" fmla="*/ 6 h 50"/>
                <a:gd name="T36" fmla="*/ 43 w 103"/>
                <a:gd name="T37" fmla="*/ 11 h 50"/>
                <a:gd name="T38" fmla="*/ 49 w 103"/>
                <a:gd name="T39" fmla="*/ 9 h 50"/>
                <a:gd name="T40" fmla="*/ 53 w 103"/>
                <a:gd name="T41" fmla="*/ 10 h 50"/>
                <a:gd name="T42" fmla="*/ 49 w 103"/>
                <a:gd name="T43" fmla="*/ 4 h 50"/>
                <a:gd name="T44" fmla="*/ 59 w 103"/>
                <a:gd name="T45" fmla="*/ 10 h 50"/>
                <a:gd name="T46" fmla="*/ 67 w 103"/>
                <a:gd name="T47" fmla="*/ 16 h 50"/>
                <a:gd name="T48" fmla="*/ 63 w 103"/>
                <a:gd name="T49" fmla="*/ 1 h 50"/>
                <a:gd name="T50" fmla="*/ 70 w 103"/>
                <a:gd name="T51" fmla="*/ 1 h 50"/>
                <a:gd name="T52" fmla="*/ 77 w 103"/>
                <a:gd name="T53" fmla="*/ 8 h 50"/>
                <a:gd name="T54" fmla="*/ 83 w 103"/>
                <a:gd name="T55" fmla="*/ 21 h 50"/>
                <a:gd name="T56" fmla="*/ 89 w 103"/>
                <a:gd name="T57" fmla="*/ 29 h 50"/>
                <a:gd name="T58" fmla="*/ 102 w 103"/>
                <a:gd name="T59" fmla="*/ 34 h 50"/>
                <a:gd name="T60" fmla="*/ 92 w 103"/>
                <a:gd name="T61" fmla="*/ 36 h 50"/>
                <a:gd name="T62" fmla="*/ 89 w 103"/>
                <a:gd name="T63" fmla="*/ 39 h 50"/>
                <a:gd name="T64" fmla="*/ 90 w 103"/>
                <a:gd name="T65" fmla="*/ 42 h 50"/>
                <a:gd name="T66" fmla="*/ 94 w 103"/>
                <a:gd name="T67" fmla="*/ 40 h 50"/>
                <a:gd name="T68" fmla="*/ 96 w 103"/>
                <a:gd name="T69" fmla="*/ 42 h 50"/>
                <a:gd name="T70" fmla="*/ 96 w 103"/>
                <a:gd name="T71" fmla="*/ 4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3" h="50">
                  <a:moveTo>
                    <a:pt x="92" y="46"/>
                  </a:moveTo>
                  <a:cubicBezTo>
                    <a:pt x="90" y="46"/>
                    <a:pt x="82" y="46"/>
                    <a:pt x="81" y="45"/>
                  </a:cubicBezTo>
                  <a:cubicBezTo>
                    <a:pt x="80" y="44"/>
                    <a:pt x="80" y="44"/>
                    <a:pt x="78" y="44"/>
                  </a:cubicBezTo>
                  <a:cubicBezTo>
                    <a:pt x="76" y="44"/>
                    <a:pt x="73" y="44"/>
                    <a:pt x="73" y="43"/>
                  </a:cubicBezTo>
                  <a:cubicBezTo>
                    <a:pt x="72" y="42"/>
                    <a:pt x="73" y="40"/>
                    <a:pt x="71" y="40"/>
                  </a:cubicBezTo>
                  <a:cubicBezTo>
                    <a:pt x="69" y="41"/>
                    <a:pt x="65" y="44"/>
                    <a:pt x="63" y="45"/>
                  </a:cubicBezTo>
                  <a:cubicBezTo>
                    <a:pt x="61" y="45"/>
                    <a:pt x="60" y="45"/>
                    <a:pt x="59" y="45"/>
                  </a:cubicBezTo>
                  <a:cubicBezTo>
                    <a:pt x="58" y="46"/>
                    <a:pt x="53" y="47"/>
                    <a:pt x="49" y="48"/>
                  </a:cubicBezTo>
                  <a:cubicBezTo>
                    <a:pt x="46" y="48"/>
                    <a:pt x="38" y="50"/>
                    <a:pt x="36" y="49"/>
                  </a:cubicBezTo>
                  <a:cubicBezTo>
                    <a:pt x="34" y="48"/>
                    <a:pt x="32" y="47"/>
                    <a:pt x="32" y="46"/>
                  </a:cubicBezTo>
                  <a:cubicBezTo>
                    <a:pt x="32" y="44"/>
                    <a:pt x="31" y="42"/>
                    <a:pt x="30" y="42"/>
                  </a:cubicBezTo>
                  <a:cubicBezTo>
                    <a:pt x="29" y="42"/>
                    <a:pt x="20" y="43"/>
                    <a:pt x="17" y="41"/>
                  </a:cubicBezTo>
                  <a:cubicBezTo>
                    <a:pt x="14" y="39"/>
                    <a:pt x="10" y="36"/>
                    <a:pt x="11" y="35"/>
                  </a:cubicBezTo>
                  <a:cubicBezTo>
                    <a:pt x="12" y="34"/>
                    <a:pt x="18" y="32"/>
                    <a:pt x="25" y="32"/>
                  </a:cubicBezTo>
                  <a:cubicBezTo>
                    <a:pt x="32" y="32"/>
                    <a:pt x="35" y="33"/>
                    <a:pt x="37" y="33"/>
                  </a:cubicBezTo>
                  <a:cubicBezTo>
                    <a:pt x="40" y="32"/>
                    <a:pt x="46" y="33"/>
                    <a:pt x="43" y="32"/>
                  </a:cubicBezTo>
                  <a:cubicBezTo>
                    <a:pt x="40" y="31"/>
                    <a:pt x="36" y="29"/>
                    <a:pt x="31" y="29"/>
                  </a:cubicBezTo>
                  <a:cubicBezTo>
                    <a:pt x="27" y="28"/>
                    <a:pt x="22" y="29"/>
                    <a:pt x="19" y="29"/>
                  </a:cubicBezTo>
                  <a:cubicBezTo>
                    <a:pt x="15" y="29"/>
                    <a:pt x="13" y="30"/>
                    <a:pt x="10" y="29"/>
                  </a:cubicBezTo>
                  <a:cubicBezTo>
                    <a:pt x="8" y="28"/>
                    <a:pt x="1" y="26"/>
                    <a:pt x="9" y="23"/>
                  </a:cubicBezTo>
                  <a:cubicBezTo>
                    <a:pt x="17" y="20"/>
                    <a:pt x="25" y="20"/>
                    <a:pt x="23" y="20"/>
                  </a:cubicBezTo>
                  <a:cubicBezTo>
                    <a:pt x="21" y="20"/>
                    <a:pt x="16" y="21"/>
                    <a:pt x="12" y="21"/>
                  </a:cubicBezTo>
                  <a:cubicBezTo>
                    <a:pt x="9" y="21"/>
                    <a:pt x="6" y="21"/>
                    <a:pt x="7" y="20"/>
                  </a:cubicBezTo>
                  <a:cubicBezTo>
                    <a:pt x="7" y="19"/>
                    <a:pt x="9" y="18"/>
                    <a:pt x="7" y="18"/>
                  </a:cubicBezTo>
                  <a:cubicBezTo>
                    <a:pt x="5" y="18"/>
                    <a:pt x="0" y="19"/>
                    <a:pt x="1" y="17"/>
                  </a:cubicBezTo>
                  <a:cubicBezTo>
                    <a:pt x="2" y="16"/>
                    <a:pt x="3" y="13"/>
                    <a:pt x="5" y="13"/>
                  </a:cubicBezTo>
                  <a:cubicBezTo>
                    <a:pt x="6" y="12"/>
                    <a:pt x="7" y="12"/>
                    <a:pt x="6" y="11"/>
                  </a:cubicBezTo>
                  <a:cubicBezTo>
                    <a:pt x="6" y="11"/>
                    <a:pt x="4" y="11"/>
                    <a:pt x="5" y="10"/>
                  </a:cubicBezTo>
                  <a:cubicBezTo>
                    <a:pt x="7" y="9"/>
                    <a:pt x="10" y="6"/>
                    <a:pt x="13" y="5"/>
                  </a:cubicBezTo>
                  <a:cubicBezTo>
                    <a:pt x="16" y="4"/>
                    <a:pt x="20" y="2"/>
                    <a:pt x="22" y="1"/>
                  </a:cubicBezTo>
                  <a:cubicBezTo>
                    <a:pt x="24" y="1"/>
                    <a:pt x="29" y="0"/>
                    <a:pt x="29" y="1"/>
                  </a:cubicBezTo>
                  <a:cubicBezTo>
                    <a:pt x="29" y="3"/>
                    <a:pt x="29" y="4"/>
                    <a:pt x="29" y="5"/>
                  </a:cubicBezTo>
                  <a:cubicBezTo>
                    <a:pt x="28" y="7"/>
                    <a:pt x="26" y="8"/>
                    <a:pt x="27" y="8"/>
                  </a:cubicBezTo>
                  <a:cubicBezTo>
                    <a:pt x="28" y="9"/>
                    <a:pt x="32" y="9"/>
                    <a:pt x="32" y="8"/>
                  </a:cubicBezTo>
                  <a:cubicBezTo>
                    <a:pt x="33" y="7"/>
                    <a:pt x="33" y="5"/>
                    <a:pt x="34" y="5"/>
                  </a:cubicBezTo>
                  <a:cubicBezTo>
                    <a:pt x="35" y="4"/>
                    <a:pt x="42" y="5"/>
                    <a:pt x="43" y="6"/>
                  </a:cubicBezTo>
                  <a:cubicBezTo>
                    <a:pt x="45" y="7"/>
                    <a:pt x="44" y="8"/>
                    <a:pt x="44" y="9"/>
                  </a:cubicBezTo>
                  <a:cubicBezTo>
                    <a:pt x="43" y="9"/>
                    <a:pt x="41" y="12"/>
                    <a:pt x="43" y="11"/>
                  </a:cubicBezTo>
                  <a:cubicBezTo>
                    <a:pt x="45" y="11"/>
                    <a:pt x="45" y="11"/>
                    <a:pt x="46" y="10"/>
                  </a:cubicBezTo>
                  <a:cubicBezTo>
                    <a:pt x="48" y="9"/>
                    <a:pt x="48" y="9"/>
                    <a:pt x="49" y="9"/>
                  </a:cubicBezTo>
                  <a:cubicBezTo>
                    <a:pt x="50" y="10"/>
                    <a:pt x="51" y="9"/>
                    <a:pt x="51" y="9"/>
                  </a:cubicBezTo>
                  <a:cubicBezTo>
                    <a:pt x="51" y="9"/>
                    <a:pt x="53" y="11"/>
                    <a:pt x="53" y="10"/>
                  </a:cubicBezTo>
                  <a:cubicBezTo>
                    <a:pt x="53" y="9"/>
                    <a:pt x="54" y="7"/>
                    <a:pt x="52" y="6"/>
                  </a:cubicBezTo>
                  <a:cubicBezTo>
                    <a:pt x="50" y="5"/>
                    <a:pt x="47" y="4"/>
                    <a:pt x="49" y="4"/>
                  </a:cubicBezTo>
                  <a:cubicBezTo>
                    <a:pt x="51" y="4"/>
                    <a:pt x="54" y="6"/>
                    <a:pt x="55" y="6"/>
                  </a:cubicBezTo>
                  <a:cubicBezTo>
                    <a:pt x="56" y="7"/>
                    <a:pt x="59" y="8"/>
                    <a:pt x="59" y="10"/>
                  </a:cubicBezTo>
                  <a:cubicBezTo>
                    <a:pt x="59" y="11"/>
                    <a:pt x="60" y="18"/>
                    <a:pt x="62" y="18"/>
                  </a:cubicBezTo>
                  <a:cubicBezTo>
                    <a:pt x="64" y="18"/>
                    <a:pt x="68" y="18"/>
                    <a:pt x="67" y="16"/>
                  </a:cubicBezTo>
                  <a:cubicBezTo>
                    <a:pt x="67" y="15"/>
                    <a:pt x="61" y="4"/>
                    <a:pt x="62" y="3"/>
                  </a:cubicBezTo>
                  <a:cubicBezTo>
                    <a:pt x="62" y="2"/>
                    <a:pt x="62" y="1"/>
                    <a:pt x="63" y="1"/>
                  </a:cubicBezTo>
                  <a:cubicBezTo>
                    <a:pt x="64" y="1"/>
                    <a:pt x="67" y="2"/>
                    <a:pt x="68" y="2"/>
                  </a:cubicBezTo>
                  <a:cubicBezTo>
                    <a:pt x="69" y="2"/>
                    <a:pt x="68" y="0"/>
                    <a:pt x="70" y="1"/>
                  </a:cubicBezTo>
                  <a:cubicBezTo>
                    <a:pt x="71" y="1"/>
                    <a:pt x="74" y="4"/>
                    <a:pt x="75" y="5"/>
                  </a:cubicBezTo>
                  <a:cubicBezTo>
                    <a:pt x="77" y="5"/>
                    <a:pt x="77" y="7"/>
                    <a:pt x="77" y="8"/>
                  </a:cubicBezTo>
                  <a:cubicBezTo>
                    <a:pt x="78" y="9"/>
                    <a:pt x="81" y="15"/>
                    <a:pt x="82" y="17"/>
                  </a:cubicBezTo>
                  <a:cubicBezTo>
                    <a:pt x="84" y="20"/>
                    <a:pt x="83" y="21"/>
                    <a:pt x="83" y="21"/>
                  </a:cubicBezTo>
                  <a:cubicBezTo>
                    <a:pt x="82" y="21"/>
                    <a:pt x="82" y="22"/>
                    <a:pt x="82" y="24"/>
                  </a:cubicBezTo>
                  <a:cubicBezTo>
                    <a:pt x="83" y="25"/>
                    <a:pt x="85" y="29"/>
                    <a:pt x="89" y="29"/>
                  </a:cubicBezTo>
                  <a:cubicBezTo>
                    <a:pt x="92" y="29"/>
                    <a:pt x="91" y="30"/>
                    <a:pt x="95" y="31"/>
                  </a:cubicBezTo>
                  <a:cubicBezTo>
                    <a:pt x="98" y="33"/>
                    <a:pt x="102" y="33"/>
                    <a:pt x="102" y="34"/>
                  </a:cubicBezTo>
                  <a:cubicBezTo>
                    <a:pt x="102" y="36"/>
                    <a:pt x="103" y="38"/>
                    <a:pt x="102" y="38"/>
                  </a:cubicBezTo>
                  <a:cubicBezTo>
                    <a:pt x="101" y="38"/>
                    <a:pt x="92" y="35"/>
                    <a:pt x="92" y="36"/>
                  </a:cubicBezTo>
                  <a:cubicBezTo>
                    <a:pt x="92" y="36"/>
                    <a:pt x="92" y="38"/>
                    <a:pt x="92" y="39"/>
                  </a:cubicBezTo>
                  <a:cubicBezTo>
                    <a:pt x="92" y="39"/>
                    <a:pt x="89" y="39"/>
                    <a:pt x="89" y="39"/>
                  </a:cubicBezTo>
                  <a:cubicBezTo>
                    <a:pt x="89" y="39"/>
                    <a:pt x="90" y="40"/>
                    <a:pt x="90" y="40"/>
                  </a:cubicBezTo>
                  <a:cubicBezTo>
                    <a:pt x="90" y="41"/>
                    <a:pt x="90" y="43"/>
                    <a:pt x="90" y="42"/>
                  </a:cubicBezTo>
                  <a:cubicBezTo>
                    <a:pt x="90" y="42"/>
                    <a:pt x="92" y="41"/>
                    <a:pt x="92" y="41"/>
                  </a:cubicBezTo>
                  <a:cubicBezTo>
                    <a:pt x="92" y="41"/>
                    <a:pt x="94" y="40"/>
                    <a:pt x="94" y="40"/>
                  </a:cubicBezTo>
                  <a:cubicBezTo>
                    <a:pt x="95" y="40"/>
                    <a:pt x="96" y="40"/>
                    <a:pt x="96" y="40"/>
                  </a:cubicBezTo>
                  <a:cubicBezTo>
                    <a:pt x="95" y="41"/>
                    <a:pt x="95" y="42"/>
                    <a:pt x="96" y="42"/>
                  </a:cubicBezTo>
                  <a:cubicBezTo>
                    <a:pt x="96" y="43"/>
                    <a:pt x="99" y="43"/>
                    <a:pt x="99" y="43"/>
                  </a:cubicBezTo>
                  <a:cubicBezTo>
                    <a:pt x="98" y="43"/>
                    <a:pt x="97" y="44"/>
                    <a:pt x="96" y="45"/>
                  </a:cubicBezTo>
                  <a:cubicBezTo>
                    <a:pt x="95" y="45"/>
                    <a:pt x="95" y="45"/>
                    <a:pt x="92" y="4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42" name="Freeform 557">
              <a:extLst>
                <a:ext uri="{FF2B5EF4-FFF2-40B4-BE49-F238E27FC236}">
                  <a16:creationId xmlns:a16="http://schemas.microsoft.com/office/drawing/2014/main" id="{D1A5D3F4-5CA5-E271-14ED-010544919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9240" y="2304649"/>
              <a:ext cx="197370" cy="116241"/>
            </a:xfrm>
            <a:custGeom>
              <a:avLst/>
              <a:gdLst>
                <a:gd name="T0" fmla="*/ 59 w 61"/>
                <a:gd name="T1" fmla="*/ 11 h 36"/>
                <a:gd name="T2" fmla="*/ 51 w 61"/>
                <a:gd name="T3" fmla="*/ 5 h 36"/>
                <a:gd name="T4" fmla="*/ 44 w 61"/>
                <a:gd name="T5" fmla="*/ 3 h 36"/>
                <a:gd name="T6" fmla="*/ 40 w 61"/>
                <a:gd name="T7" fmla="*/ 5 h 36"/>
                <a:gd name="T8" fmla="*/ 36 w 61"/>
                <a:gd name="T9" fmla="*/ 3 h 36"/>
                <a:gd name="T10" fmla="*/ 25 w 61"/>
                <a:gd name="T11" fmla="*/ 0 h 36"/>
                <a:gd name="T12" fmla="*/ 9 w 61"/>
                <a:gd name="T13" fmla="*/ 2 h 36"/>
                <a:gd name="T14" fmla="*/ 12 w 61"/>
                <a:gd name="T15" fmla="*/ 7 h 36"/>
                <a:gd name="T16" fmla="*/ 10 w 61"/>
                <a:gd name="T17" fmla="*/ 11 h 36"/>
                <a:gd name="T18" fmla="*/ 8 w 61"/>
                <a:gd name="T19" fmla="*/ 15 h 36"/>
                <a:gd name="T20" fmla="*/ 8 w 61"/>
                <a:gd name="T21" fmla="*/ 17 h 36"/>
                <a:gd name="T22" fmla="*/ 6 w 61"/>
                <a:gd name="T23" fmla="*/ 19 h 36"/>
                <a:gd name="T24" fmla="*/ 4 w 61"/>
                <a:gd name="T25" fmla="*/ 23 h 36"/>
                <a:gd name="T26" fmla="*/ 2 w 61"/>
                <a:gd name="T27" fmla="*/ 27 h 36"/>
                <a:gd name="T28" fmla="*/ 9 w 61"/>
                <a:gd name="T29" fmla="*/ 29 h 36"/>
                <a:gd name="T30" fmla="*/ 16 w 61"/>
                <a:gd name="T31" fmla="*/ 35 h 36"/>
                <a:gd name="T32" fmla="*/ 19 w 61"/>
                <a:gd name="T33" fmla="*/ 35 h 36"/>
                <a:gd name="T34" fmla="*/ 25 w 61"/>
                <a:gd name="T35" fmla="*/ 33 h 36"/>
                <a:gd name="T36" fmla="*/ 31 w 61"/>
                <a:gd name="T37" fmla="*/ 31 h 36"/>
                <a:gd name="T38" fmla="*/ 34 w 61"/>
                <a:gd name="T39" fmla="*/ 24 h 36"/>
                <a:gd name="T40" fmla="*/ 39 w 61"/>
                <a:gd name="T41" fmla="*/ 20 h 36"/>
                <a:gd name="T42" fmla="*/ 51 w 61"/>
                <a:gd name="T43" fmla="*/ 14 h 36"/>
                <a:gd name="T44" fmla="*/ 59 w 61"/>
                <a:gd name="T45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36">
                  <a:moveTo>
                    <a:pt x="59" y="11"/>
                  </a:moveTo>
                  <a:cubicBezTo>
                    <a:pt x="58" y="9"/>
                    <a:pt x="53" y="6"/>
                    <a:pt x="51" y="5"/>
                  </a:cubicBezTo>
                  <a:cubicBezTo>
                    <a:pt x="49" y="4"/>
                    <a:pt x="45" y="2"/>
                    <a:pt x="44" y="3"/>
                  </a:cubicBezTo>
                  <a:cubicBezTo>
                    <a:pt x="42" y="3"/>
                    <a:pt x="40" y="5"/>
                    <a:pt x="40" y="5"/>
                  </a:cubicBezTo>
                  <a:cubicBezTo>
                    <a:pt x="39" y="4"/>
                    <a:pt x="38" y="3"/>
                    <a:pt x="36" y="3"/>
                  </a:cubicBezTo>
                  <a:cubicBezTo>
                    <a:pt x="33" y="2"/>
                    <a:pt x="27" y="0"/>
                    <a:pt x="25" y="0"/>
                  </a:cubicBezTo>
                  <a:cubicBezTo>
                    <a:pt x="23" y="0"/>
                    <a:pt x="10" y="2"/>
                    <a:pt x="9" y="2"/>
                  </a:cubicBezTo>
                  <a:cubicBezTo>
                    <a:pt x="8" y="2"/>
                    <a:pt x="12" y="6"/>
                    <a:pt x="12" y="7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3"/>
                    <a:pt x="7" y="14"/>
                    <a:pt x="8" y="15"/>
                  </a:cubicBezTo>
                  <a:cubicBezTo>
                    <a:pt x="9" y="16"/>
                    <a:pt x="9" y="17"/>
                    <a:pt x="8" y="17"/>
                  </a:cubicBezTo>
                  <a:cubicBezTo>
                    <a:pt x="7" y="18"/>
                    <a:pt x="6" y="18"/>
                    <a:pt x="6" y="19"/>
                  </a:cubicBezTo>
                  <a:cubicBezTo>
                    <a:pt x="6" y="19"/>
                    <a:pt x="4" y="23"/>
                    <a:pt x="4" y="23"/>
                  </a:cubicBezTo>
                  <a:cubicBezTo>
                    <a:pt x="3" y="24"/>
                    <a:pt x="0" y="27"/>
                    <a:pt x="2" y="27"/>
                  </a:cubicBezTo>
                  <a:cubicBezTo>
                    <a:pt x="3" y="27"/>
                    <a:pt x="7" y="28"/>
                    <a:pt x="9" y="29"/>
                  </a:cubicBezTo>
                  <a:cubicBezTo>
                    <a:pt x="11" y="30"/>
                    <a:pt x="14" y="34"/>
                    <a:pt x="16" y="35"/>
                  </a:cubicBezTo>
                  <a:cubicBezTo>
                    <a:pt x="18" y="36"/>
                    <a:pt x="17" y="36"/>
                    <a:pt x="19" y="35"/>
                  </a:cubicBezTo>
                  <a:cubicBezTo>
                    <a:pt x="21" y="34"/>
                    <a:pt x="23" y="33"/>
                    <a:pt x="25" y="33"/>
                  </a:cubicBezTo>
                  <a:cubicBezTo>
                    <a:pt x="28" y="33"/>
                    <a:pt x="31" y="33"/>
                    <a:pt x="31" y="31"/>
                  </a:cubicBezTo>
                  <a:cubicBezTo>
                    <a:pt x="32" y="29"/>
                    <a:pt x="31" y="26"/>
                    <a:pt x="34" y="24"/>
                  </a:cubicBezTo>
                  <a:cubicBezTo>
                    <a:pt x="37" y="23"/>
                    <a:pt x="39" y="21"/>
                    <a:pt x="39" y="20"/>
                  </a:cubicBezTo>
                  <a:cubicBezTo>
                    <a:pt x="40" y="19"/>
                    <a:pt x="48" y="16"/>
                    <a:pt x="51" y="14"/>
                  </a:cubicBezTo>
                  <a:cubicBezTo>
                    <a:pt x="54" y="13"/>
                    <a:pt x="61" y="12"/>
                    <a:pt x="59" y="1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44" name="Freeform 559">
              <a:extLst>
                <a:ext uri="{FF2B5EF4-FFF2-40B4-BE49-F238E27FC236}">
                  <a16:creationId xmlns:a16="http://schemas.microsoft.com/office/drawing/2014/main" id="{FD5E6415-FED5-92EA-D118-96C0EDADDC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62" y="2204149"/>
              <a:ext cx="213111" cy="102922"/>
            </a:xfrm>
            <a:custGeom>
              <a:avLst/>
              <a:gdLst>
                <a:gd name="T0" fmla="*/ 55 w 66"/>
                <a:gd name="T1" fmla="*/ 25 h 32"/>
                <a:gd name="T2" fmla="*/ 53 w 66"/>
                <a:gd name="T3" fmla="*/ 25 h 32"/>
                <a:gd name="T4" fmla="*/ 49 w 66"/>
                <a:gd name="T5" fmla="*/ 26 h 32"/>
                <a:gd name="T6" fmla="*/ 46 w 66"/>
                <a:gd name="T7" fmla="*/ 25 h 32"/>
                <a:gd name="T8" fmla="*/ 39 w 66"/>
                <a:gd name="T9" fmla="*/ 28 h 32"/>
                <a:gd name="T10" fmla="*/ 33 w 66"/>
                <a:gd name="T11" fmla="*/ 29 h 32"/>
                <a:gd name="T12" fmla="*/ 21 w 66"/>
                <a:gd name="T13" fmla="*/ 31 h 32"/>
                <a:gd name="T14" fmla="*/ 17 w 66"/>
                <a:gd name="T15" fmla="*/ 28 h 32"/>
                <a:gd name="T16" fmla="*/ 24 w 66"/>
                <a:gd name="T17" fmla="*/ 26 h 32"/>
                <a:gd name="T18" fmla="*/ 31 w 66"/>
                <a:gd name="T19" fmla="*/ 25 h 32"/>
                <a:gd name="T20" fmla="*/ 34 w 66"/>
                <a:gd name="T21" fmla="*/ 23 h 32"/>
                <a:gd name="T22" fmla="*/ 28 w 66"/>
                <a:gd name="T23" fmla="*/ 23 h 32"/>
                <a:gd name="T24" fmla="*/ 22 w 66"/>
                <a:gd name="T25" fmla="*/ 24 h 32"/>
                <a:gd name="T26" fmla="*/ 21 w 66"/>
                <a:gd name="T27" fmla="*/ 22 h 32"/>
                <a:gd name="T28" fmla="*/ 19 w 66"/>
                <a:gd name="T29" fmla="*/ 21 h 32"/>
                <a:gd name="T30" fmla="*/ 16 w 66"/>
                <a:gd name="T31" fmla="*/ 23 h 32"/>
                <a:gd name="T32" fmla="*/ 12 w 66"/>
                <a:gd name="T33" fmla="*/ 25 h 32"/>
                <a:gd name="T34" fmla="*/ 10 w 66"/>
                <a:gd name="T35" fmla="*/ 25 h 32"/>
                <a:gd name="T36" fmla="*/ 9 w 66"/>
                <a:gd name="T37" fmla="*/ 26 h 32"/>
                <a:gd name="T38" fmla="*/ 6 w 66"/>
                <a:gd name="T39" fmla="*/ 24 h 32"/>
                <a:gd name="T40" fmla="*/ 0 w 66"/>
                <a:gd name="T41" fmla="*/ 24 h 32"/>
                <a:gd name="T42" fmla="*/ 1 w 66"/>
                <a:gd name="T43" fmla="*/ 21 h 32"/>
                <a:gd name="T44" fmla="*/ 8 w 66"/>
                <a:gd name="T45" fmla="*/ 21 h 32"/>
                <a:gd name="T46" fmla="*/ 12 w 66"/>
                <a:gd name="T47" fmla="*/ 18 h 32"/>
                <a:gd name="T48" fmla="*/ 2 w 66"/>
                <a:gd name="T49" fmla="*/ 19 h 32"/>
                <a:gd name="T50" fmla="*/ 4 w 66"/>
                <a:gd name="T51" fmla="*/ 17 h 32"/>
                <a:gd name="T52" fmla="*/ 14 w 66"/>
                <a:gd name="T53" fmla="*/ 16 h 32"/>
                <a:gd name="T54" fmla="*/ 5 w 66"/>
                <a:gd name="T55" fmla="*/ 14 h 32"/>
                <a:gd name="T56" fmla="*/ 9 w 66"/>
                <a:gd name="T57" fmla="*/ 12 h 32"/>
                <a:gd name="T58" fmla="*/ 14 w 66"/>
                <a:gd name="T59" fmla="*/ 12 h 32"/>
                <a:gd name="T60" fmla="*/ 10 w 66"/>
                <a:gd name="T61" fmla="*/ 9 h 32"/>
                <a:gd name="T62" fmla="*/ 17 w 66"/>
                <a:gd name="T63" fmla="*/ 8 h 32"/>
                <a:gd name="T64" fmla="*/ 19 w 66"/>
                <a:gd name="T65" fmla="*/ 12 h 32"/>
                <a:gd name="T66" fmla="*/ 24 w 66"/>
                <a:gd name="T67" fmla="*/ 12 h 32"/>
                <a:gd name="T68" fmla="*/ 31 w 66"/>
                <a:gd name="T69" fmla="*/ 16 h 32"/>
                <a:gd name="T70" fmla="*/ 33 w 66"/>
                <a:gd name="T71" fmla="*/ 17 h 32"/>
                <a:gd name="T72" fmla="*/ 35 w 66"/>
                <a:gd name="T73" fmla="*/ 20 h 32"/>
                <a:gd name="T74" fmla="*/ 39 w 66"/>
                <a:gd name="T75" fmla="*/ 20 h 32"/>
                <a:gd name="T76" fmla="*/ 45 w 66"/>
                <a:gd name="T77" fmla="*/ 17 h 32"/>
                <a:gd name="T78" fmla="*/ 42 w 66"/>
                <a:gd name="T79" fmla="*/ 15 h 32"/>
                <a:gd name="T80" fmla="*/ 45 w 66"/>
                <a:gd name="T81" fmla="*/ 13 h 32"/>
                <a:gd name="T82" fmla="*/ 40 w 66"/>
                <a:gd name="T83" fmla="*/ 10 h 32"/>
                <a:gd name="T84" fmla="*/ 42 w 66"/>
                <a:gd name="T85" fmla="*/ 7 h 32"/>
                <a:gd name="T86" fmla="*/ 48 w 66"/>
                <a:gd name="T87" fmla="*/ 4 h 32"/>
                <a:gd name="T88" fmla="*/ 50 w 66"/>
                <a:gd name="T89" fmla="*/ 9 h 32"/>
                <a:gd name="T90" fmla="*/ 50 w 66"/>
                <a:gd name="T91" fmla="*/ 12 h 32"/>
                <a:gd name="T92" fmla="*/ 50 w 66"/>
                <a:gd name="T93" fmla="*/ 13 h 32"/>
                <a:gd name="T94" fmla="*/ 52 w 66"/>
                <a:gd name="T95" fmla="*/ 14 h 32"/>
                <a:gd name="T96" fmla="*/ 57 w 66"/>
                <a:gd name="T97" fmla="*/ 16 h 32"/>
                <a:gd name="T98" fmla="*/ 59 w 66"/>
                <a:gd name="T99" fmla="*/ 17 h 32"/>
                <a:gd name="T100" fmla="*/ 60 w 66"/>
                <a:gd name="T101" fmla="*/ 14 h 32"/>
                <a:gd name="T102" fmla="*/ 64 w 66"/>
                <a:gd name="T103" fmla="*/ 14 h 32"/>
                <a:gd name="T104" fmla="*/ 65 w 66"/>
                <a:gd name="T105" fmla="*/ 19 h 32"/>
                <a:gd name="T106" fmla="*/ 64 w 66"/>
                <a:gd name="T107" fmla="*/ 23 h 32"/>
                <a:gd name="T108" fmla="*/ 55 w 66"/>
                <a:gd name="T109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6" h="32">
                  <a:moveTo>
                    <a:pt x="55" y="25"/>
                  </a:moveTo>
                  <a:cubicBezTo>
                    <a:pt x="53" y="25"/>
                    <a:pt x="55" y="23"/>
                    <a:pt x="53" y="25"/>
                  </a:cubicBezTo>
                  <a:cubicBezTo>
                    <a:pt x="50" y="26"/>
                    <a:pt x="51" y="27"/>
                    <a:pt x="49" y="26"/>
                  </a:cubicBezTo>
                  <a:cubicBezTo>
                    <a:pt x="48" y="26"/>
                    <a:pt x="48" y="25"/>
                    <a:pt x="46" y="25"/>
                  </a:cubicBezTo>
                  <a:cubicBezTo>
                    <a:pt x="45" y="26"/>
                    <a:pt x="42" y="27"/>
                    <a:pt x="39" y="28"/>
                  </a:cubicBezTo>
                  <a:cubicBezTo>
                    <a:pt x="37" y="28"/>
                    <a:pt x="35" y="29"/>
                    <a:pt x="33" y="29"/>
                  </a:cubicBezTo>
                  <a:cubicBezTo>
                    <a:pt x="30" y="30"/>
                    <a:pt x="23" y="32"/>
                    <a:pt x="21" y="31"/>
                  </a:cubicBezTo>
                  <a:cubicBezTo>
                    <a:pt x="19" y="31"/>
                    <a:pt x="15" y="30"/>
                    <a:pt x="17" y="28"/>
                  </a:cubicBezTo>
                  <a:cubicBezTo>
                    <a:pt x="20" y="27"/>
                    <a:pt x="22" y="27"/>
                    <a:pt x="24" y="26"/>
                  </a:cubicBezTo>
                  <a:cubicBezTo>
                    <a:pt x="26" y="25"/>
                    <a:pt x="28" y="26"/>
                    <a:pt x="31" y="25"/>
                  </a:cubicBezTo>
                  <a:cubicBezTo>
                    <a:pt x="34" y="25"/>
                    <a:pt x="37" y="23"/>
                    <a:pt x="34" y="23"/>
                  </a:cubicBezTo>
                  <a:cubicBezTo>
                    <a:pt x="32" y="23"/>
                    <a:pt x="30" y="23"/>
                    <a:pt x="28" y="23"/>
                  </a:cubicBezTo>
                  <a:cubicBezTo>
                    <a:pt x="27" y="23"/>
                    <a:pt x="23" y="25"/>
                    <a:pt x="22" y="24"/>
                  </a:cubicBezTo>
                  <a:cubicBezTo>
                    <a:pt x="20" y="24"/>
                    <a:pt x="20" y="23"/>
                    <a:pt x="21" y="22"/>
                  </a:cubicBezTo>
                  <a:cubicBezTo>
                    <a:pt x="22" y="21"/>
                    <a:pt x="20" y="20"/>
                    <a:pt x="19" y="21"/>
                  </a:cubicBezTo>
                  <a:cubicBezTo>
                    <a:pt x="18" y="22"/>
                    <a:pt x="17" y="23"/>
                    <a:pt x="16" y="23"/>
                  </a:cubicBezTo>
                  <a:cubicBezTo>
                    <a:pt x="14" y="24"/>
                    <a:pt x="12" y="25"/>
                    <a:pt x="12" y="25"/>
                  </a:cubicBezTo>
                  <a:cubicBezTo>
                    <a:pt x="12" y="25"/>
                    <a:pt x="11" y="24"/>
                    <a:pt x="10" y="25"/>
                  </a:cubicBezTo>
                  <a:cubicBezTo>
                    <a:pt x="9" y="26"/>
                    <a:pt x="10" y="28"/>
                    <a:pt x="9" y="26"/>
                  </a:cubicBezTo>
                  <a:cubicBezTo>
                    <a:pt x="7" y="24"/>
                    <a:pt x="7" y="24"/>
                    <a:pt x="6" y="24"/>
                  </a:cubicBezTo>
                  <a:cubicBezTo>
                    <a:pt x="4" y="24"/>
                    <a:pt x="0" y="25"/>
                    <a:pt x="0" y="24"/>
                  </a:cubicBezTo>
                  <a:cubicBezTo>
                    <a:pt x="0" y="23"/>
                    <a:pt x="0" y="21"/>
                    <a:pt x="1" y="21"/>
                  </a:cubicBezTo>
                  <a:cubicBezTo>
                    <a:pt x="3" y="21"/>
                    <a:pt x="5" y="22"/>
                    <a:pt x="8" y="21"/>
                  </a:cubicBezTo>
                  <a:cubicBezTo>
                    <a:pt x="11" y="20"/>
                    <a:pt x="14" y="18"/>
                    <a:pt x="12" y="18"/>
                  </a:cubicBezTo>
                  <a:cubicBezTo>
                    <a:pt x="10" y="19"/>
                    <a:pt x="3" y="19"/>
                    <a:pt x="2" y="19"/>
                  </a:cubicBezTo>
                  <a:cubicBezTo>
                    <a:pt x="1" y="18"/>
                    <a:pt x="2" y="17"/>
                    <a:pt x="4" y="17"/>
                  </a:cubicBezTo>
                  <a:cubicBezTo>
                    <a:pt x="6" y="17"/>
                    <a:pt x="15" y="16"/>
                    <a:pt x="14" y="16"/>
                  </a:cubicBezTo>
                  <a:cubicBezTo>
                    <a:pt x="12" y="16"/>
                    <a:pt x="4" y="16"/>
                    <a:pt x="5" y="14"/>
                  </a:cubicBezTo>
                  <a:cubicBezTo>
                    <a:pt x="6" y="13"/>
                    <a:pt x="7" y="12"/>
                    <a:pt x="9" y="12"/>
                  </a:cubicBezTo>
                  <a:cubicBezTo>
                    <a:pt x="10" y="12"/>
                    <a:pt x="16" y="12"/>
                    <a:pt x="14" y="12"/>
                  </a:cubicBezTo>
                  <a:cubicBezTo>
                    <a:pt x="12" y="11"/>
                    <a:pt x="8" y="10"/>
                    <a:pt x="10" y="9"/>
                  </a:cubicBezTo>
                  <a:cubicBezTo>
                    <a:pt x="12" y="8"/>
                    <a:pt x="16" y="7"/>
                    <a:pt x="17" y="8"/>
                  </a:cubicBezTo>
                  <a:cubicBezTo>
                    <a:pt x="18" y="9"/>
                    <a:pt x="17" y="12"/>
                    <a:pt x="19" y="12"/>
                  </a:cubicBezTo>
                  <a:cubicBezTo>
                    <a:pt x="21" y="12"/>
                    <a:pt x="22" y="11"/>
                    <a:pt x="24" y="12"/>
                  </a:cubicBezTo>
                  <a:cubicBezTo>
                    <a:pt x="26" y="13"/>
                    <a:pt x="30" y="15"/>
                    <a:pt x="31" y="16"/>
                  </a:cubicBezTo>
                  <a:cubicBezTo>
                    <a:pt x="31" y="17"/>
                    <a:pt x="32" y="16"/>
                    <a:pt x="33" y="17"/>
                  </a:cubicBezTo>
                  <a:cubicBezTo>
                    <a:pt x="33" y="18"/>
                    <a:pt x="33" y="20"/>
                    <a:pt x="35" y="20"/>
                  </a:cubicBezTo>
                  <a:cubicBezTo>
                    <a:pt x="36" y="20"/>
                    <a:pt x="35" y="20"/>
                    <a:pt x="39" y="20"/>
                  </a:cubicBezTo>
                  <a:cubicBezTo>
                    <a:pt x="42" y="20"/>
                    <a:pt x="47" y="18"/>
                    <a:pt x="45" y="17"/>
                  </a:cubicBezTo>
                  <a:cubicBezTo>
                    <a:pt x="42" y="15"/>
                    <a:pt x="39" y="15"/>
                    <a:pt x="42" y="15"/>
                  </a:cubicBezTo>
                  <a:cubicBezTo>
                    <a:pt x="45" y="14"/>
                    <a:pt x="47" y="14"/>
                    <a:pt x="45" y="13"/>
                  </a:cubicBezTo>
                  <a:cubicBezTo>
                    <a:pt x="43" y="11"/>
                    <a:pt x="39" y="11"/>
                    <a:pt x="40" y="10"/>
                  </a:cubicBezTo>
                  <a:cubicBezTo>
                    <a:pt x="42" y="8"/>
                    <a:pt x="42" y="8"/>
                    <a:pt x="42" y="7"/>
                  </a:cubicBezTo>
                  <a:cubicBezTo>
                    <a:pt x="43" y="6"/>
                    <a:pt x="47" y="0"/>
                    <a:pt x="48" y="4"/>
                  </a:cubicBezTo>
                  <a:cubicBezTo>
                    <a:pt x="49" y="8"/>
                    <a:pt x="49" y="8"/>
                    <a:pt x="50" y="9"/>
                  </a:cubicBezTo>
                  <a:cubicBezTo>
                    <a:pt x="50" y="11"/>
                    <a:pt x="51" y="11"/>
                    <a:pt x="50" y="12"/>
                  </a:cubicBezTo>
                  <a:cubicBezTo>
                    <a:pt x="49" y="12"/>
                    <a:pt x="50" y="13"/>
                    <a:pt x="50" y="13"/>
                  </a:cubicBezTo>
                  <a:cubicBezTo>
                    <a:pt x="51" y="13"/>
                    <a:pt x="52" y="12"/>
                    <a:pt x="52" y="14"/>
                  </a:cubicBezTo>
                  <a:cubicBezTo>
                    <a:pt x="53" y="15"/>
                    <a:pt x="56" y="16"/>
                    <a:pt x="57" y="16"/>
                  </a:cubicBezTo>
                  <a:cubicBezTo>
                    <a:pt x="58" y="17"/>
                    <a:pt x="58" y="17"/>
                    <a:pt x="59" y="17"/>
                  </a:cubicBezTo>
                  <a:cubicBezTo>
                    <a:pt x="59" y="16"/>
                    <a:pt x="58" y="14"/>
                    <a:pt x="60" y="14"/>
                  </a:cubicBezTo>
                  <a:cubicBezTo>
                    <a:pt x="62" y="14"/>
                    <a:pt x="62" y="14"/>
                    <a:pt x="64" y="14"/>
                  </a:cubicBezTo>
                  <a:cubicBezTo>
                    <a:pt x="66" y="15"/>
                    <a:pt x="66" y="18"/>
                    <a:pt x="65" y="19"/>
                  </a:cubicBezTo>
                  <a:cubicBezTo>
                    <a:pt x="64" y="20"/>
                    <a:pt x="65" y="22"/>
                    <a:pt x="64" y="23"/>
                  </a:cubicBezTo>
                  <a:cubicBezTo>
                    <a:pt x="62" y="24"/>
                    <a:pt x="56" y="26"/>
                    <a:pt x="55" y="25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45" name="Freeform 560">
              <a:extLst>
                <a:ext uri="{FF2B5EF4-FFF2-40B4-BE49-F238E27FC236}">
                  <a16:creationId xmlns:a16="http://schemas.microsoft.com/office/drawing/2014/main" id="{29F6FFE6-0F65-8B91-091E-22A7475E1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115" y="2246528"/>
              <a:ext cx="38747" cy="25428"/>
            </a:xfrm>
            <a:custGeom>
              <a:avLst/>
              <a:gdLst>
                <a:gd name="T0" fmla="*/ 11 w 12"/>
                <a:gd name="T1" fmla="*/ 1 h 8"/>
                <a:gd name="T2" fmla="*/ 1 w 12"/>
                <a:gd name="T3" fmla="*/ 6 h 8"/>
                <a:gd name="T4" fmla="*/ 7 w 12"/>
                <a:gd name="T5" fmla="*/ 7 h 8"/>
                <a:gd name="T6" fmla="*/ 11 w 12"/>
                <a:gd name="T7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8">
                  <a:moveTo>
                    <a:pt x="11" y="1"/>
                  </a:moveTo>
                  <a:cubicBezTo>
                    <a:pt x="9" y="1"/>
                    <a:pt x="0" y="5"/>
                    <a:pt x="1" y="6"/>
                  </a:cubicBezTo>
                  <a:cubicBezTo>
                    <a:pt x="3" y="7"/>
                    <a:pt x="6" y="8"/>
                    <a:pt x="7" y="7"/>
                  </a:cubicBezTo>
                  <a:cubicBezTo>
                    <a:pt x="8" y="5"/>
                    <a:pt x="12" y="0"/>
                    <a:pt x="11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46" name="Freeform 561">
              <a:extLst>
                <a:ext uri="{FF2B5EF4-FFF2-40B4-BE49-F238E27FC236}">
                  <a16:creationId xmlns:a16="http://schemas.microsoft.com/office/drawing/2014/main" id="{11046FEA-FA34-134D-A332-7431FF620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361" y="2190829"/>
              <a:ext cx="133194" cy="67807"/>
            </a:xfrm>
            <a:custGeom>
              <a:avLst/>
              <a:gdLst>
                <a:gd name="T0" fmla="*/ 33 w 41"/>
                <a:gd name="T1" fmla="*/ 14 h 21"/>
                <a:gd name="T2" fmla="*/ 28 w 41"/>
                <a:gd name="T3" fmla="*/ 14 h 21"/>
                <a:gd name="T4" fmla="*/ 28 w 41"/>
                <a:gd name="T5" fmla="*/ 9 h 21"/>
                <a:gd name="T6" fmla="*/ 25 w 41"/>
                <a:gd name="T7" fmla="*/ 11 h 21"/>
                <a:gd name="T8" fmla="*/ 23 w 41"/>
                <a:gd name="T9" fmla="*/ 11 h 21"/>
                <a:gd name="T10" fmla="*/ 23 w 41"/>
                <a:gd name="T11" fmla="*/ 12 h 21"/>
                <a:gd name="T12" fmla="*/ 22 w 41"/>
                <a:gd name="T13" fmla="*/ 16 h 21"/>
                <a:gd name="T14" fmla="*/ 20 w 41"/>
                <a:gd name="T15" fmla="*/ 16 h 21"/>
                <a:gd name="T16" fmla="*/ 18 w 41"/>
                <a:gd name="T17" fmla="*/ 17 h 21"/>
                <a:gd name="T18" fmla="*/ 16 w 41"/>
                <a:gd name="T19" fmla="*/ 19 h 21"/>
                <a:gd name="T20" fmla="*/ 13 w 41"/>
                <a:gd name="T21" fmla="*/ 18 h 21"/>
                <a:gd name="T22" fmla="*/ 11 w 41"/>
                <a:gd name="T23" fmla="*/ 17 h 21"/>
                <a:gd name="T24" fmla="*/ 7 w 41"/>
                <a:gd name="T25" fmla="*/ 18 h 21"/>
                <a:gd name="T26" fmla="*/ 3 w 41"/>
                <a:gd name="T27" fmla="*/ 19 h 21"/>
                <a:gd name="T28" fmla="*/ 1 w 41"/>
                <a:gd name="T29" fmla="*/ 18 h 21"/>
                <a:gd name="T30" fmla="*/ 2 w 41"/>
                <a:gd name="T31" fmla="*/ 15 h 21"/>
                <a:gd name="T32" fmla="*/ 2 w 41"/>
                <a:gd name="T33" fmla="*/ 14 h 21"/>
                <a:gd name="T34" fmla="*/ 9 w 41"/>
                <a:gd name="T35" fmla="*/ 13 h 21"/>
                <a:gd name="T36" fmla="*/ 12 w 41"/>
                <a:gd name="T37" fmla="*/ 10 h 21"/>
                <a:gd name="T38" fmla="*/ 23 w 41"/>
                <a:gd name="T39" fmla="*/ 3 h 21"/>
                <a:gd name="T40" fmla="*/ 34 w 41"/>
                <a:gd name="T41" fmla="*/ 3 h 21"/>
                <a:gd name="T42" fmla="*/ 35 w 41"/>
                <a:gd name="T43" fmla="*/ 1 h 21"/>
                <a:gd name="T44" fmla="*/ 40 w 41"/>
                <a:gd name="T45" fmla="*/ 3 h 21"/>
                <a:gd name="T46" fmla="*/ 38 w 41"/>
                <a:gd name="T47" fmla="*/ 5 h 21"/>
                <a:gd name="T48" fmla="*/ 39 w 41"/>
                <a:gd name="T49" fmla="*/ 8 h 21"/>
                <a:gd name="T50" fmla="*/ 38 w 41"/>
                <a:gd name="T51" fmla="*/ 9 h 21"/>
                <a:gd name="T52" fmla="*/ 38 w 41"/>
                <a:gd name="T53" fmla="*/ 11 h 21"/>
                <a:gd name="T54" fmla="*/ 34 w 41"/>
                <a:gd name="T55" fmla="*/ 11 h 21"/>
                <a:gd name="T56" fmla="*/ 33 w 41"/>
                <a:gd name="T5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" h="21">
                  <a:moveTo>
                    <a:pt x="33" y="14"/>
                  </a:moveTo>
                  <a:cubicBezTo>
                    <a:pt x="32" y="15"/>
                    <a:pt x="28" y="16"/>
                    <a:pt x="28" y="14"/>
                  </a:cubicBezTo>
                  <a:cubicBezTo>
                    <a:pt x="28" y="11"/>
                    <a:pt x="30" y="10"/>
                    <a:pt x="28" y="9"/>
                  </a:cubicBezTo>
                  <a:cubicBezTo>
                    <a:pt x="27" y="9"/>
                    <a:pt x="25" y="9"/>
                    <a:pt x="25" y="11"/>
                  </a:cubicBezTo>
                  <a:cubicBezTo>
                    <a:pt x="25" y="12"/>
                    <a:pt x="24" y="12"/>
                    <a:pt x="23" y="11"/>
                  </a:cubicBezTo>
                  <a:cubicBezTo>
                    <a:pt x="23" y="11"/>
                    <a:pt x="23" y="10"/>
                    <a:pt x="23" y="12"/>
                  </a:cubicBezTo>
                  <a:cubicBezTo>
                    <a:pt x="23" y="14"/>
                    <a:pt x="23" y="15"/>
                    <a:pt x="22" y="16"/>
                  </a:cubicBezTo>
                  <a:cubicBezTo>
                    <a:pt x="21" y="17"/>
                    <a:pt x="20" y="16"/>
                    <a:pt x="20" y="16"/>
                  </a:cubicBezTo>
                  <a:cubicBezTo>
                    <a:pt x="19" y="15"/>
                    <a:pt x="19" y="16"/>
                    <a:pt x="18" y="17"/>
                  </a:cubicBezTo>
                  <a:cubicBezTo>
                    <a:pt x="18" y="18"/>
                    <a:pt x="19" y="19"/>
                    <a:pt x="16" y="19"/>
                  </a:cubicBezTo>
                  <a:cubicBezTo>
                    <a:pt x="14" y="19"/>
                    <a:pt x="14" y="20"/>
                    <a:pt x="13" y="18"/>
                  </a:cubicBezTo>
                  <a:cubicBezTo>
                    <a:pt x="12" y="17"/>
                    <a:pt x="12" y="16"/>
                    <a:pt x="11" y="17"/>
                  </a:cubicBezTo>
                  <a:cubicBezTo>
                    <a:pt x="9" y="18"/>
                    <a:pt x="9" y="19"/>
                    <a:pt x="7" y="18"/>
                  </a:cubicBezTo>
                  <a:cubicBezTo>
                    <a:pt x="5" y="18"/>
                    <a:pt x="5" y="18"/>
                    <a:pt x="3" y="19"/>
                  </a:cubicBezTo>
                  <a:cubicBezTo>
                    <a:pt x="2" y="19"/>
                    <a:pt x="0" y="21"/>
                    <a:pt x="1" y="18"/>
                  </a:cubicBezTo>
                  <a:cubicBezTo>
                    <a:pt x="2" y="16"/>
                    <a:pt x="4" y="15"/>
                    <a:pt x="2" y="15"/>
                  </a:cubicBezTo>
                  <a:cubicBezTo>
                    <a:pt x="0" y="16"/>
                    <a:pt x="0" y="15"/>
                    <a:pt x="2" y="14"/>
                  </a:cubicBezTo>
                  <a:cubicBezTo>
                    <a:pt x="5" y="13"/>
                    <a:pt x="7" y="14"/>
                    <a:pt x="9" y="13"/>
                  </a:cubicBezTo>
                  <a:cubicBezTo>
                    <a:pt x="10" y="12"/>
                    <a:pt x="9" y="11"/>
                    <a:pt x="12" y="10"/>
                  </a:cubicBezTo>
                  <a:cubicBezTo>
                    <a:pt x="15" y="9"/>
                    <a:pt x="17" y="2"/>
                    <a:pt x="23" y="3"/>
                  </a:cubicBezTo>
                  <a:cubicBezTo>
                    <a:pt x="28" y="3"/>
                    <a:pt x="34" y="5"/>
                    <a:pt x="34" y="3"/>
                  </a:cubicBezTo>
                  <a:cubicBezTo>
                    <a:pt x="34" y="1"/>
                    <a:pt x="33" y="0"/>
                    <a:pt x="35" y="1"/>
                  </a:cubicBezTo>
                  <a:cubicBezTo>
                    <a:pt x="37" y="1"/>
                    <a:pt x="41" y="2"/>
                    <a:pt x="40" y="3"/>
                  </a:cubicBezTo>
                  <a:cubicBezTo>
                    <a:pt x="39" y="3"/>
                    <a:pt x="37" y="5"/>
                    <a:pt x="38" y="5"/>
                  </a:cubicBezTo>
                  <a:cubicBezTo>
                    <a:pt x="39" y="6"/>
                    <a:pt x="40" y="8"/>
                    <a:pt x="39" y="8"/>
                  </a:cubicBezTo>
                  <a:cubicBezTo>
                    <a:pt x="38" y="8"/>
                    <a:pt x="37" y="8"/>
                    <a:pt x="38" y="9"/>
                  </a:cubicBezTo>
                  <a:cubicBezTo>
                    <a:pt x="38" y="9"/>
                    <a:pt x="40" y="11"/>
                    <a:pt x="38" y="11"/>
                  </a:cubicBezTo>
                  <a:cubicBezTo>
                    <a:pt x="37" y="11"/>
                    <a:pt x="34" y="11"/>
                    <a:pt x="34" y="11"/>
                  </a:cubicBezTo>
                  <a:cubicBezTo>
                    <a:pt x="34" y="11"/>
                    <a:pt x="34" y="13"/>
                    <a:pt x="33" y="1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47" name="Freeform 562">
              <a:extLst>
                <a:ext uri="{FF2B5EF4-FFF2-40B4-BE49-F238E27FC236}">
                  <a16:creationId xmlns:a16="http://schemas.microsoft.com/office/drawing/2014/main" id="{43BB4549-CF74-F5DA-DFC9-8B213BF04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0242" y="2216257"/>
              <a:ext cx="29061" cy="7265"/>
            </a:xfrm>
            <a:custGeom>
              <a:avLst/>
              <a:gdLst>
                <a:gd name="T0" fmla="*/ 7 w 9"/>
                <a:gd name="T1" fmla="*/ 2 h 2"/>
                <a:gd name="T2" fmla="*/ 3 w 9"/>
                <a:gd name="T3" fmla="*/ 1 h 2"/>
                <a:gd name="T4" fmla="*/ 7 w 9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2">
                  <a:moveTo>
                    <a:pt x="7" y="2"/>
                  </a:moveTo>
                  <a:cubicBezTo>
                    <a:pt x="4" y="2"/>
                    <a:pt x="0" y="1"/>
                    <a:pt x="3" y="1"/>
                  </a:cubicBezTo>
                  <a:cubicBezTo>
                    <a:pt x="6" y="0"/>
                    <a:pt x="9" y="2"/>
                    <a:pt x="7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48" name="Freeform 563">
              <a:extLst>
                <a:ext uri="{FF2B5EF4-FFF2-40B4-BE49-F238E27FC236}">
                  <a16:creationId xmlns:a16="http://schemas.microsoft.com/office/drawing/2014/main" id="{53554577-34D1-52EE-9C85-79601168F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724" y="2167823"/>
              <a:ext cx="67808" cy="32693"/>
            </a:xfrm>
            <a:custGeom>
              <a:avLst/>
              <a:gdLst>
                <a:gd name="T0" fmla="*/ 6 w 21"/>
                <a:gd name="T1" fmla="*/ 10 h 10"/>
                <a:gd name="T2" fmla="*/ 0 w 21"/>
                <a:gd name="T3" fmla="*/ 5 h 10"/>
                <a:gd name="T4" fmla="*/ 3 w 21"/>
                <a:gd name="T5" fmla="*/ 3 h 10"/>
                <a:gd name="T6" fmla="*/ 18 w 21"/>
                <a:gd name="T7" fmla="*/ 0 h 10"/>
                <a:gd name="T8" fmla="*/ 18 w 21"/>
                <a:gd name="T9" fmla="*/ 3 h 10"/>
                <a:gd name="T10" fmla="*/ 15 w 21"/>
                <a:gd name="T11" fmla="*/ 4 h 10"/>
                <a:gd name="T12" fmla="*/ 16 w 21"/>
                <a:gd name="T13" fmla="*/ 7 h 10"/>
                <a:gd name="T14" fmla="*/ 6 w 21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0">
                  <a:moveTo>
                    <a:pt x="6" y="10"/>
                  </a:moveTo>
                  <a:cubicBezTo>
                    <a:pt x="4" y="10"/>
                    <a:pt x="0" y="6"/>
                    <a:pt x="0" y="5"/>
                  </a:cubicBezTo>
                  <a:cubicBezTo>
                    <a:pt x="0" y="4"/>
                    <a:pt x="2" y="3"/>
                    <a:pt x="3" y="3"/>
                  </a:cubicBezTo>
                  <a:cubicBezTo>
                    <a:pt x="4" y="2"/>
                    <a:pt x="15" y="0"/>
                    <a:pt x="18" y="0"/>
                  </a:cubicBezTo>
                  <a:cubicBezTo>
                    <a:pt x="20" y="0"/>
                    <a:pt x="21" y="2"/>
                    <a:pt x="18" y="3"/>
                  </a:cubicBezTo>
                  <a:cubicBezTo>
                    <a:pt x="15" y="3"/>
                    <a:pt x="13" y="4"/>
                    <a:pt x="15" y="4"/>
                  </a:cubicBezTo>
                  <a:cubicBezTo>
                    <a:pt x="16" y="4"/>
                    <a:pt x="18" y="6"/>
                    <a:pt x="16" y="7"/>
                  </a:cubicBezTo>
                  <a:cubicBezTo>
                    <a:pt x="14" y="8"/>
                    <a:pt x="9" y="10"/>
                    <a:pt x="6" y="1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49" name="Freeform 564">
              <a:extLst>
                <a:ext uri="{FF2B5EF4-FFF2-40B4-BE49-F238E27FC236}">
                  <a16:creationId xmlns:a16="http://schemas.microsoft.com/office/drawing/2014/main" id="{1F2B20F4-838D-2499-9BA9-713B1BC24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977" y="2175088"/>
              <a:ext cx="29061" cy="12108"/>
            </a:xfrm>
            <a:custGeom>
              <a:avLst/>
              <a:gdLst>
                <a:gd name="T0" fmla="*/ 7 w 9"/>
                <a:gd name="T1" fmla="*/ 4 h 4"/>
                <a:gd name="T2" fmla="*/ 3 w 9"/>
                <a:gd name="T3" fmla="*/ 0 h 4"/>
                <a:gd name="T4" fmla="*/ 7 w 9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4">
                  <a:moveTo>
                    <a:pt x="7" y="4"/>
                  </a:moveTo>
                  <a:cubicBezTo>
                    <a:pt x="4" y="4"/>
                    <a:pt x="0" y="0"/>
                    <a:pt x="3" y="0"/>
                  </a:cubicBezTo>
                  <a:cubicBezTo>
                    <a:pt x="7" y="0"/>
                    <a:pt x="9" y="3"/>
                    <a:pt x="7" y="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50" name="Freeform 565">
              <a:extLst>
                <a:ext uri="{FF2B5EF4-FFF2-40B4-BE49-F238E27FC236}">
                  <a16:creationId xmlns:a16="http://schemas.microsoft.com/office/drawing/2014/main" id="{4DF460D9-4070-8D42-98D0-5C8C73C6D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724" y="2142395"/>
              <a:ext cx="75073" cy="23006"/>
            </a:xfrm>
            <a:custGeom>
              <a:avLst/>
              <a:gdLst>
                <a:gd name="T0" fmla="*/ 1 w 23"/>
                <a:gd name="T1" fmla="*/ 6 h 7"/>
                <a:gd name="T2" fmla="*/ 6 w 23"/>
                <a:gd name="T3" fmla="*/ 4 h 7"/>
                <a:gd name="T4" fmla="*/ 14 w 23"/>
                <a:gd name="T5" fmla="*/ 0 h 7"/>
                <a:gd name="T6" fmla="*/ 21 w 23"/>
                <a:gd name="T7" fmla="*/ 5 h 7"/>
                <a:gd name="T8" fmla="*/ 14 w 23"/>
                <a:gd name="T9" fmla="*/ 6 h 7"/>
                <a:gd name="T10" fmla="*/ 10 w 23"/>
                <a:gd name="T11" fmla="*/ 7 h 7"/>
                <a:gd name="T12" fmla="*/ 5 w 23"/>
                <a:gd name="T13" fmla="*/ 6 h 7"/>
                <a:gd name="T14" fmla="*/ 1 w 23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7">
                  <a:moveTo>
                    <a:pt x="1" y="6"/>
                  </a:moveTo>
                  <a:cubicBezTo>
                    <a:pt x="0" y="5"/>
                    <a:pt x="4" y="4"/>
                    <a:pt x="6" y="4"/>
                  </a:cubicBezTo>
                  <a:cubicBezTo>
                    <a:pt x="9" y="3"/>
                    <a:pt x="12" y="0"/>
                    <a:pt x="14" y="0"/>
                  </a:cubicBezTo>
                  <a:cubicBezTo>
                    <a:pt x="16" y="1"/>
                    <a:pt x="23" y="4"/>
                    <a:pt x="21" y="5"/>
                  </a:cubicBezTo>
                  <a:cubicBezTo>
                    <a:pt x="19" y="6"/>
                    <a:pt x="16" y="6"/>
                    <a:pt x="14" y="6"/>
                  </a:cubicBezTo>
                  <a:cubicBezTo>
                    <a:pt x="12" y="6"/>
                    <a:pt x="13" y="6"/>
                    <a:pt x="10" y="7"/>
                  </a:cubicBezTo>
                  <a:cubicBezTo>
                    <a:pt x="7" y="7"/>
                    <a:pt x="7" y="5"/>
                    <a:pt x="5" y="6"/>
                  </a:cubicBezTo>
                  <a:cubicBezTo>
                    <a:pt x="3" y="6"/>
                    <a:pt x="2" y="7"/>
                    <a:pt x="1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72" name="Freeform 587">
              <a:extLst>
                <a:ext uri="{FF2B5EF4-FFF2-40B4-BE49-F238E27FC236}">
                  <a16:creationId xmlns:a16="http://schemas.microsoft.com/office/drawing/2014/main" id="{B818E2D2-3443-654E-7482-3BE9B09ED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33" y="2744186"/>
              <a:ext cx="15741" cy="13319"/>
            </a:xfrm>
            <a:custGeom>
              <a:avLst/>
              <a:gdLst>
                <a:gd name="T0" fmla="*/ 5 w 5"/>
                <a:gd name="T1" fmla="*/ 0 h 4"/>
                <a:gd name="T2" fmla="*/ 1 w 5"/>
                <a:gd name="T3" fmla="*/ 4 h 4"/>
                <a:gd name="T4" fmla="*/ 5 w 5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cubicBezTo>
                    <a:pt x="4" y="0"/>
                    <a:pt x="0" y="3"/>
                    <a:pt x="1" y="4"/>
                  </a:cubicBezTo>
                  <a:cubicBezTo>
                    <a:pt x="1" y="4"/>
                    <a:pt x="5" y="1"/>
                    <a:pt x="5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73" name="Freeform 588">
              <a:extLst>
                <a:ext uri="{FF2B5EF4-FFF2-40B4-BE49-F238E27FC236}">
                  <a16:creationId xmlns:a16="http://schemas.microsoft.com/office/drawing/2014/main" id="{130CA5E9-BE73-6014-FF54-2A5E85738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140" y="2738132"/>
              <a:ext cx="6054" cy="6054"/>
            </a:xfrm>
            <a:custGeom>
              <a:avLst/>
              <a:gdLst>
                <a:gd name="T0" fmla="*/ 0 w 2"/>
                <a:gd name="T1" fmla="*/ 1 h 2"/>
                <a:gd name="T2" fmla="*/ 2 w 2"/>
                <a:gd name="T3" fmla="*/ 1 h 2"/>
                <a:gd name="T4" fmla="*/ 0 w 2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1"/>
                    <a:pt x="2" y="2"/>
                    <a:pt x="2" y="1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74" name="Freeform 589">
              <a:extLst>
                <a:ext uri="{FF2B5EF4-FFF2-40B4-BE49-F238E27FC236}">
                  <a16:creationId xmlns:a16="http://schemas.microsoft.com/office/drawing/2014/main" id="{22250EB8-184A-8220-AFC2-23FCB329E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094" y="2744186"/>
              <a:ext cx="19374" cy="19374"/>
            </a:xfrm>
            <a:custGeom>
              <a:avLst/>
              <a:gdLst>
                <a:gd name="T0" fmla="*/ 5 w 6"/>
                <a:gd name="T1" fmla="*/ 2 h 6"/>
                <a:gd name="T2" fmla="*/ 3 w 6"/>
                <a:gd name="T3" fmla="*/ 0 h 6"/>
                <a:gd name="T4" fmla="*/ 0 w 6"/>
                <a:gd name="T5" fmla="*/ 2 h 6"/>
                <a:gd name="T6" fmla="*/ 5 w 6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5" y="2"/>
                  </a:moveTo>
                  <a:cubicBezTo>
                    <a:pt x="6" y="1"/>
                    <a:pt x="4" y="0"/>
                    <a:pt x="3" y="0"/>
                  </a:cubicBezTo>
                  <a:cubicBezTo>
                    <a:pt x="2" y="0"/>
                    <a:pt x="0" y="1"/>
                    <a:pt x="0" y="2"/>
                  </a:cubicBezTo>
                  <a:cubicBezTo>
                    <a:pt x="1" y="2"/>
                    <a:pt x="2" y="6"/>
                    <a:pt x="5" y="2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681" name="Freeform 596">
              <a:extLst>
                <a:ext uri="{FF2B5EF4-FFF2-40B4-BE49-F238E27FC236}">
                  <a16:creationId xmlns:a16="http://schemas.microsoft.com/office/drawing/2014/main" id="{629A55D4-E5DD-905B-2766-E9FE84461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133" y="3094121"/>
              <a:ext cx="26639" cy="13319"/>
            </a:xfrm>
            <a:custGeom>
              <a:avLst/>
              <a:gdLst>
                <a:gd name="T0" fmla="*/ 8 w 8"/>
                <a:gd name="T1" fmla="*/ 1 h 4"/>
                <a:gd name="T2" fmla="*/ 1 w 8"/>
                <a:gd name="T3" fmla="*/ 0 h 4"/>
                <a:gd name="T4" fmla="*/ 8 w 8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8" y="1"/>
                  </a:moveTo>
                  <a:cubicBezTo>
                    <a:pt x="8" y="0"/>
                    <a:pt x="0" y="0"/>
                    <a:pt x="1" y="0"/>
                  </a:cubicBezTo>
                  <a:cubicBezTo>
                    <a:pt x="2" y="1"/>
                    <a:pt x="7" y="4"/>
                    <a:pt x="8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00" name="Freeform 615">
              <a:extLst>
                <a:ext uri="{FF2B5EF4-FFF2-40B4-BE49-F238E27FC236}">
                  <a16:creationId xmlns:a16="http://schemas.microsoft.com/office/drawing/2014/main" id="{097354E1-F258-8DA3-A5EB-7A6DCAEE2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7089" y="3660796"/>
              <a:ext cx="67808" cy="75072"/>
            </a:xfrm>
            <a:custGeom>
              <a:avLst/>
              <a:gdLst>
                <a:gd name="T0" fmla="*/ 17 w 21"/>
                <a:gd name="T1" fmla="*/ 16 h 23"/>
                <a:gd name="T2" fmla="*/ 21 w 21"/>
                <a:gd name="T3" fmla="*/ 12 h 23"/>
                <a:gd name="T4" fmla="*/ 21 w 21"/>
                <a:gd name="T5" fmla="*/ 12 h 23"/>
                <a:gd name="T6" fmla="*/ 20 w 21"/>
                <a:gd name="T7" fmla="*/ 12 h 23"/>
                <a:gd name="T8" fmla="*/ 18 w 21"/>
                <a:gd name="T9" fmla="*/ 11 h 23"/>
                <a:gd name="T10" fmla="*/ 17 w 21"/>
                <a:gd name="T11" fmla="*/ 11 h 23"/>
                <a:gd name="T12" fmla="*/ 17 w 21"/>
                <a:gd name="T13" fmla="*/ 0 h 23"/>
                <a:gd name="T14" fmla="*/ 7 w 21"/>
                <a:gd name="T15" fmla="*/ 0 h 23"/>
                <a:gd name="T16" fmla="*/ 5 w 21"/>
                <a:gd name="T17" fmla="*/ 3 h 23"/>
                <a:gd name="T18" fmla="*/ 10 w 21"/>
                <a:gd name="T19" fmla="*/ 9 h 23"/>
                <a:gd name="T20" fmla="*/ 3 w 21"/>
                <a:gd name="T21" fmla="*/ 10 h 23"/>
                <a:gd name="T22" fmla="*/ 0 w 21"/>
                <a:gd name="T23" fmla="*/ 18 h 23"/>
                <a:gd name="T24" fmla="*/ 1 w 21"/>
                <a:gd name="T25" fmla="*/ 19 h 23"/>
                <a:gd name="T26" fmla="*/ 5 w 21"/>
                <a:gd name="T27" fmla="*/ 22 h 23"/>
                <a:gd name="T28" fmla="*/ 12 w 21"/>
                <a:gd name="T29" fmla="*/ 23 h 23"/>
                <a:gd name="T30" fmla="*/ 12 w 21"/>
                <a:gd name="T31" fmla="*/ 23 h 23"/>
                <a:gd name="T32" fmla="*/ 17 w 21"/>
                <a:gd name="T33" fmla="*/ 19 h 23"/>
                <a:gd name="T34" fmla="*/ 17 w 21"/>
                <a:gd name="T35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23">
                  <a:moveTo>
                    <a:pt x="17" y="16"/>
                  </a:moveTo>
                  <a:cubicBezTo>
                    <a:pt x="17" y="16"/>
                    <a:pt x="19" y="13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0" y="12"/>
                    <a:pt x="20" y="12"/>
                  </a:cubicBezTo>
                  <a:cubicBezTo>
                    <a:pt x="19" y="12"/>
                    <a:pt x="19" y="11"/>
                    <a:pt x="18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3"/>
                    <a:pt x="5" y="3"/>
                  </a:cubicBezTo>
                  <a:cubicBezTo>
                    <a:pt x="5" y="4"/>
                    <a:pt x="9" y="7"/>
                    <a:pt x="10" y="9"/>
                  </a:cubicBezTo>
                  <a:cubicBezTo>
                    <a:pt x="11" y="11"/>
                    <a:pt x="4" y="10"/>
                    <a:pt x="3" y="10"/>
                  </a:cubicBezTo>
                  <a:cubicBezTo>
                    <a:pt x="2" y="10"/>
                    <a:pt x="1" y="15"/>
                    <a:pt x="0" y="18"/>
                  </a:cubicBezTo>
                  <a:cubicBezTo>
                    <a:pt x="0" y="18"/>
                    <a:pt x="1" y="19"/>
                    <a:pt x="1" y="19"/>
                  </a:cubicBezTo>
                  <a:cubicBezTo>
                    <a:pt x="3" y="20"/>
                    <a:pt x="4" y="22"/>
                    <a:pt x="5" y="22"/>
                  </a:cubicBezTo>
                  <a:cubicBezTo>
                    <a:pt x="7" y="22"/>
                    <a:pt x="10" y="22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6" y="18"/>
                    <a:pt x="17" y="17"/>
                    <a:pt x="17" y="1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01" name="Freeform 616">
              <a:extLst>
                <a:ext uri="{FF2B5EF4-FFF2-40B4-BE49-F238E27FC236}">
                  <a16:creationId xmlns:a16="http://schemas.microsoft.com/office/drawing/2014/main" id="{91DA88CC-5324-65D1-D98E-F15F3BCEE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3916" y="3376248"/>
              <a:ext cx="540042" cy="343880"/>
            </a:xfrm>
            <a:custGeom>
              <a:avLst/>
              <a:gdLst>
                <a:gd name="T0" fmla="*/ 147 w 167"/>
                <a:gd name="T1" fmla="*/ 97 h 106"/>
                <a:gd name="T2" fmla="*/ 144 w 167"/>
                <a:gd name="T3" fmla="*/ 88 h 106"/>
                <a:gd name="T4" fmla="*/ 155 w 167"/>
                <a:gd name="T5" fmla="*/ 88 h 106"/>
                <a:gd name="T6" fmla="*/ 160 w 167"/>
                <a:gd name="T7" fmla="*/ 86 h 106"/>
                <a:gd name="T8" fmla="*/ 163 w 167"/>
                <a:gd name="T9" fmla="*/ 73 h 106"/>
                <a:gd name="T10" fmla="*/ 163 w 167"/>
                <a:gd name="T11" fmla="*/ 66 h 106"/>
                <a:gd name="T12" fmla="*/ 146 w 167"/>
                <a:gd name="T13" fmla="*/ 77 h 106"/>
                <a:gd name="T14" fmla="*/ 141 w 167"/>
                <a:gd name="T15" fmla="*/ 84 h 106"/>
                <a:gd name="T16" fmla="*/ 130 w 167"/>
                <a:gd name="T17" fmla="*/ 84 h 106"/>
                <a:gd name="T18" fmla="*/ 121 w 167"/>
                <a:gd name="T19" fmla="*/ 83 h 106"/>
                <a:gd name="T20" fmla="*/ 111 w 167"/>
                <a:gd name="T21" fmla="*/ 72 h 106"/>
                <a:gd name="T22" fmla="*/ 107 w 167"/>
                <a:gd name="T23" fmla="*/ 54 h 106"/>
                <a:gd name="T24" fmla="*/ 110 w 167"/>
                <a:gd name="T25" fmla="*/ 42 h 106"/>
                <a:gd name="T26" fmla="*/ 100 w 167"/>
                <a:gd name="T27" fmla="*/ 37 h 106"/>
                <a:gd name="T28" fmla="*/ 93 w 167"/>
                <a:gd name="T29" fmla="*/ 26 h 106"/>
                <a:gd name="T30" fmla="*/ 81 w 167"/>
                <a:gd name="T31" fmla="*/ 17 h 106"/>
                <a:gd name="T32" fmla="*/ 70 w 167"/>
                <a:gd name="T33" fmla="*/ 19 h 106"/>
                <a:gd name="T34" fmla="*/ 58 w 167"/>
                <a:gd name="T35" fmla="*/ 6 h 106"/>
                <a:gd name="T36" fmla="*/ 49 w 167"/>
                <a:gd name="T37" fmla="*/ 8 h 106"/>
                <a:gd name="T38" fmla="*/ 13 w 167"/>
                <a:gd name="T39" fmla="*/ 0 h 106"/>
                <a:gd name="T40" fmla="*/ 2 w 167"/>
                <a:gd name="T41" fmla="*/ 5 h 106"/>
                <a:gd name="T42" fmla="*/ 9 w 167"/>
                <a:gd name="T43" fmla="*/ 19 h 106"/>
                <a:gd name="T44" fmla="*/ 17 w 167"/>
                <a:gd name="T45" fmla="*/ 30 h 106"/>
                <a:gd name="T46" fmla="*/ 12 w 167"/>
                <a:gd name="T47" fmla="*/ 30 h 106"/>
                <a:gd name="T48" fmla="*/ 22 w 167"/>
                <a:gd name="T49" fmla="*/ 36 h 106"/>
                <a:gd name="T50" fmla="*/ 28 w 167"/>
                <a:gd name="T51" fmla="*/ 45 h 106"/>
                <a:gd name="T52" fmla="*/ 33 w 167"/>
                <a:gd name="T53" fmla="*/ 51 h 106"/>
                <a:gd name="T54" fmla="*/ 41 w 167"/>
                <a:gd name="T55" fmla="*/ 58 h 106"/>
                <a:gd name="T56" fmla="*/ 40 w 167"/>
                <a:gd name="T57" fmla="*/ 53 h 106"/>
                <a:gd name="T58" fmla="*/ 35 w 167"/>
                <a:gd name="T59" fmla="*/ 49 h 106"/>
                <a:gd name="T60" fmla="*/ 35 w 167"/>
                <a:gd name="T61" fmla="*/ 45 h 106"/>
                <a:gd name="T62" fmla="*/ 30 w 167"/>
                <a:gd name="T63" fmla="*/ 36 h 106"/>
                <a:gd name="T64" fmla="*/ 22 w 167"/>
                <a:gd name="T65" fmla="*/ 25 h 106"/>
                <a:gd name="T66" fmla="*/ 17 w 167"/>
                <a:gd name="T67" fmla="*/ 19 h 106"/>
                <a:gd name="T68" fmla="*/ 12 w 167"/>
                <a:gd name="T69" fmla="*/ 6 h 106"/>
                <a:gd name="T70" fmla="*/ 16 w 167"/>
                <a:gd name="T71" fmla="*/ 7 h 106"/>
                <a:gd name="T72" fmla="*/ 22 w 167"/>
                <a:gd name="T73" fmla="*/ 8 h 106"/>
                <a:gd name="T74" fmla="*/ 26 w 167"/>
                <a:gd name="T75" fmla="*/ 21 h 106"/>
                <a:gd name="T76" fmla="*/ 27 w 167"/>
                <a:gd name="T77" fmla="*/ 22 h 106"/>
                <a:gd name="T78" fmla="*/ 35 w 167"/>
                <a:gd name="T79" fmla="*/ 29 h 106"/>
                <a:gd name="T80" fmla="*/ 39 w 167"/>
                <a:gd name="T81" fmla="*/ 34 h 106"/>
                <a:gd name="T82" fmla="*/ 43 w 167"/>
                <a:gd name="T83" fmla="*/ 37 h 106"/>
                <a:gd name="T84" fmla="*/ 46 w 167"/>
                <a:gd name="T85" fmla="*/ 43 h 106"/>
                <a:gd name="T86" fmla="*/ 50 w 167"/>
                <a:gd name="T87" fmla="*/ 47 h 106"/>
                <a:gd name="T88" fmla="*/ 55 w 167"/>
                <a:gd name="T89" fmla="*/ 52 h 106"/>
                <a:gd name="T90" fmla="*/ 64 w 167"/>
                <a:gd name="T91" fmla="*/ 63 h 106"/>
                <a:gd name="T92" fmla="*/ 65 w 167"/>
                <a:gd name="T93" fmla="*/ 66 h 106"/>
                <a:gd name="T94" fmla="*/ 65 w 167"/>
                <a:gd name="T95" fmla="*/ 71 h 106"/>
                <a:gd name="T96" fmla="*/ 69 w 167"/>
                <a:gd name="T97" fmla="*/ 80 h 106"/>
                <a:gd name="T98" fmla="*/ 78 w 167"/>
                <a:gd name="T99" fmla="*/ 86 h 106"/>
                <a:gd name="T100" fmla="*/ 94 w 167"/>
                <a:gd name="T101" fmla="*/ 93 h 106"/>
                <a:gd name="T102" fmla="*/ 111 w 167"/>
                <a:gd name="T103" fmla="*/ 99 h 106"/>
                <a:gd name="T104" fmla="*/ 122 w 167"/>
                <a:gd name="T105" fmla="*/ 97 h 106"/>
                <a:gd name="T106" fmla="*/ 133 w 167"/>
                <a:gd name="T107" fmla="*/ 102 h 106"/>
                <a:gd name="T108" fmla="*/ 140 w 167"/>
                <a:gd name="T109" fmla="*/ 9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7" h="106">
                  <a:moveTo>
                    <a:pt x="140" y="98"/>
                  </a:moveTo>
                  <a:cubicBezTo>
                    <a:pt x="141" y="98"/>
                    <a:pt x="148" y="99"/>
                    <a:pt x="147" y="97"/>
                  </a:cubicBezTo>
                  <a:cubicBezTo>
                    <a:pt x="146" y="95"/>
                    <a:pt x="142" y="92"/>
                    <a:pt x="142" y="91"/>
                  </a:cubicBezTo>
                  <a:cubicBezTo>
                    <a:pt x="143" y="91"/>
                    <a:pt x="144" y="88"/>
                    <a:pt x="144" y="88"/>
                  </a:cubicBezTo>
                  <a:cubicBezTo>
                    <a:pt x="154" y="88"/>
                    <a:pt x="154" y="88"/>
                    <a:pt x="154" y="88"/>
                  </a:cubicBezTo>
                  <a:cubicBezTo>
                    <a:pt x="155" y="88"/>
                    <a:pt x="155" y="88"/>
                    <a:pt x="155" y="88"/>
                  </a:cubicBezTo>
                  <a:cubicBezTo>
                    <a:pt x="155" y="88"/>
                    <a:pt x="157" y="84"/>
                    <a:pt x="159" y="84"/>
                  </a:cubicBezTo>
                  <a:cubicBezTo>
                    <a:pt x="159" y="85"/>
                    <a:pt x="160" y="85"/>
                    <a:pt x="160" y="86"/>
                  </a:cubicBezTo>
                  <a:cubicBezTo>
                    <a:pt x="161" y="84"/>
                    <a:pt x="163" y="82"/>
                    <a:pt x="163" y="81"/>
                  </a:cubicBezTo>
                  <a:cubicBezTo>
                    <a:pt x="163" y="79"/>
                    <a:pt x="162" y="76"/>
                    <a:pt x="163" y="73"/>
                  </a:cubicBezTo>
                  <a:cubicBezTo>
                    <a:pt x="165" y="71"/>
                    <a:pt x="167" y="70"/>
                    <a:pt x="167" y="69"/>
                  </a:cubicBezTo>
                  <a:cubicBezTo>
                    <a:pt x="166" y="68"/>
                    <a:pt x="167" y="66"/>
                    <a:pt x="163" y="66"/>
                  </a:cubicBezTo>
                  <a:cubicBezTo>
                    <a:pt x="160" y="67"/>
                    <a:pt x="150" y="68"/>
                    <a:pt x="148" y="70"/>
                  </a:cubicBezTo>
                  <a:cubicBezTo>
                    <a:pt x="146" y="72"/>
                    <a:pt x="147" y="76"/>
                    <a:pt x="146" y="77"/>
                  </a:cubicBezTo>
                  <a:cubicBezTo>
                    <a:pt x="145" y="78"/>
                    <a:pt x="142" y="82"/>
                    <a:pt x="142" y="82"/>
                  </a:cubicBezTo>
                  <a:cubicBezTo>
                    <a:pt x="142" y="82"/>
                    <a:pt x="142" y="83"/>
                    <a:pt x="141" y="84"/>
                  </a:cubicBezTo>
                  <a:cubicBezTo>
                    <a:pt x="140" y="84"/>
                    <a:pt x="139" y="83"/>
                    <a:pt x="138" y="83"/>
                  </a:cubicBezTo>
                  <a:cubicBezTo>
                    <a:pt x="137" y="83"/>
                    <a:pt x="132" y="84"/>
                    <a:pt x="130" y="84"/>
                  </a:cubicBezTo>
                  <a:cubicBezTo>
                    <a:pt x="127" y="85"/>
                    <a:pt x="126" y="86"/>
                    <a:pt x="124" y="85"/>
                  </a:cubicBezTo>
                  <a:cubicBezTo>
                    <a:pt x="123" y="84"/>
                    <a:pt x="123" y="83"/>
                    <a:pt x="121" y="83"/>
                  </a:cubicBezTo>
                  <a:cubicBezTo>
                    <a:pt x="118" y="82"/>
                    <a:pt x="115" y="82"/>
                    <a:pt x="114" y="79"/>
                  </a:cubicBezTo>
                  <a:cubicBezTo>
                    <a:pt x="113" y="76"/>
                    <a:pt x="112" y="74"/>
                    <a:pt x="111" y="72"/>
                  </a:cubicBezTo>
                  <a:cubicBezTo>
                    <a:pt x="109" y="70"/>
                    <a:pt x="108" y="68"/>
                    <a:pt x="107" y="63"/>
                  </a:cubicBezTo>
                  <a:cubicBezTo>
                    <a:pt x="106" y="59"/>
                    <a:pt x="107" y="56"/>
                    <a:pt x="107" y="54"/>
                  </a:cubicBezTo>
                  <a:cubicBezTo>
                    <a:pt x="107" y="53"/>
                    <a:pt x="106" y="49"/>
                    <a:pt x="106" y="47"/>
                  </a:cubicBezTo>
                  <a:cubicBezTo>
                    <a:pt x="107" y="46"/>
                    <a:pt x="109" y="44"/>
                    <a:pt x="110" y="42"/>
                  </a:cubicBezTo>
                  <a:cubicBezTo>
                    <a:pt x="110" y="41"/>
                    <a:pt x="110" y="41"/>
                    <a:pt x="110" y="40"/>
                  </a:cubicBezTo>
                  <a:cubicBezTo>
                    <a:pt x="106" y="39"/>
                    <a:pt x="101" y="38"/>
                    <a:pt x="100" y="37"/>
                  </a:cubicBezTo>
                  <a:cubicBezTo>
                    <a:pt x="99" y="37"/>
                    <a:pt x="97" y="35"/>
                    <a:pt x="97" y="33"/>
                  </a:cubicBezTo>
                  <a:cubicBezTo>
                    <a:pt x="97" y="31"/>
                    <a:pt x="95" y="28"/>
                    <a:pt x="93" y="26"/>
                  </a:cubicBezTo>
                  <a:cubicBezTo>
                    <a:pt x="90" y="25"/>
                    <a:pt x="90" y="22"/>
                    <a:pt x="89" y="20"/>
                  </a:cubicBezTo>
                  <a:cubicBezTo>
                    <a:pt x="88" y="18"/>
                    <a:pt x="83" y="17"/>
                    <a:pt x="81" y="17"/>
                  </a:cubicBezTo>
                  <a:cubicBezTo>
                    <a:pt x="79" y="17"/>
                    <a:pt x="78" y="22"/>
                    <a:pt x="76" y="22"/>
                  </a:cubicBezTo>
                  <a:cubicBezTo>
                    <a:pt x="75" y="22"/>
                    <a:pt x="71" y="20"/>
                    <a:pt x="70" y="19"/>
                  </a:cubicBezTo>
                  <a:cubicBezTo>
                    <a:pt x="69" y="18"/>
                    <a:pt x="68" y="12"/>
                    <a:pt x="68" y="12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4"/>
                    <a:pt x="2" y="5"/>
                  </a:cubicBezTo>
                  <a:cubicBezTo>
                    <a:pt x="3" y="6"/>
                    <a:pt x="6" y="12"/>
                    <a:pt x="7" y="14"/>
                  </a:cubicBezTo>
                  <a:cubicBezTo>
                    <a:pt x="8" y="17"/>
                    <a:pt x="8" y="17"/>
                    <a:pt x="9" y="19"/>
                  </a:cubicBezTo>
                  <a:cubicBezTo>
                    <a:pt x="10" y="20"/>
                    <a:pt x="15" y="23"/>
                    <a:pt x="16" y="25"/>
                  </a:cubicBezTo>
                  <a:cubicBezTo>
                    <a:pt x="17" y="26"/>
                    <a:pt x="17" y="29"/>
                    <a:pt x="17" y="30"/>
                  </a:cubicBezTo>
                  <a:cubicBezTo>
                    <a:pt x="17" y="31"/>
                    <a:pt x="17" y="31"/>
                    <a:pt x="16" y="30"/>
                  </a:cubicBezTo>
                  <a:cubicBezTo>
                    <a:pt x="15" y="29"/>
                    <a:pt x="12" y="29"/>
                    <a:pt x="12" y="30"/>
                  </a:cubicBezTo>
                  <a:cubicBezTo>
                    <a:pt x="13" y="32"/>
                    <a:pt x="17" y="35"/>
                    <a:pt x="19" y="35"/>
                  </a:cubicBezTo>
                  <a:cubicBezTo>
                    <a:pt x="20" y="35"/>
                    <a:pt x="21" y="35"/>
                    <a:pt x="22" y="36"/>
                  </a:cubicBezTo>
                  <a:cubicBezTo>
                    <a:pt x="23" y="37"/>
                    <a:pt x="27" y="40"/>
                    <a:pt x="28" y="41"/>
                  </a:cubicBezTo>
                  <a:cubicBezTo>
                    <a:pt x="28" y="42"/>
                    <a:pt x="29" y="44"/>
                    <a:pt x="28" y="45"/>
                  </a:cubicBezTo>
                  <a:cubicBezTo>
                    <a:pt x="27" y="46"/>
                    <a:pt x="26" y="46"/>
                    <a:pt x="27" y="47"/>
                  </a:cubicBezTo>
                  <a:cubicBezTo>
                    <a:pt x="28" y="48"/>
                    <a:pt x="32" y="50"/>
                    <a:pt x="33" y="51"/>
                  </a:cubicBezTo>
                  <a:cubicBezTo>
                    <a:pt x="35" y="53"/>
                    <a:pt x="37" y="55"/>
                    <a:pt x="38" y="57"/>
                  </a:cubicBezTo>
                  <a:cubicBezTo>
                    <a:pt x="40" y="58"/>
                    <a:pt x="40" y="59"/>
                    <a:pt x="41" y="58"/>
                  </a:cubicBezTo>
                  <a:cubicBezTo>
                    <a:pt x="41" y="57"/>
                    <a:pt x="43" y="56"/>
                    <a:pt x="42" y="55"/>
                  </a:cubicBezTo>
                  <a:cubicBezTo>
                    <a:pt x="41" y="54"/>
                    <a:pt x="40" y="54"/>
                    <a:pt x="40" y="53"/>
                  </a:cubicBezTo>
                  <a:cubicBezTo>
                    <a:pt x="40" y="52"/>
                    <a:pt x="40" y="51"/>
                    <a:pt x="39" y="51"/>
                  </a:cubicBezTo>
                  <a:cubicBezTo>
                    <a:pt x="38" y="50"/>
                    <a:pt x="36" y="51"/>
                    <a:pt x="35" y="49"/>
                  </a:cubicBezTo>
                  <a:cubicBezTo>
                    <a:pt x="34" y="47"/>
                    <a:pt x="36" y="47"/>
                    <a:pt x="36" y="46"/>
                  </a:cubicBezTo>
                  <a:cubicBezTo>
                    <a:pt x="36" y="46"/>
                    <a:pt x="35" y="46"/>
                    <a:pt x="35" y="45"/>
                  </a:cubicBezTo>
                  <a:cubicBezTo>
                    <a:pt x="34" y="45"/>
                    <a:pt x="32" y="41"/>
                    <a:pt x="32" y="40"/>
                  </a:cubicBezTo>
                  <a:cubicBezTo>
                    <a:pt x="32" y="38"/>
                    <a:pt x="31" y="37"/>
                    <a:pt x="30" y="36"/>
                  </a:cubicBezTo>
                  <a:cubicBezTo>
                    <a:pt x="29" y="35"/>
                    <a:pt x="25" y="31"/>
                    <a:pt x="25" y="30"/>
                  </a:cubicBezTo>
                  <a:cubicBezTo>
                    <a:pt x="24" y="29"/>
                    <a:pt x="23" y="26"/>
                    <a:pt x="22" y="25"/>
                  </a:cubicBezTo>
                  <a:cubicBezTo>
                    <a:pt x="21" y="24"/>
                    <a:pt x="20" y="23"/>
                    <a:pt x="20" y="23"/>
                  </a:cubicBezTo>
                  <a:cubicBezTo>
                    <a:pt x="19" y="22"/>
                    <a:pt x="19" y="20"/>
                    <a:pt x="17" y="19"/>
                  </a:cubicBezTo>
                  <a:cubicBezTo>
                    <a:pt x="15" y="17"/>
                    <a:pt x="14" y="17"/>
                    <a:pt x="14" y="15"/>
                  </a:cubicBezTo>
                  <a:cubicBezTo>
                    <a:pt x="14" y="14"/>
                    <a:pt x="12" y="7"/>
                    <a:pt x="12" y="6"/>
                  </a:cubicBezTo>
                  <a:cubicBezTo>
                    <a:pt x="12" y="5"/>
                    <a:pt x="12" y="4"/>
                    <a:pt x="14" y="5"/>
                  </a:cubicBezTo>
                  <a:cubicBezTo>
                    <a:pt x="15" y="6"/>
                    <a:pt x="16" y="7"/>
                    <a:pt x="16" y="7"/>
                  </a:cubicBezTo>
                  <a:cubicBezTo>
                    <a:pt x="17" y="6"/>
                    <a:pt x="18" y="6"/>
                    <a:pt x="19" y="7"/>
                  </a:cubicBezTo>
                  <a:cubicBezTo>
                    <a:pt x="20" y="8"/>
                    <a:pt x="21" y="8"/>
                    <a:pt x="22" y="8"/>
                  </a:cubicBezTo>
                  <a:cubicBezTo>
                    <a:pt x="23" y="9"/>
                    <a:pt x="23" y="13"/>
                    <a:pt x="24" y="16"/>
                  </a:cubicBezTo>
                  <a:cubicBezTo>
                    <a:pt x="26" y="19"/>
                    <a:pt x="26" y="20"/>
                    <a:pt x="26" y="21"/>
                  </a:cubicBezTo>
                  <a:cubicBezTo>
                    <a:pt x="26" y="22"/>
                    <a:pt x="24" y="24"/>
                    <a:pt x="25" y="23"/>
                  </a:cubicBezTo>
                  <a:cubicBezTo>
                    <a:pt x="27" y="22"/>
                    <a:pt x="26" y="20"/>
                    <a:pt x="27" y="22"/>
                  </a:cubicBezTo>
                  <a:cubicBezTo>
                    <a:pt x="29" y="23"/>
                    <a:pt x="29" y="24"/>
                    <a:pt x="31" y="26"/>
                  </a:cubicBezTo>
                  <a:cubicBezTo>
                    <a:pt x="33" y="27"/>
                    <a:pt x="33" y="28"/>
                    <a:pt x="35" y="29"/>
                  </a:cubicBezTo>
                  <a:cubicBezTo>
                    <a:pt x="36" y="29"/>
                    <a:pt x="35" y="30"/>
                    <a:pt x="36" y="31"/>
                  </a:cubicBezTo>
                  <a:cubicBezTo>
                    <a:pt x="37" y="33"/>
                    <a:pt x="39" y="33"/>
                    <a:pt x="39" y="34"/>
                  </a:cubicBezTo>
                  <a:cubicBezTo>
                    <a:pt x="40" y="35"/>
                    <a:pt x="40" y="36"/>
                    <a:pt x="41" y="36"/>
                  </a:cubicBezTo>
                  <a:cubicBezTo>
                    <a:pt x="42" y="36"/>
                    <a:pt x="43" y="36"/>
                    <a:pt x="43" y="37"/>
                  </a:cubicBezTo>
                  <a:cubicBezTo>
                    <a:pt x="43" y="38"/>
                    <a:pt x="42" y="39"/>
                    <a:pt x="42" y="40"/>
                  </a:cubicBezTo>
                  <a:cubicBezTo>
                    <a:pt x="43" y="42"/>
                    <a:pt x="45" y="42"/>
                    <a:pt x="46" y="43"/>
                  </a:cubicBezTo>
                  <a:cubicBezTo>
                    <a:pt x="47" y="44"/>
                    <a:pt x="47" y="44"/>
                    <a:pt x="48" y="44"/>
                  </a:cubicBezTo>
                  <a:cubicBezTo>
                    <a:pt x="48" y="45"/>
                    <a:pt x="50" y="46"/>
                    <a:pt x="50" y="47"/>
                  </a:cubicBezTo>
                  <a:cubicBezTo>
                    <a:pt x="50" y="47"/>
                    <a:pt x="51" y="48"/>
                    <a:pt x="51" y="49"/>
                  </a:cubicBezTo>
                  <a:cubicBezTo>
                    <a:pt x="52" y="49"/>
                    <a:pt x="54" y="51"/>
                    <a:pt x="55" y="52"/>
                  </a:cubicBezTo>
                  <a:cubicBezTo>
                    <a:pt x="56" y="53"/>
                    <a:pt x="60" y="57"/>
                    <a:pt x="61" y="59"/>
                  </a:cubicBezTo>
                  <a:cubicBezTo>
                    <a:pt x="63" y="60"/>
                    <a:pt x="64" y="62"/>
                    <a:pt x="64" y="63"/>
                  </a:cubicBezTo>
                  <a:cubicBezTo>
                    <a:pt x="64" y="64"/>
                    <a:pt x="62" y="65"/>
                    <a:pt x="63" y="65"/>
                  </a:cubicBezTo>
                  <a:cubicBezTo>
                    <a:pt x="64" y="65"/>
                    <a:pt x="65" y="65"/>
                    <a:pt x="65" y="66"/>
                  </a:cubicBezTo>
                  <a:cubicBezTo>
                    <a:pt x="66" y="67"/>
                    <a:pt x="65" y="69"/>
                    <a:pt x="64" y="70"/>
                  </a:cubicBezTo>
                  <a:cubicBezTo>
                    <a:pt x="64" y="71"/>
                    <a:pt x="65" y="70"/>
                    <a:pt x="65" y="71"/>
                  </a:cubicBezTo>
                  <a:cubicBezTo>
                    <a:pt x="65" y="72"/>
                    <a:pt x="63" y="73"/>
                    <a:pt x="64" y="74"/>
                  </a:cubicBezTo>
                  <a:cubicBezTo>
                    <a:pt x="64" y="75"/>
                    <a:pt x="68" y="80"/>
                    <a:pt x="69" y="80"/>
                  </a:cubicBezTo>
                  <a:cubicBezTo>
                    <a:pt x="70" y="81"/>
                    <a:pt x="72" y="81"/>
                    <a:pt x="73" y="82"/>
                  </a:cubicBezTo>
                  <a:cubicBezTo>
                    <a:pt x="75" y="84"/>
                    <a:pt x="76" y="86"/>
                    <a:pt x="78" y="86"/>
                  </a:cubicBezTo>
                  <a:cubicBezTo>
                    <a:pt x="80" y="87"/>
                    <a:pt x="83" y="87"/>
                    <a:pt x="84" y="87"/>
                  </a:cubicBezTo>
                  <a:cubicBezTo>
                    <a:pt x="85" y="88"/>
                    <a:pt x="91" y="92"/>
                    <a:pt x="94" y="93"/>
                  </a:cubicBezTo>
                  <a:cubicBezTo>
                    <a:pt x="97" y="94"/>
                    <a:pt x="100" y="96"/>
                    <a:pt x="103" y="97"/>
                  </a:cubicBezTo>
                  <a:cubicBezTo>
                    <a:pt x="106" y="98"/>
                    <a:pt x="109" y="98"/>
                    <a:pt x="111" y="99"/>
                  </a:cubicBezTo>
                  <a:cubicBezTo>
                    <a:pt x="112" y="100"/>
                    <a:pt x="116" y="100"/>
                    <a:pt x="117" y="99"/>
                  </a:cubicBezTo>
                  <a:cubicBezTo>
                    <a:pt x="119" y="98"/>
                    <a:pt x="120" y="97"/>
                    <a:pt x="122" y="97"/>
                  </a:cubicBezTo>
                  <a:cubicBezTo>
                    <a:pt x="124" y="97"/>
                    <a:pt x="126" y="97"/>
                    <a:pt x="128" y="98"/>
                  </a:cubicBezTo>
                  <a:cubicBezTo>
                    <a:pt x="130" y="100"/>
                    <a:pt x="132" y="100"/>
                    <a:pt x="133" y="102"/>
                  </a:cubicBezTo>
                  <a:cubicBezTo>
                    <a:pt x="134" y="103"/>
                    <a:pt x="135" y="105"/>
                    <a:pt x="137" y="106"/>
                  </a:cubicBezTo>
                  <a:cubicBezTo>
                    <a:pt x="138" y="103"/>
                    <a:pt x="139" y="98"/>
                    <a:pt x="140" y="98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03" name="Freeform 618">
              <a:extLst>
                <a:ext uri="{FF2B5EF4-FFF2-40B4-BE49-F238E27FC236}">
                  <a16:creationId xmlns:a16="http://schemas.microsoft.com/office/drawing/2014/main" id="{7AB30BA1-68B1-7217-C533-649491D14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578" y="3648688"/>
              <a:ext cx="19374" cy="48434"/>
            </a:xfrm>
            <a:custGeom>
              <a:avLst/>
              <a:gdLst>
                <a:gd name="T0" fmla="*/ 5 w 6"/>
                <a:gd name="T1" fmla="*/ 0 h 15"/>
                <a:gd name="T2" fmla="*/ 1 w 6"/>
                <a:gd name="T3" fmla="*/ 4 h 15"/>
                <a:gd name="T4" fmla="*/ 0 w 6"/>
                <a:gd name="T5" fmla="*/ 4 h 15"/>
                <a:gd name="T6" fmla="*/ 0 w 6"/>
                <a:gd name="T7" fmla="*/ 15 h 15"/>
                <a:gd name="T8" fmla="*/ 1 w 6"/>
                <a:gd name="T9" fmla="*/ 15 h 15"/>
                <a:gd name="T10" fmla="*/ 1 w 6"/>
                <a:gd name="T11" fmla="*/ 15 h 15"/>
                <a:gd name="T12" fmla="*/ 2 w 6"/>
                <a:gd name="T13" fmla="*/ 13 h 15"/>
                <a:gd name="T14" fmla="*/ 5 w 6"/>
                <a:gd name="T15" fmla="*/ 7 h 15"/>
                <a:gd name="T16" fmla="*/ 6 w 6"/>
                <a:gd name="T17" fmla="*/ 2 h 15"/>
                <a:gd name="T18" fmla="*/ 6 w 6"/>
                <a:gd name="T19" fmla="*/ 2 h 15"/>
                <a:gd name="T20" fmla="*/ 6 w 6"/>
                <a:gd name="T21" fmla="*/ 2 h 15"/>
                <a:gd name="T22" fmla="*/ 5 w 6"/>
                <a:gd name="T2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15">
                  <a:moveTo>
                    <a:pt x="5" y="0"/>
                  </a:moveTo>
                  <a:cubicBezTo>
                    <a:pt x="3" y="0"/>
                    <a:pt x="1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4"/>
                    <a:pt x="2" y="13"/>
                  </a:cubicBezTo>
                  <a:cubicBezTo>
                    <a:pt x="3" y="12"/>
                    <a:pt x="5" y="9"/>
                    <a:pt x="5" y="7"/>
                  </a:cubicBezTo>
                  <a:cubicBezTo>
                    <a:pt x="5" y="4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5" y="1"/>
                    <a:pt x="5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04" name="Freeform 619">
              <a:extLst>
                <a:ext uri="{FF2B5EF4-FFF2-40B4-BE49-F238E27FC236}">
                  <a16:creationId xmlns:a16="http://schemas.microsoft.com/office/drawing/2014/main" id="{358DE4F4-D11C-F429-E177-B22E349FA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4334" y="3615995"/>
              <a:ext cx="48434" cy="38747"/>
            </a:xfrm>
            <a:custGeom>
              <a:avLst/>
              <a:gdLst>
                <a:gd name="T0" fmla="*/ 15 w 15"/>
                <a:gd name="T1" fmla="*/ 3 h 12"/>
                <a:gd name="T2" fmla="*/ 10 w 15"/>
                <a:gd name="T3" fmla="*/ 1 h 12"/>
                <a:gd name="T4" fmla="*/ 6 w 15"/>
                <a:gd name="T5" fmla="*/ 2 h 12"/>
                <a:gd name="T6" fmla="*/ 8 w 15"/>
                <a:gd name="T7" fmla="*/ 3 h 12"/>
                <a:gd name="T8" fmla="*/ 9 w 15"/>
                <a:gd name="T9" fmla="*/ 6 h 12"/>
                <a:gd name="T10" fmla="*/ 11 w 15"/>
                <a:gd name="T11" fmla="*/ 9 h 12"/>
                <a:gd name="T12" fmla="*/ 10 w 15"/>
                <a:gd name="T13" fmla="*/ 10 h 12"/>
                <a:gd name="T14" fmla="*/ 7 w 15"/>
                <a:gd name="T15" fmla="*/ 10 h 12"/>
                <a:gd name="T16" fmla="*/ 6 w 15"/>
                <a:gd name="T17" fmla="*/ 9 h 12"/>
                <a:gd name="T18" fmla="*/ 2 w 15"/>
                <a:gd name="T19" fmla="*/ 9 h 12"/>
                <a:gd name="T20" fmla="*/ 1 w 15"/>
                <a:gd name="T21" fmla="*/ 11 h 12"/>
                <a:gd name="T22" fmla="*/ 4 w 15"/>
                <a:gd name="T23" fmla="*/ 11 h 12"/>
                <a:gd name="T24" fmla="*/ 15 w 15"/>
                <a:gd name="T25" fmla="*/ 12 h 12"/>
                <a:gd name="T26" fmla="*/ 15 w 15"/>
                <a:gd name="T27" fmla="*/ 12 h 12"/>
                <a:gd name="T28" fmla="*/ 15 w 15"/>
                <a:gd name="T29" fmla="*/ 12 h 12"/>
                <a:gd name="T30" fmla="*/ 15 w 15"/>
                <a:gd name="T31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2">
                  <a:moveTo>
                    <a:pt x="15" y="3"/>
                  </a:moveTo>
                  <a:cubicBezTo>
                    <a:pt x="13" y="3"/>
                    <a:pt x="12" y="2"/>
                    <a:pt x="10" y="1"/>
                  </a:cubicBezTo>
                  <a:cubicBezTo>
                    <a:pt x="8" y="0"/>
                    <a:pt x="7" y="1"/>
                    <a:pt x="6" y="2"/>
                  </a:cubicBezTo>
                  <a:cubicBezTo>
                    <a:pt x="6" y="2"/>
                    <a:pt x="7" y="3"/>
                    <a:pt x="8" y="3"/>
                  </a:cubicBezTo>
                  <a:cubicBezTo>
                    <a:pt x="9" y="4"/>
                    <a:pt x="9" y="5"/>
                    <a:pt x="9" y="6"/>
                  </a:cubicBezTo>
                  <a:cubicBezTo>
                    <a:pt x="10" y="6"/>
                    <a:pt x="11" y="8"/>
                    <a:pt x="11" y="9"/>
                  </a:cubicBezTo>
                  <a:cubicBezTo>
                    <a:pt x="12" y="9"/>
                    <a:pt x="11" y="10"/>
                    <a:pt x="10" y="10"/>
                  </a:cubicBezTo>
                  <a:cubicBezTo>
                    <a:pt x="8" y="10"/>
                    <a:pt x="6" y="10"/>
                    <a:pt x="7" y="10"/>
                  </a:cubicBezTo>
                  <a:cubicBezTo>
                    <a:pt x="7" y="10"/>
                    <a:pt x="7" y="9"/>
                    <a:pt x="6" y="9"/>
                  </a:cubicBezTo>
                  <a:cubicBezTo>
                    <a:pt x="5" y="9"/>
                    <a:pt x="4" y="9"/>
                    <a:pt x="2" y="9"/>
                  </a:cubicBezTo>
                  <a:cubicBezTo>
                    <a:pt x="0" y="9"/>
                    <a:pt x="1" y="11"/>
                    <a:pt x="1" y="11"/>
                  </a:cubicBezTo>
                  <a:cubicBezTo>
                    <a:pt x="1" y="11"/>
                    <a:pt x="3" y="12"/>
                    <a:pt x="4" y="11"/>
                  </a:cubicBezTo>
                  <a:cubicBezTo>
                    <a:pt x="5" y="11"/>
                    <a:pt x="12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9"/>
                    <a:pt x="15" y="5"/>
                    <a:pt x="15" y="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05" name="Freeform 620">
              <a:extLst>
                <a:ext uri="{FF2B5EF4-FFF2-40B4-BE49-F238E27FC236}">
                  <a16:creationId xmlns:a16="http://schemas.microsoft.com/office/drawing/2014/main" id="{FE5AEE7C-C11F-8F63-3F8C-C066BC635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768" y="3619628"/>
              <a:ext cx="64175" cy="44801"/>
            </a:xfrm>
            <a:custGeom>
              <a:avLst/>
              <a:gdLst>
                <a:gd name="T0" fmla="*/ 15 w 20"/>
                <a:gd name="T1" fmla="*/ 6 h 14"/>
                <a:gd name="T2" fmla="*/ 9 w 20"/>
                <a:gd name="T3" fmla="*/ 2 h 14"/>
                <a:gd name="T4" fmla="*/ 3 w 20"/>
                <a:gd name="T5" fmla="*/ 0 h 14"/>
                <a:gd name="T6" fmla="*/ 0 w 20"/>
                <a:gd name="T7" fmla="*/ 0 h 14"/>
                <a:gd name="T8" fmla="*/ 1 w 20"/>
                <a:gd name="T9" fmla="*/ 2 h 14"/>
                <a:gd name="T10" fmla="*/ 0 w 20"/>
                <a:gd name="T11" fmla="*/ 2 h 14"/>
                <a:gd name="T12" fmla="*/ 0 w 20"/>
                <a:gd name="T13" fmla="*/ 11 h 14"/>
                <a:gd name="T14" fmla="*/ 0 w 20"/>
                <a:gd name="T15" fmla="*/ 11 h 14"/>
                <a:gd name="T16" fmla="*/ 1 w 20"/>
                <a:gd name="T17" fmla="*/ 13 h 14"/>
                <a:gd name="T18" fmla="*/ 3 w 20"/>
                <a:gd name="T19" fmla="*/ 10 h 14"/>
                <a:gd name="T20" fmla="*/ 8 w 20"/>
                <a:gd name="T21" fmla="*/ 9 h 14"/>
                <a:gd name="T22" fmla="*/ 12 w 20"/>
                <a:gd name="T23" fmla="*/ 10 h 14"/>
                <a:gd name="T24" fmla="*/ 16 w 20"/>
                <a:gd name="T25" fmla="*/ 10 h 14"/>
                <a:gd name="T26" fmla="*/ 18 w 20"/>
                <a:gd name="T27" fmla="*/ 9 h 14"/>
                <a:gd name="T28" fmla="*/ 15 w 20"/>
                <a:gd name="T2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14">
                  <a:moveTo>
                    <a:pt x="15" y="6"/>
                  </a:moveTo>
                  <a:cubicBezTo>
                    <a:pt x="13" y="6"/>
                    <a:pt x="11" y="4"/>
                    <a:pt x="9" y="2"/>
                  </a:cubicBezTo>
                  <a:cubicBezTo>
                    <a:pt x="7" y="1"/>
                    <a:pt x="5" y="0"/>
                    <a:pt x="3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1" y="1"/>
                    <a:pt x="2" y="1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4"/>
                    <a:pt x="0" y="8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3"/>
                    <a:pt x="1" y="13"/>
                  </a:cubicBezTo>
                  <a:cubicBezTo>
                    <a:pt x="2" y="14"/>
                    <a:pt x="3" y="12"/>
                    <a:pt x="3" y="10"/>
                  </a:cubicBezTo>
                  <a:cubicBezTo>
                    <a:pt x="4" y="9"/>
                    <a:pt x="7" y="9"/>
                    <a:pt x="8" y="9"/>
                  </a:cubicBezTo>
                  <a:cubicBezTo>
                    <a:pt x="9" y="9"/>
                    <a:pt x="10" y="10"/>
                    <a:pt x="12" y="10"/>
                  </a:cubicBezTo>
                  <a:cubicBezTo>
                    <a:pt x="14" y="10"/>
                    <a:pt x="14" y="9"/>
                    <a:pt x="16" y="10"/>
                  </a:cubicBezTo>
                  <a:cubicBezTo>
                    <a:pt x="17" y="11"/>
                    <a:pt x="17" y="10"/>
                    <a:pt x="18" y="9"/>
                  </a:cubicBezTo>
                  <a:cubicBezTo>
                    <a:pt x="20" y="8"/>
                    <a:pt x="17" y="7"/>
                    <a:pt x="15" y="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06" name="Freeform 621">
              <a:extLst>
                <a:ext uri="{FF2B5EF4-FFF2-40B4-BE49-F238E27FC236}">
                  <a16:creationId xmlns:a16="http://schemas.microsoft.com/office/drawing/2014/main" id="{1961418F-DA6C-DCD6-8B3F-DC2A7AAE1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720" y="2414836"/>
              <a:ext cx="685344" cy="468597"/>
            </a:xfrm>
            <a:custGeom>
              <a:avLst/>
              <a:gdLst>
                <a:gd name="T0" fmla="*/ 200 w 212"/>
                <a:gd name="T1" fmla="*/ 131 h 145"/>
                <a:gd name="T2" fmla="*/ 181 w 212"/>
                <a:gd name="T3" fmla="*/ 106 h 145"/>
                <a:gd name="T4" fmla="*/ 170 w 212"/>
                <a:gd name="T5" fmla="*/ 112 h 145"/>
                <a:gd name="T6" fmla="*/ 155 w 212"/>
                <a:gd name="T7" fmla="*/ 103 h 145"/>
                <a:gd name="T8" fmla="*/ 149 w 212"/>
                <a:gd name="T9" fmla="*/ 17 h 145"/>
                <a:gd name="T10" fmla="*/ 128 w 212"/>
                <a:gd name="T11" fmla="*/ 14 h 145"/>
                <a:gd name="T12" fmla="*/ 92 w 212"/>
                <a:gd name="T13" fmla="*/ 10 h 145"/>
                <a:gd name="T14" fmla="*/ 82 w 212"/>
                <a:gd name="T15" fmla="*/ 5 h 145"/>
                <a:gd name="T16" fmla="*/ 70 w 212"/>
                <a:gd name="T17" fmla="*/ 4 h 145"/>
                <a:gd name="T18" fmla="*/ 63 w 212"/>
                <a:gd name="T19" fmla="*/ 1 h 145"/>
                <a:gd name="T20" fmla="*/ 46 w 212"/>
                <a:gd name="T21" fmla="*/ 9 h 145"/>
                <a:gd name="T22" fmla="*/ 37 w 212"/>
                <a:gd name="T23" fmla="*/ 12 h 145"/>
                <a:gd name="T24" fmla="*/ 19 w 212"/>
                <a:gd name="T25" fmla="*/ 25 h 145"/>
                <a:gd name="T26" fmla="*/ 11 w 212"/>
                <a:gd name="T27" fmla="*/ 32 h 145"/>
                <a:gd name="T28" fmla="*/ 30 w 212"/>
                <a:gd name="T29" fmla="*/ 42 h 145"/>
                <a:gd name="T30" fmla="*/ 30 w 212"/>
                <a:gd name="T31" fmla="*/ 44 h 145"/>
                <a:gd name="T32" fmla="*/ 42 w 212"/>
                <a:gd name="T33" fmla="*/ 47 h 145"/>
                <a:gd name="T34" fmla="*/ 34 w 212"/>
                <a:gd name="T35" fmla="*/ 51 h 145"/>
                <a:gd name="T36" fmla="*/ 14 w 212"/>
                <a:gd name="T37" fmla="*/ 49 h 145"/>
                <a:gd name="T38" fmla="*/ 5 w 212"/>
                <a:gd name="T39" fmla="*/ 53 h 145"/>
                <a:gd name="T40" fmla="*/ 9 w 212"/>
                <a:gd name="T41" fmla="*/ 60 h 145"/>
                <a:gd name="T42" fmla="*/ 20 w 212"/>
                <a:gd name="T43" fmla="*/ 65 h 145"/>
                <a:gd name="T44" fmla="*/ 32 w 212"/>
                <a:gd name="T45" fmla="*/ 64 h 145"/>
                <a:gd name="T46" fmla="*/ 37 w 212"/>
                <a:gd name="T47" fmla="*/ 66 h 145"/>
                <a:gd name="T48" fmla="*/ 31 w 212"/>
                <a:gd name="T49" fmla="*/ 75 h 145"/>
                <a:gd name="T50" fmla="*/ 19 w 212"/>
                <a:gd name="T51" fmla="*/ 79 h 145"/>
                <a:gd name="T52" fmla="*/ 17 w 212"/>
                <a:gd name="T53" fmla="*/ 84 h 145"/>
                <a:gd name="T54" fmla="*/ 13 w 212"/>
                <a:gd name="T55" fmla="*/ 95 h 145"/>
                <a:gd name="T56" fmla="*/ 20 w 212"/>
                <a:gd name="T57" fmla="*/ 98 h 145"/>
                <a:gd name="T58" fmla="*/ 22 w 212"/>
                <a:gd name="T59" fmla="*/ 100 h 145"/>
                <a:gd name="T60" fmla="*/ 18 w 212"/>
                <a:gd name="T61" fmla="*/ 102 h 145"/>
                <a:gd name="T62" fmla="*/ 31 w 212"/>
                <a:gd name="T63" fmla="*/ 100 h 145"/>
                <a:gd name="T64" fmla="*/ 33 w 212"/>
                <a:gd name="T65" fmla="*/ 111 h 145"/>
                <a:gd name="T66" fmla="*/ 39 w 212"/>
                <a:gd name="T67" fmla="*/ 114 h 145"/>
                <a:gd name="T68" fmla="*/ 47 w 212"/>
                <a:gd name="T69" fmla="*/ 114 h 145"/>
                <a:gd name="T70" fmla="*/ 52 w 212"/>
                <a:gd name="T71" fmla="*/ 111 h 145"/>
                <a:gd name="T72" fmla="*/ 56 w 212"/>
                <a:gd name="T73" fmla="*/ 115 h 145"/>
                <a:gd name="T74" fmla="*/ 58 w 212"/>
                <a:gd name="T75" fmla="*/ 117 h 145"/>
                <a:gd name="T76" fmla="*/ 57 w 212"/>
                <a:gd name="T77" fmla="*/ 124 h 145"/>
                <a:gd name="T78" fmla="*/ 41 w 212"/>
                <a:gd name="T79" fmla="*/ 136 h 145"/>
                <a:gd name="T80" fmla="*/ 37 w 212"/>
                <a:gd name="T81" fmla="*/ 138 h 145"/>
                <a:gd name="T82" fmla="*/ 35 w 212"/>
                <a:gd name="T83" fmla="*/ 140 h 145"/>
                <a:gd name="T84" fmla="*/ 40 w 212"/>
                <a:gd name="T85" fmla="*/ 142 h 145"/>
                <a:gd name="T86" fmla="*/ 47 w 212"/>
                <a:gd name="T87" fmla="*/ 138 h 145"/>
                <a:gd name="T88" fmla="*/ 63 w 212"/>
                <a:gd name="T89" fmla="*/ 126 h 145"/>
                <a:gd name="T90" fmla="*/ 80 w 212"/>
                <a:gd name="T91" fmla="*/ 115 h 145"/>
                <a:gd name="T92" fmla="*/ 83 w 212"/>
                <a:gd name="T93" fmla="*/ 102 h 145"/>
                <a:gd name="T94" fmla="*/ 96 w 212"/>
                <a:gd name="T95" fmla="*/ 94 h 145"/>
                <a:gd name="T96" fmla="*/ 92 w 212"/>
                <a:gd name="T97" fmla="*/ 100 h 145"/>
                <a:gd name="T98" fmla="*/ 89 w 212"/>
                <a:gd name="T99" fmla="*/ 110 h 145"/>
                <a:gd name="T100" fmla="*/ 109 w 212"/>
                <a:gd name="T101" fmla="*/ 103 h 145"/>
                <a:gd name="T102" fmla="*/ 121 w 212"/>
                <a:gd name="T103" fmla="*/ 98 h 145"/>
                <a:gd name="T104" fmla="*/ 138 w 212"/>
                <a:gd name="T105" fmla="*/ 104 h 145"/>
                <a:gd name="T106" fmla="*/ 155 w 212"/>
                <a:gd name="T107" fmla="*/ 106 h 145"/>
                <a:gd name="T108" fmla="*/ 173 w 212"/>
                <a:gd name="T109" fmla="*/ 118 h 145"/>
                <a:gd name="T110" fmla="*/ 179 w 212"/>
                <a:gd name="T111" fmla="*/ 117 h 145"/>
                <a:gd name="T112" fmla="*/ 185 w 212"/>
                <a:gd name="T113" fmla="*/ 118 h 145"/>
                <a:gd name="T114" fmla="*/ 193 w 212"/>
                <a:gd name="T115" fmla="*/ 123 h 145"/>
                <a:gd name="T116" fmla="*/ 192 w 212"/>
                <a:gd name="T117" fmla="*/ 127 h 145"/>
                <a:gd name="T118" fmla="*/ 199 w 212"/>
                <a:gd name="T119" fmla="*/ 139 h 145"/>
                <a:gd name="T120" fmla="*/ 204 w 212"/>
                <a:gd name="T121" fmla="*/ 140 h 145"/>
                <a:gd name="T122" fmla="*/ 211 w 212"/>
                <a:gd name="T123" fmla="*/ 14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" h="145">
                  <a:moveTo>
                    <a:pt x="212" y="141"/>
                  </a:moveTo>
                  <a:cubicBezTo>
                    <a:pt x="211" y="141"/>
                    <a:pt x="210" y="140"/>
                    <a:pt x="210" y="139"/>
                  </a:cubicBezTo>
                  <a:cubicBezTo>
                    <a:pt x="210" y="138"/>
                    <a:pt x="211" y="137"/>
                    <a:pt x="211" y="137"/>
                  </a:cubicBezTo>
                  <a:cubicBezTo>
                    <a:pt x="211" y="136"/>
                    <a:pt x="202" y="132"/>
                    <a:pt x="200" y="131"/>
                  </a:cubicBezTo>
                  <a:cubicBezTo>
                    <a:pt x="199" y="130"/>
                    <a:pt x="193" y="119"/>
                    <a:pt x="192" y="118"/>
                  </a:cubicBezTo>
                  <a:cubicBezTo>
                    <a:pt x="191" y="116"/>
                    <a:pt x="188" y="114"/>
                    <a:pt x="187" y="113"/>
                  </a:cubicBezTo>
                  <a:cubicBezTo>
                    <a:pt x="185" y="111"/>
                    <a:pt x="184" y="111"/>
                    <a:pt x="183" y="110"/>
                  </a:cubicBezTo>
                  <a:cubicBezTo>
                    <a:pt x="182" y="109"/>
                    <a:pt x="182" y="107"/>
                    <a:pt x="181" y="106"/>
                  </a:cubicBezTo>
                  <a:cubicBezTo>
                    <a:pt x="180" y="106"/>
                    <a:pt x="180" y="106"/>
                    <a:pt x="179" y="107"/>
                  </a:cubicBezTo>
                  <a:cubicBezTo>
                    <a:pt x="178" y="108"/>
                    <a:pt x="177" y="107"/>
                    <a:pt x="175" y="108"/>
                  </a:cubicBezTo>
                  <a:cubicBezTo>
                    <a:pt x="174" y="108"/>
                    <a:pt x="176" y="108"/>
                    <a:pt x="175" y="109"/>
                  </a:cubicBezTo>
                  <a:cubicBezTo>
                    <a:pt x="175" y="111"/>
                    <a:pt x="171" y="112"/>
                    <a:pt x="170" y="112"/>
                  </a:cubicBezTo>
                  <a:cubicBezTo>
                    <a:pt x="169" y="112"/>
                    <a:pt x="165" y="108"/>
                    <a:pt x="163" y="106"/>
                  </a:cubicBezTo>
                  <a:cubicBezTo>
                    <a:pt x="161" y="104"/>
                    <a:pt x="161" y="105"/>
                    <a:pt x="161" y="104"/>
                  </a:cubicBezTo>
                  <a:cubicBezTo>
                    <a:pt x="160" y="103"/>
                    <a:pt x="160" y="102"/>
                    <a:pt x="159" y="102"/>
                  </a:cubicBezTo>
                  <a:cubicBezTo>
                    <a:pt x="157" y="101"/>
                    <a:pt x="156" y="102"/>
                    <a:pt x="155" y="103"/>
                  </a:cubicBezTo>
                  <a:cubicBezTo>
                    <a:pt x="154" y="103"/>
                    <a:pt x="154" y="102"/>
                    <a:pt x="153" y="102"/>
                  </a:cubicBezTo>
                  <a:cubicBezTo>
                    <a:pt x="152" y="101"/>
                    <a:pt x="152" y="102"/>
                    <a:pt x="151" y="102"/>
                  </a:cubicBezTo>
                  <a:cubicBezTo>
                    <a:pt x="151" y="103"/>
                    <a:pt x="149" y="102"/>
                    <a:pt x="149" y="102"/>
                  </a:cubicBezTo>
                  <a:cubicBezTo>
                    <a:pt x="149" y="17"/>
                    <a:pt x="149" y="17"/>
                    <a:pt x="149" y="17"/>
                  </a:cubicBezTo>
                  <a:cubicBezTo>
                    <a:pt x="149" y="17"/>
                    <a:pt x="149" y="17"/>
                    <a:pt x="149" y="17"/>
                  </a:cubicBezTo>
                  <a:cubicBezTo>
                    <a:pt x="149" y="17"/>
                    <a:pt x="149" y="17"/>
                    <a:pt x="148" y="17"/>
                  </a:cubicBezTo>
                  <a:cubicBezTo>
                    <a:pt x="146" y="16"/>
                    <a:pt x="143" y="15"/>
                    <a:pt x="140" y="14"/>
                  </a:cubicBezTo>
                  <a:cubicBezTo>
                    <a:pt x="138" y="13"/>
                    <a:pt x="131" y="14"/>
                    <a:pt x="128" y="14"/>
                  </a:cubicBezTo>
                  <a:cubicBezTo>
                    <a:pt x="126" y="14"/>
                    <a:pt x="122" y="12"/>
                    <a:pt x="118" y="12"/>
                  </a:cubicBezTo>
                  <a:cubicBezTo>
                    <a:pt x="114" y="12"/>
                    <a:pt x="109" y="10"/>
                    <a:pt x="106" y="10"/>
                  </a:cubicBezTo>
                  <a:cubicBezTo>
                    <a:pt x="103" y="9"/>
                    <a:pt x="99" y="9"/>
                    <a:pt x="97" y="9"/>
                  </a:cubicBezTo>
                  <a:cubicBezTo>
                    <a:pt x="95" y="9"/>
                    <a:pt x="93" y="10"/>
                    <a:pt x="92" y="10"/>
                  </a:cubicBezTo>
                  <a:cubicBezTo>
                    <a:pt x="91" y="10"/>
                    <a:pt x="89" y="8"/>
                    <a:pt x="88" y="8"/>
                  </a:cubicBezTo>
                  <a:cubicBezTo>
                    <a:pt x="87" y="8"/>
                    <a:pt x="84" y="8"/>
                    <a:pt x="85" y="8"/>
                  </a:cubicBezTo>
                  <a:cubicBezTo>
                    <a:pt x="86" y="7"/>
                    <a:pt x="86" y="6"/>
                    <a:pt x="86" y="5"/>
                  </a:cubicBezTo>
                  <a:cubicBezTo>
                    <a:pt x="86" y="5"/>
                    <a:pt x="83" y="5"/>
                    <a:pt x="82" y="5"/>
                  </a:cubicBezTo>
                  <a:cubicBezTo>
                    <a:pt x="81" y="5"/>
                    <a:pt x="81" y="5"/>
                    <a:pt x="79" y="5"/>
                  </a:cubicBezTo>
                  <a:cubicBezTo>
                    <a:pt x="77" y="5"/>
                    <a:pt x="74" y="6"/>
                    <a:pt x="74" y="5"/>
                  </a:cubicBezTo>
                  <a:cubicBezTo>
                    <a:pt x="74" y="4"/>
                    <a:pt x="74" y="3"/>
                    <a:pt x="73" y="3"/>
                  </a:cubicBezTo>
                  <a:cubicBezTo>
                    <a:pt x="71" y="3"/>
                    <a:pt x="71" y="3"/>
                    <a:pt x="70" y="4"/>
                  </a:cubicBezTo>
                  <a:cubicBezTo>
                    <a:pt x="69" y="5"/>
                    <a:pt x="68" y="6"/>
                    <a:pt x="67" y="5"/>
                  </a:cubicBezTo>
                  <a:cubicBezTo>
                    <a:pt x="66" y="5"/>
                    <a:pt x="65" y="4"/>
                    <a:pt x="66" y="4"/>
                  </a:cubicBezTo>
                  <a:cubicBezTo>
                    <a:pt x="66" y="3"/>
                    <a:pt x="69" y="3"/>
                    <a:pt x="68" y="2"/>
                  </a:cubicBezTo>
                  <a:cubicBezTo>
                    <a:pt x="68" y="2"/>
                    <a:pt x="66" y="1"/>
                    <a:pt x="63" y="1"/>
                  </a:cubicBezTo>
                  <a:cubicBezTo>
                    <a:pt x="60" y="0"/>
                    <a:pt x="59" y="4"/>
                    <a:pt x="56" y="5"/>
                  </a:cubicBezTo>
                  <a:cubicBezTo>
                    <a:pt x="53" y="6"/>
                    <a:pt x="50" y="5"/>
                    <a:pt x="47" y="5"/>
                  </a:cubicBezTo>
                  <a:cubicBezTo>
                    <a:pt x="44" y="6"/>
                    <a:pt x="43" y="8"/>
                    <a:pt x="44" y="8"/>
                  </a:cubicBezTo>
                  <a:cubicBezTo>
                    <a:pt x="45" y="8"/>
                    <a:pt x="47" y="9"/>
                    <a:pt x="46" y="9"/>
                  </a:cubicBezTo>
                  <a:cubicBezTo>
                    <a:pt x="45" y="10"/>
                    <a:pt x="44" y="9"/>
                    <a:pt x="44" y="9"/>
                  </a:cubicBezTo>
                  <a:cubicBezTo>
                    <a:pt x="44" y="9"/>
                    <a:pt x="45" y="11"/>
                    <a:pt x="44" y="11"/>
                  </a:cubicBezTo>
                  <a:cubicBezTo>
                    <a:pt x="44" y="11"/>
                    <a:pt x="43" y="8"/>
                    <a:pt x="42" y="9"/>
                  </a:cubicBezTo>
                  <a:cubicBezTo>
                    <a:pt x="41" y="9"/>
                    <a:pt x="39" y="11"/>
                    <a:pt x="37" y="12"/>
                  </a:cubicBezTo>
                  <a:cubicBezTo>
                    <a:pt x="35" y="12"/>
                    <a:pt x="34" y="11"/>
                    <a:pt x="32" y="12"/>
                  </a:cubicBezTo>
                  <a:cubicBezTo>
                    <a:pt x="30" y="14"/>
                    <a:pt x="27" y="16"/>
                    <a:pt x="27" y="17"/>
                  </a:cubicBezTo>
                  <a:cubicBezTo>
                    <a:pt x="26" y="19"/>
                    <a:pt x="27" y="21"/>
                    <a:pt x="24" y="23"/>
                  </a:cubicBezTo>
                  <a:cubicBezTo>
                    <a:pt x="21" y="25"/>
                    <a:pt x="20" y="25"/>
                    <a:pt x="19" y="25"/>
                  </a:cubicBezTo>
                  <a:cubicBezTo>
                    <a:pt x="18" y="25"/>
                    <a:pt x="12" y="25"/>
                    <a:pt x="11" y="26"/>
                  </a:cubicBezTo>
                  <a:cubicBezTo>
                    <a:pt x="10" y="26"/>
                    <a:pt x="11" y="27"/>
                    <a:pt x="10" y="28"/>
                  </a:cubicBezTo>
                  <a:cubicBezTo>
                    <a:pt x="9" y="29"/>
                    <a:pt x="8" y="30"/>
                    <a:pt x="8" y="30"/>
                  </a:cubicBezTo>
                  <a:cubicBezTo>
                    <a:pt x="8" y="31"/>
                    <a:pt x="10" y="31"/>
                    <a:pt x="11" y="32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6" y="34"/>
                    <a:pt x="22" y="38"/>
                    <a:pt x="23" y="39"/>
                  </a:cubicBezTo>
                  <a:cubicBezTo>
                    <a:pt x="23" y="41"/>
                    <a:pt x="24" y="42"/>
                    <a:pt x="25" y="42"/>
                  </a:cubicBezTo>
                  <a:cubicBezTo>
                    <a:pt x="26" y="43"/>
                    <a:pt x="29" y="43"/>
                    <a:pt x="30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2" y="43"/>
                    <a:pt x="34" y="42"/>
                    <a:pt x="34" y="43"/>
                  </a:cubicBezTo>
                  <a:cubicBezTo>
                    <a:pt x="35" y="43"/>
                    <a:pt x="34" y="45"/>
                    <a:pt x="33" y="45"/>
                  </a:cubicBezTo>
                  <a:cubicBezTo>
                    <a:pt x="32" y="44"/>
                    <a:pt x="31" y="44"/>
                    <a:pt x="30" y="44"/>
                  </a:cubicBezTo>
                  <a:cubicBezTo>
                    <a:pt x="29" y="45"/>
                    <a:pt x="30" y="45"/>
                    <a:pt x="32" y="46"/>
                  </a:cubicBezTo>
                  <a:cubicBezTo>
                    <a:pt x="33" y="47"/>
                    <a:pt x="34" y="49"/>
                    <a:pt x="35" y="48"/>
                  </a:cubicBezTo>
                  <a:cubicBezTo>
                    <a:pt x="36" y="48"/>
                    <a:pt x="36" y="48"/>
                    <a:pt x="37" y="47"/>
                  </a:cubicBezTo>
                  <a:cubicBezTo>
                    <a:pt x="38" y="46"/>
                    <a:pt x="41" y="46"/>
                    <a:pt x="42" y="47"/>
                  </a:cubicBezTo>
                  <a:cubicBezTo>
                    <a:pt x="43" y="47"/>
                    <a:pt x="43" y="48"/>
                    <a:pt x="41" y="49"/>
                  </a:cubicBezTo>
                  <a:cubicBezTo>
                    <a:pt x="39" y="49"/>
                    <a:pt x="38" y="49"/>
                    <a:pt x="38" y="50"/>
                  </a:cubicBezTo>
                  <a:cubicBezTo>
                    <a:pt x="38" y="51"/>
                    <a:pt x="38" y="51"/>
                    <a:pt x="37" y="50"/>
                  </a:cubicBezTo>
                  <a:cubicBezTo>
                    <a:pt x="36" y="50"/>
                    <a:pt x="36" y="51"/>
                    <a:pt x="34" y="51"/>
                  </a:cubicBezTo>
                  <a:cubicBezTo>
                    <a:pt x="33" y="52"/>
                    <a:pt x="24" y="52"/>
                    <a:pt x="23" y="51"/>
                  </a:cubicBezTo>
                  <a:cubicBezTo>
                    <a:pt x="21" y="50"/>
                    <a:pt x="22" y="49"/>
                    <a:pt x="23" y="49"/>
                  </a:cubicBezTo>
                  <a:cubicBezTo>
                    <a:pt x="24" y="48"/>
                    <a:pt x="23" y="47"/>
                    <a:pt x="22" y="47"/>
                  </a:cubicBezTo>
                  <a:cubicBezTo>
                    <a:pt x="21" y="47"/>
                    <a:pt x="15" y="48"/>
                    <a:pt x="14" y="49"/>
                  </a:cubicBezTo>
                  <a:cubicBezTo>
                    <a:pt x="13" y="49"/>
                    <a:pt x="12" y="50"/>
                    <a:pt x="13" y="50"/>
                  </a:cubicBezTo>
                  <a:cubicBezTo>
                    <a:pt x="14" y="51"/>
                    <a:pt x="13" y="52"/>
                    <a:pt x="12" y="51"/>
                  </a:cubicBezTo>
                  <a:cubicBezTo>
                    <a:pt x="10" y="51"/>
                    <a:pt x="8" y="51"/>
                    <a:pt x="7" y="52"/>
                  </a:cubicBezTo>
                  <a:cubicBezTo>
                    <a:pt x="6" y="53"/>
                    <a:pt x="6" y="53"/>
                    <a:pt x="5" y="53"/>
                  </a:cubicBezTo>
                  <a:cubicBezTo>
                    <a:pt x="3" y="54"/>
                    <a:pt x="2" y="55"/>
                    <a:pt x="1" y="55"/>
                  </a:cubicBezTo>
                  <a:cubicBezTo>
                    <a:pt x="0" y="56"/>
                    <a:pt x="0" y="57"/>
                    <a:pt x="2" y="57"/>
                  </a:cubicBezTo>
                  <a:cubicBezTo>
                    <a:pt x="4" y="58"/>
                    <a:pt x="6" y="58"/>
                    <a:pt x="8" y="58"/>
                  </a:cubicBezTo>
                  <a:cubicBezTo>
                    <a:pt x="9" y="59"/>
                    <a:pt x="10" y="59"/>
                    <a:pt x="9" y="60"/>
                  </a:cubicBezTo>
                  <a:cubicBezTo>
                    <a:pt x="8" y="60"/>
                    <a:pt x="6" y="61"/>
                    <a:pt x="7" y="62"/>
                  </a:cubicBezTo>
                  <a:cubicBezTo>
                    <a:pt x="8" y="63"/>
                    <a:pt x="9" y="64"/>
                    <a:pt x="9" y="64"/>
                  </a:cubicBezTo>
                  <a:cubicBezTo>
                    <a:pt x="9" y="65"/>
                    <a:pt x="12" y="65"/>
                    <a:pt x="14" y="66"/>
                  </a:cubicBezTo>
                  <a:cubicBezTo>
                    <a:pt x="16" y="66"/>
                    <a:pt x="17" y="65"/>
                    <a:pt x="20" y="65"/>
                  </a:cubicBezTo>
                  <a:cubicBezTo>
                    <a:pt x="24" y="66"/>
                    <a:pt x="24" y="66"/>
                    <a:pt x="25" y="66"/>
                  </a:cubicBezTo>
                  <a:cubicBezTo>
                    <a:pt x="26" y="66"/>
                    <a:pt x="26" y="65"/>
                    <a:pt x="27" y="65"/>
                  </a:cubicBezTo>
                  <a:cubicBezTo>
                    <a:pt x="27" y="66"/>
                    <a:pt x="28" y="67"/>
                    <a:pt x="29" y="67"/>
                  </a:cubicBezTo>
                  <a:cubicBezTo>
                    <a:pt x="29" y="67"/>
                    <a:pt x="31" y="65"/>
                    <a:pt x="32" y="64"/>
                  </a:cubicBezTo>
                  <a:cubicBezTo>
                    <a:pt x="33" y="64"/>
                    <a:pt x="35" y="63"/>
                    <a:pt x="36" y="63"/>
                  </a:cubicBezTo>
                  <a:cubicBezTo>
                    <a:pt x="37" y="63"/>
                    <a:pt x="37" y="62"/>
                    <a:pt x="38" y="62"/>
                  </a:cubicBezTo>
                  <a:cubicBezTo>
                    <a:pt x="38" y="62"/>
                    <a:pt x="40" y="63"/>
                    <a:pt x="39" y="64"/>
                  </a:cubicBezTo>
                  <a:cubicBezTo>
                    <a:pt x="39" y="65"/>
                    <a:pt x="38" y="66"/>
                    <a:pt x="37" y="66"/>
                  </a:cubicBezTo>
                  <a:cubicBezTo>
                    <a:pt x="37" y="66"/>
                    <a:pt x="38" y="68"/>
                    <a:pt x="39" y="69"/>
                  </a:cubicBezTo>
                  <a:cubicBezTo>
                    <a:pt x="39" y="70"/>
                    <a:pt x="40" y="71"/>
                    <a:pt x="40" y="72"/>
                  </a:cubicBezTo>
                  <a:cubicBezTo>
                    <a:pt x="39" y="73"/>
                    <a:pt x="38" y="75"/>
                    <a:pt x="35" y="75"/>
                  </a:cubicBezTo>
                  <a:cubicBezTo>
                    <a:pt x="32" y="75"/>
                    <a:pt x="31" y="74"/>
                    <a:pt x="31" y="75"/>
                  </a:cubicBezTo>
                  <a:cubicBezTo>
                    <a:pt x="31" y="75"/>
                    <a:pt x="29" y="78"/>
                    <a:pt x="28" y="78"/>
                  </a:cubicBezTo>
                  <a:cubicBezTo>
                    <a:pt x="26" y="79"/>
                    <a:pt x="24" y="78"/>
                    <a:pt x="23" y="78"/>
                  </a:cubicBezTo>
                  <a:cubicBezTo>
                    <a:pt x="22" y="77"/>
                    <a:pt x="20" y="77"/>
                    <a:pt x="20" y="78"/>
                  </a:cubicBezTo>
                  <a:cubicBezTo>
                    <a:pt x="19" y="79"/>
                    <a:pt x="20" y="79"/>
                    <a:pt x="19" y="79"/>
                  </a:cubicBezTo>
                  <a:cubicBezTo>
                    <a:pt x="19" y="79"/>
                    <a:pt x="18" y="80"/>
                    <a:pt x="17" y="81"/>
                  </a:cubicBezTo>
                  <a:cubicBezTo>
                    <a:pt x="16" y="82"/>
                    <a:pt x="19" y="81"/>
                    <a:pt x="19" y="82"/>
                  </a:cubicBezTo>
                  <a:cubicBezTo>
                    <a:pt x="19" y="82"/>
                    <a:pt x="18" y="82"/>
                    <a:pt x="18" y="83"/>
                  </a:cubicBezTo>
                  <a:cubicBezTo>
                    <a:pt x="18" y="83"/>
                    <a:pt x="18" y="84"/>
                    <a:pt x="17" y="84"/>
                  </a:cubicBezTo>
                  <a:cubicBezTo>
                    <a:pt x="15" y="84"/>
                    <a:pt x="13" y="86"/>
                    <a:pt x="13" y="87"/>
                  </a:cubicBezTo>
                  <a:cubicBezTo>
                    <a:pt x="12" y="88"/>
                    <a:pt x="13" y="88"/>
                    <a:pt x="13" y="89"/>
                  </a:cubicBezTo>
                  <a:cubicBezTo>
                    <a:pt x="13" y="90"/>
                    <a:pt x="11" y="91"/>
                    <a:pt x="11" y="91"/>
                  </a:cubicBezTo>
                  <a:cubicBezTo>
                    <a:pt x="11" y="92"/>
                    <a:pt x="12" y="94"/>
                    <a:pt x="13" y="95"/>
                  </a:cubicBezTo>
                  <a:cubicBezTo>
                    <a:pt x="14" y="96"/>
                    <a:pt x="15" y="93"/>
                    <a:pt x="16" y="92"/>
                  </a:cubicBezTo>
                  <a:cubicBezTo>
                    <a:pt x="17" y="91"/>
                    <a:pt x="19" y="90"/>
                    <a:pt x="17" y="92"/>
                  </a:cubicBezTo>
                  <a:cubicBezTo>
                    <a:pt x="15" y="94"/>
                    <a:pt x="15" y="94"/>
                    <a:pt x="16" y="96"/>
                  </a:cubicBezTo>
                  <a:cubicBezTo>
                    <a:pt x="18" y="97"/>
                    <a:pt x="20" y="98"/>
                    <a:pt x="20" y="98"/>
                  </a:cubicBezTo>
                  <a:cubicBezTo>
                    <a:pt x="21" y="98"/>
                    <a:pt x="24" y="96"/>
                    <a:pt x="24" y="96"/>
                  </a:cubicBezTo>
                  <a:cubicBezTo>
                    <a:pt x="23" y="97"/>
                    <a:pt x="23" y="98"/>
                    <a:pt x="24" y="98"/>
                  </a:cubicBezTo>
                  <a:cubicBezTo>
                    <a:pt x="24" y="98"/>
                    <a:pt x="25" y="99"/>
                    <a:pt x="25" y="99"/>
                  </a:cubicBezTo>
                  <a:cubicBezTo>
                    <a:pt x="24" y="100"/>
                    <a:pt x="23" y="100"/>
                    <a:pt x="22" y="100"/>
                  </a:cubicBezTo>
                  <a:cubicBezTo>
                    <a:pt x="22" y="99"/>
                    <a:pt x="22" y="99"/>
                    <a:pt x="20" y="100"/>
                  </a:cubicBezTo>
                  <a:cubicBezTo>
                    <a:pt x="19" y="100"/>
                    <a:pt x="18" y="96"/>
                    <a:pt x="17" y="98"/>
                  </a:cubicBezTo>
                  <a:cubicBezTo>
                    <a:pt x="16" y="99"/>
                    <a:pt x="15" y="101"/>
                    <a:pt x="15" y="101"/>
                  </a:cubicBezTo>
                  <a:cubicBezTo>
                    <a:pt x="16" y="101"/>
                    <a:pt x="17" y="102"/>
                    <a:pt x="18" y="102"/>
                  </a:cubicBezTo>
                  <a:cubicBezTo>
                    <a:pt x="19" y="103"/>
                    <a:pt x="21" y="106"/>
                    <a:pt x="22" y="106"/>
                  </a:cubicBezTo>
                  <a:cubicBezTo>
                    <a:pt x="23" y="107"/>
                    <a:pt x="25" y="106"/>
                    <a:pt x="27" y="105"/>
                  </a:cubicBezTo>
                  <a:cubicBezTo>
                    <a:pt x="28" y="105"/>
                    <a:pt x="30" y="106"/>
                    <a:pt x="30" y="104"/>
                  </a:cubicBezTo>
                  <a:cubicBezTo>
                    <a:pt x="30" y="103"/>
                    <a:pt x="30" y="101"/>
                    <a:pt x="31" y="100"/>
                  </a:cubicBezTo>
                  <a:cubicBezTo>
                    <a:pt x="33" y="98"/>
                    <a:pt x="35" y="98"/>
                    <a:pt x="33" y="100"/>
                  </a:cubicBezTo>
                  <a:cubicBezTo>
                    <a:pt x="31" y="101"/>
                    <a:pt x="30" y="102"/>
                    <a:pt x="31" y="105"/>
                  </a:cubicBezTo>
                  <a:cubicBezTo>
                    <a:pt x="33" y="107"/>
                    <a:pt x="34" y="108"/>
                    <a:pt x="34" y="109"/>
                  </a:cubicBezTo>
                  <a:cubicBezTo>
                    <a:pt x="34" y="110"/>
                    <a:pt x="33" y="110"/>
                    <a:pt x="33" y="111"/>
                  </a:cubicBezTo>
                  <a:cubicBezTo>
                    <a:pt x="33" y="112"/>
                    <a:pt x="35" y="112"/>
                    <a:pt x="35" y="113"/>
                  </a:cubicBezTo>
                  <a:cubicBezTo>
                    <a:pt x="34" y="113"/>
                    <a:pt x="34" y="114"/>
                    <a:pt x="33" y="115"/>
                  </a:cubicBezTo>
                  <a:cubicBezTo>
                    <a:pt x="33" y="115"/>
                    <a:pt x="31" y="117"/>
                    <a:pt x="34" y="116"/>
                  </a:cubicBezTo>
                  <a:cubicBezTo>
                    <a:pt x="36" y="115"/>
                    <a:pt x="38" y="113"/>
                    <a:pt x="39" y="114"/>
                  </a:cubicBezTo>
                  <a:cubicBezTo>
                    <a:pt x="39" y="114"/>
                    <a:pt x="37" y="117"/>
                    <a:pt x="38" y="116"/>
                  </a:cubicBezTo>
                  <a:cubicBezTo>
                    <a:pt x="38" y="116"/>
                    <a:pt x="40" y="114"/>
                    <a:pt x="41" y="113"/>
                  </a:cubicBezTo>
                  <a:cubicBezTo>
                    <a:pt x="42" y="113"/>
                    <a:pt x="43" y="113"/>
                    <a:pt x="44" y="114"/>
                  </a:cubicBezTo>
                  <a:cubicBezTo>
                    <a:pt x="45" y="114"/>
                    <a:pt x="46" y="114"/>
                    <a:pt x="47" y="114"/>
                  </a:cubicBezTo>
                  <a:cubicBezTo>
                    <a:pt x="47" y="115"/>
                    <a:pt x="48" y="117"/>
                    <a:pt x="49" y="117"/>
                  </a:cubicBezTo>
                  <a:cubicBezTo>
                    <a:pt x="50" y="118"/>
                    <a:pt x="50" y="117"/>
                    <a:pt x="50" y="116"/>
                  </a:cubicBezTo>
                  <a:cubicBezTo>
                    <a:pt x="50" y="115"/>
                    <a:pt x="52" y="113"/>
                    <a:pt x="52" y="112"/>
                  </a:cubicBezTo>
                  <a:cubicBezTo>
                    <a:pt x="52" y="111"/>
                    <a:pt x="52" y="111"/>
                    <a:pt x="52" y="111"/>
                  </a:cubicBezTo>
                  <a:cubicBezTo>
                    <a:pt x="53" y="112"/>
                    <a:pt x="54" y="112"/>
                    <a:pt x="54" y="113"/>
                  </a:cubicBezTo>
                  <a:cubicBezTo>
                    <a:pt x="55" y="113"/>
                    <a:pt x="55" y="113"/>
                    <a:pt x="53" y="113"/>
                  </a:cubicBezTo>
                  <a:cubicBezTo>
                    <a:pt x="52" y="113"/>
                    <a:pt x="52" y="114"/>
                    <a:pt x="52" y="115"/>
                  </a:cubicBezTo>
                  <a:cubicBezTo>
                    <a:pt x="53" y="116"/>
                    <a:pt x="55" y="116"/>
                    <a:pt x="56" y="115"/>
                  </a:cubicBezTo>
                  <a:cubicBezTo>
                    <a:pt x="58" y="113"/>
                    <a:pt x="59" y="115"/>
                    <a:pt x="59" y="114"/>
                  </a:cubicBezTo>
                  <a:cubicBezTo>
                    <a:pt x="60" y="113"/>
                    <a:pt x="62" y="111"/>
                    <a:pt x="62" y="112"/>
                  </a:cubicBezTo>
                  <a:cubicBezTo>
                    <a:pt x="62" y="112"/>
                    <a:pt x="61" y="112"/>
                    <a:pt x="61" y="113"/>
                  </a:cubicBezTo>
                  <a:cubicBezTo>
                    <a:pt x="60" y="114"/>
                    <a:pt x="59" y="117"/>
                    <a:pt x="58" y="117"/>
                  </a:cubicBezTo>
                  <a:cubicBezTo>
                    <a:pt x="58" y="118"/>
                    <a:pt x="58" y="119"/>
                    <a:pt x="59" y="119"/>
                  </a:cubicBezTo>
                  <a:cubicBezTo>
                    <a:pt x="59" y="119"/>
                    <a:pt x="59" y="120"/>
                    <a:pt x="58" y="120"/>
                  </a:cubicBezTo>
                  <a:cubicBezTo>
                    <a:pt x="57" y="120"/>
                    <a:pt x="57" y="120"/>
                    <a:pt x="57" y="121"/>
                  </a:cubicBezTo>
                  <a:cubicBezTo>
                    <a:pt x="57" y="122"/>
                    <a:pt x="56" y="124"/>
                    <a:pt x="57" y="124"/>
                  </a:cubicBezTo>
                  <a:cubicBezTo>
                    <a:pt x="58" y="124"/>
                    <a:pt x="58" y="125"/>
                    <a:pt x="57" y="125"/>
                  </a:cubicBezTo>
                  <a:cubicBezTo>
                    <a:pt x="55" y="125"/>
                    <a:pt x="53" y="127"/>
                    <a:pt x="52" y="129"/>
                  </a:cubicBezTo>
                  <a:cubicBezTo>
                    <a:pt x="50" y="131"/>
                    <a:pt x="49" y="131"/>
                    <a:pt x="47" y="132"/>
                  </a:cubicBezTo>
                  <a:cubicBezTo>
                    <a:pt x="46" y="133"/>
                    <a:pt x="42" y="135"/>
                    <a:pt x="41" y="136"/>
                  </a:cubicBezTo>
                  <a:cubicBezTo>
                    <a:pt x="41" y="137"/>
                    <a:pt x="41" y="138"/>
                    <a:pt x="42" y="138"/>
                  </a:cubicBezTo>
                  <a:cubicBezTo>
                    <a:pt x="42" y="138"/>
                    <a:pt x="42" y="139"/>
                    <a:pt x="41" y="139"/>
                  </a:cubicBezTo>
                  <a:cubicBezTo>
                    <a:pt x="40" y="139"/>
                    <a:pt x="39" y="139"/>
                    <a:pt x="39" y="138"/>
                  </a:cubicBezTo>
                  <a:cubicBezTo>
                    <a:pt x="38" y="138"/>
                    <a:pt x="38" y="138"/>
                    <a:pt x="37" y="138"/>
                  </a:cubicBezTo>
                  <a:cubicBezTo>
                    <a:pt x="36" y="138"/>
                    <a:pt x="34" y="138"/>
                    <a:pt x="32" y="139"/>
                  </a:cubicBezTo>
                  <a:cubicBezTo>
                    <a:pt x="31" y="141"/>
                    <a:pt x="30" y="142"/>
                    <a:pt x="30" y="142"/>
                  </a:cubicBezTo>
                  <a:cubicBezTo>
                    <a:pt x="30" y="143"/>
                    <a:pt x="29" y="145"/>
                    <a:pt x="31" y="144"/>
                  </a:cubicBezTo>
                  <a:cubicBezTo>
                    <a:pt x="33" y="143"/>
                    <a:pt x="35" y="141"/>
                    <a:pt x="35" y="140"/>
                  </a:cubicBezTo>
                  <a:cubicBezTo>
                    <a:pt x="36" y="140"/>
                    <a:pt x="37" y="140"/>
                    <a:pt x="37" y="140"/>
                  </a:cubicBezTo>
                  <a:cubicBezTo>
                    <a:pt x="36" y="140"/>
                    <a:pt x="35" y="142"/>
                    <a:pt x="37" y="142"/>
                  </a:cubicBezTo>
                  <a:cubicBezTo>
                    <a:pt x="38" y="142"/>
                    <a:pt x="38" y="141"/>
                    <a:pt x="39" y="141"/>
                  </a:cubicBezTo>
                  <a:cubicBezTo>
                    <a:pt x="39" y="141"/>
                    <a:pt x="39" y="142"/>
                    <a:pt x="40" y="142"/>
                  </a:cubicBezTo>
                  <a:cubicBezTo>
                    <a:pt x="41" y="142"/>
                    <a:pt x="42" y="142"/>
                    <a:pt x="42" y="141"/>
                  </a:cubicBezTo>
                  <a:cubicBezTo>
                    <a:pt x="42" y="140"/>
                    <a:pt x="42" y="140"/>
                    <a:pt x="43" y="140"/>
                  </a:cubicBezTo>
                  <a:cubicBezTo>
                    <a:pt x="44" y="139"/>
                    <a:pt x="44" y="139"/>
                    <a:pt x="45" y="139"/>
                  </a:cubicBezTo>
                  <a:cubicBezTo>
                    <a:pt x="46" y="139"/>
                    <a:pt x="46" y="138"/>
                    <a:pt x="47" y="138"/>
                  </a:cubicBezTo>
                  <a:cubicBezTo>
                    <a:pt x="48" y="137"/>
                    <a:pt x="54" y="136"/>
                    <a:pt x="53" y="135"/>
                  </a:cubicBezTo>
                  <a:cubicBezTo>
                    <a:pt x="53" y="135"/>
                    <a:pt x="52" y="134"/>
                    <a:pt x="53" y="133"/>
                  </a:cubicBezTo>
                  <a:cubicBezTo>
                    <a:pt x="54" y="133"/>
                    <a:pt x="64" y="128"/>
                    <a:pt x="64" y="128"/>
                  </a:cubicBezTo>
                  <a:cubicBezTo>
                    <a:pt x="64" y="127"/>
                    <a:pt x="62" y="127"/>
                    <a:pt x="63" y="126"/>
                  </a:cubicBezTo>
                  <a:cubicBezTo>
                    <a:pt x="65" y="126"/>
                    <a:pt x="67" y="125"/>
                    <a:pt x="68" y="124"/>
                  </a:cubicBezTo>
                  <a:cubicBezTo>
                    <a:pt x="70" y="123"/>
                    <a:pt x="73" y="120"/>
                    <a:pt x="75" y="120"/>
                  </a:cubicBezTo>
                  <a:cubicBezTo>
                    <a:pt x="76" y="120"/>
                    <a:pt x="76" y="120"/>
                    <a:pt x="76" y="118"/>
                  </a:cubicBezTo>
                  <a:cubicBezTo>
                    <a:pt x="76" y="116"/>
                    <a:pt x="79" y="117"/>
                    <a:pt x="80" y="115"/>
                  </a:cubicBezTo>
                  <a:cubicBezTo>
                    <a:pt x="81" y="114"/>
                    <a:pt x="78" y="113"/>
                    <a:pt x="77" y="112"/>
                  </a:cubicBezTo>
                  <a:cubicBezTo>
                    <a:pt x="76" y="112"/>
                    <a:pt x="76" y="110"/>
                    <a:pt x="78" y="109"/>
                  </a:cubicBezTo>
                  <a:cubicBezTo>
                    <a:pt x="79" y="108"/>
                    <a:pt x="81" y="107"/>
                    <a:pt x="83" y="106"/>
                  </a:cubicBezTo>
                  <a:cubicBezTo>
                    <a:pt x="84" y="105"/>
                    <a:pt x="85" y="104"/>
                    <a:pt x="83" y="102"/>
                  </a:cubicBezTo>
                  <a:cubicBezTo>
                    <a:pt x="81" y="101"/>
                    <a:pt x="83" y="102"/>
                    <a:pt x="84" y="102"/>
                  </a:cubicBezTo>
                  <a:cubicBezTo>
                    <a:pt x="85" y="103"/>
                    <a:pt x="86" y="102"/>
                    <a:pt x="87" y="101"/>
                  </a:cubicBezTo>
                  <a:cubicBezTo>
                    <a:pt x="88" y="99"/>
                    <a:pt x="89" y="98"/>
                    <a:pt x="91" y="97"/>
                  </a:cubicBezTo>
                  <a:cubicBezTo>
                    <a:pt x="92" y="96"/>
                    <a:pt x="95" y="94"/>
                    <a:pt x="96" y="94"/>
                  </a:cubicBezTo>
                  <a:cubicBezTo>
                    <a:pt x="97" y="93"/>
                    <a:pt x="98" y="94"/>
                    <a:pt x="100" y="94"/>
                  </a:cubicBezTo>
                  <a:cubicBezTo>
                    <a:pt x="102" y="95"/>
                    <a:pt x="101" y="96"/>
                    <a:pt x="99" y="96"/>
                  </a:cubicBezTo>
                  <a:cubicBezTo>
                    <a:pt x="97" y="96"/>
                    <a:pt x="97" y="96"/>
                    <a:pt x="96" y="96"/>
                  </a:cubicBezTo>
                  <a:cubicBezTo>
                    <a:pt x="95" y="97"/>
                    <a:pt x="92" y="98"/>
                    <a:pt x="92" y="100"/>
                  </a:cubicBezTo>
                  <a:cubicBezTo>
                    <a:pt x="92" y="102"/>
                    <a:pt x="90" y="104"/>
                    <a:pt x="90" y="106"/>
                  </a:cubicBezTo>
                  <a:cubicBezTo>
                    <a:pt x="89" y="108"/>
                    <a:pt x="89" y="108"/>
                    <a:pt x="90" y="107"/>
                  </a:cubicBezTo>
                  <a:cubicBezTo>
                    <a:pt x="92" y="107"/>
                    <a:pt x="94" y="108"/>
                    <a:pt x="92" y="108"/>
                  </a:cubicBezTo>
                  <a:cubicBezTo>
                    <a:pt x="90" y="109"/>
                    <a:pt x="89" y="110"/>
                    <a:pt x="89" y="110"/>
                  </a:cubicBezTo>
                  <a:cubicBezTo>
                    <a:pt x="90" y="111"/>
                    <a:pt x="92" y="111"/>
                    <a:pt x="94" y="110"/>
                  </a:cubicBezTo>
                  <a:cubicBezTo>
                    <a:pt x="96" y="109"/>
                    <a:pt x="97" y="108"/>
                    <a:pt x="99" y="107"/>
                  </a:cubicBezTo>
                  <a:cubicBezTo>
                    <a:pt x="100" y="106"/>
                    <a:pt x="103" y="105"/>
                    <a:pt x="104" y="104"/>
                  </a:cubicBezTo>
                  <a:cubicBezTo>
                    <a:pt x="106" y="104"/>
                    <a:pt x="108" y="104"/>
                    <a:pt x="109" y="103"/>
                  </a:cubicBezTo>
                  <a:cubicBezTo>
                    <a:pt x="110" y="102"/>
                    <a:pt x="108" y="99"/>
                    <a:pt x="108" y="98"/>
                  </a:cubicBezTo>
                  <a:cubicBezTo>
                    <a:pt x="108" y="98"/>
                    <a:pt x="110" y="96"/>
                    <a:pt x="111" y="96"/>
                  </a:cubicBezTo>
                  <a:cubicBezTo>
                    <a:pt x="112" y="96"/>
                    <a:pt x="113" y="96"/>
                    <a:pt x="115" y="96"/>
                  </a:cubicBezTo>
                  <a:cubicBezTo>
                    <a:pt x="116" y="96"/>
                    <a:pt x="120" y="98"/>
                    <a:pt x="121" y="98"/>
                  </a:cubicBezTo>
                  <a:cubicBezTo>
                    <a:pt x="122" y="99"/>
                    <a:pt x="125" y="102"/>
                    <a:pt x="126" y="101"/>
                  </a:cubicBezTo>
                  <a:cubicBezTo>
                    <a:pt x="126" y="101"/>
                    <a:pt x="129" y="98"/>
                    <a:pt x="128" y="99"/>
                  </a:cubicBezTo>
                  <a:cubicBezTo>
                    <a:pt x="128" y="101"/>
                    <a:pt x="130" y="103"/>
                    <a:pt x="131" y="103"/>
                  </a:cubicBezTo>
                  <a:cubicBezTo>
                    <a:pt x="132" y="104"/>
                    <a:pt x="136" y="104"/>
                    <a:pt x="138" y="104"/>
                  </a:cubicBezTo>
                  <a:cubicBezTo>
                    <a:pt x="140" y="104"/>
                    <a:pt x="140" y="103"/>
                    <a:pt x="141" y="103"/>
                  </a:cubicBezTo>
                  <a:cubicBezTo>
                    <a:pt x="142" y="104"/>
                    <a:pt x="144" y="104"/>
                    <a:pt x="145" y="104"/>
                  </a:cubicBezTo>
                  <a:cubicBezTo>
                    <a:pt x="147" y="104"/>
                    <a:pt x="145" y="104"/>
                    <a:pt x="147" y="105"/>
                  </a:cubicBezTo>
                  <a:cubicBezTo>
                    <a:pt x="149" y="106"/>
                    <a:pt x="153" y="108"/>
                    <a:pt x="155" y="106"/>
                  </a:cubicBezTo>
                  <a:cubicBezTo>
                    <a:pt x="156" y="105"/>
                    <a:pt x="158" y="104"/>
                    <a:pt x="158" y="105"/>
                  </a:cubicBezTo>
                  <a:cubicBezTo>
                    <a:pt x="158" y="106"/>
                    <a:pt x="156" y="108"/>
                    <a:pt x="157" y="108"/>
                  </a:cubicBezTo>
                  <a:cubicBezTo>
                    <a:pt x="157" y="109"/>
                    <a:pt x="163" y="111"/>
                    <a:pt x="164" y="112"/>
                  </a:cubicBezTo>
                  <a:cubicBezTo>
                    <a:pt x="166" y="114"/>
                    <a:pt x="172" y="118"/>
                    <a:pt x="173" y="118"/>
                  </a:cubicBezTo>
                  <a:cubicBezTo>
                    <a:pt x="173" y="118"/>
                    <a:pt x="176" y="117"/>
                    <a:pt x="176" y="116"/>
                  </a:cubicBezTo>
                  <a:cubicBezTo>
                    <a:pt x="176" y="116"/>
                    <a:pt x="174" y="114"/>
                    <a:pt x="175" y="114"/>
                  </a:cubicBezTo>
                  <a:cubicBezTo>
                    <a:pt x="175" y="113"/>
                    <a:pt x="177" y="114"/>
                    <a:pt x="177" y="115"/>
                  </a:cubicBezTo>
                  <a:cubicBezTo>
                    <a:pt x="177" y="115"/>
                    <a:pt x="178" y="117"/>
                    <a:pt x="179" y="117"/>
                  </a:cubicBezTo>
                  <a:cubicBezTo>
                    <a:pt x="179" y="117"/>
                    <a:pt x="182" y="117"/>
                    <a:pt x="182" y="117"/>
                  </a:cubicBezTo>
                  <a:cubicBezTo>
                    <a:pt x="182" y="117"/>
                    <a:pt x="181" y="113"/>
                    <a:pt x="180" y="112"/>
                  </a:cubicBezTo>
                  <a:cubicBezTo>
                    <a:pt x="180" y="111"/>
                    <a:pt x="180" y="110"/>
                    <a:pt x="181" y="111"/>
                  </a:cubicBezTo>
                  <a:cubicBezTo>
                    <a:pt x="181" y="112"/>
                    <a:pt x="184" y="117"/>
                    <a:pt x="185" y="118"/>
                  </a:cubicBezTo>
                  <a:cubicBezTo>
                    <a:pt x="186" y="119"/>
                    <a:pt x="187" y="120"/>
                    <a:pt x="187" y="119"/>
                  </a:cubicBezTo>
                  <a:cubicBezTo>
                    <a:pt x="188" y="118"/>
                    <a:pt x="189" y="116"/>
                    <a:pt x="189" y="117"/>
                  </a:cubicBezTo>
                  <a:cubicBezTo>
                    <a:pt x="188" y="118"/>
                    <a:pt x="189" y="120"/>
                    <a:pt x="191" y="121"/>
                  </a:cubicBezTo>
                  <a:cubicBezTo>
                    <a:pt x="192" y="123"/>
                    <a:pt x="192" y="123"/>
                    <a:pt x="193" y="123"/>
                  </a:cubicBezTo>
                  <a:cubicBezTo>
                    <a:pt x="193" y="123"/>
                    <a:pt x="192" y="124"/>
                    <a:pt x="192" y="124"/>
                  </a:cubicBezTo>
                  <a:cubicBezTo>
                    <a:pt x="192" y="125"/>
                    <a:pt x="192" y="125"/>
                    <a:pt x="193" y="126"/>
                  </a:cubicBezTo>
                  <a:cubicBezTo>
                    <a:pt x="193" y="126"/>
                    <a:pt x="193" y="126"/>
                    <a:pt x="193" y="126"/>
                  </a:cubicBezTo>
                  <a:cubicBezTo>
                    <a:pt x="192" y="127"/>
                    <a:pt x="191" y="127"/>
                    <a:pt x="192" y="127"/>
                  </a:cubicBezTo>
                  <a:cubicBezTo>
                    <a:pt x="193" y="128"/>
                    <a:pt x="195" y="129"/>
                    <a:pt x="195" y="130"/>
                  </a:cubicBezTo>
                  <a:cubicBezTo>
                    <a:pt x="196" y="131"/>
                    <a:pt x="200" y="135"/>
                    <a:pt x="200" y="135"/>
                  </a:cubicBezTo>
                  <a:cubicBezTo>
                    <a:pt x="201" y="135"/>
                    <a:pt x="202" y="134"/>
                    <a:pt x="201" y="135"/>
                  </a:cubicBezTo>
                  <a:cubicBezTo>
                    <a:pt x="201" y="135"/>
                    <a:pt x="199" y="138"/>
                    <a:pt x="199" y="139"/>
                  </a:cubicBezTo>
                  <a:cubicBezTo>
                    <a:pt x="200" y="140"/>
                    <a:pt x="200" y="140"/>
                    <a:pt x="201" y="139"/>
                  </a:cubicBezTo>
                  <a:cubicBezTo>
                    <a:pt x="201" y="138"/>
                    <a:pt x="201" y="137"/>
                    <a:pt x="202" y="139"/>
                  </a:cubicBezTo>
                  <a:cubicBezTo>
                    <a:pt x="202" y="141"/>
                    <a:pt x="203" y="142"/>
                    <a:pt x="203" y="141"/>
                  </a:cubicBezTo>
                  <a:cubicBezTo>
                    <a:pt x="203" y="140"/>
                    <a:pt x="203" y="139"/>
                    <a:pt x="204" y="140"/>
                  </a:cubicBezTo>
                  <a:cubicBezTo>
                    <a:pt x="204" y="141"/>
                    <a:pt x="204" y="142"/>
                    <a:pt x="205" y="142"/>
                  </a:cubicBezTo>
                  <a:cubicBezTo>
                    <a:pt x="206" y="142"/>
                    <a:pt x="205" y="142"/>
                    <a:pt x="207" y="143"/>
                  </a:cubicBezTo>
                  <a:cubicBezTo>
                    <a:pt x="208" y="143"/>
                    <a:pt x="210" y="144"/>
                    <a:pt x="210" y="143"/>
                  </a:cubicBezTo>
                  <a:cubicBezTo>
                    <a:pt x="211" y="142"/>
                    <a:pt x="210" y="141"/>
                    <a:pt x="211" y="142"/>
                  </a:cubicBezTo>
                  <a:cubicBezTo>
                    <a:pt x="211" y="142"/>
                    <a:pt x="211" y="142"/>
                    <a:pt x="211" y="143"/>
                  </a:cubicBezTo>
                  <a:cubicBezTo>
                    <a:pt x="211" y="142"/>
                    <a:pt x="212" y="141"/>
                    <a:pt x="212" y="141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07" name="Freeform 622">
              <a:extLst>
                <a:ext uri="{FF2B5EF4-FFF2-40B4-BE49-F238E27FC236}">
                  <a16:creationId xmlns:a16="http://schemas.microsoft.com/office/drawing/2014/main" id="{360344F3-26BA-6A76-38A7-744E9F8ED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668" y="3012994"/>
              <a:ext cx="1035282" cy="515820"/>
            </a:xfrm>
            <a:custGeom>
              <a:avLst/>
              <a:gdLst>
                <a:gd name="T0" fmla="*/ 111 w 320"/>
                <a:gd name="T1" fmla="*/ 124 h 159"/>
                <a:gd name="T2" fmla="*/ 136 w 320"/>
                <a:gd name="T3" fmla="*/ 138 h 159"/>
                <a:gd name="T4" fmla="*/ 151 w 320"/>
                <a:gd name="T5" fmla="*/ 143 h 159"/>
                <a:gd name="T6" fmla="*/ 164 w 320"/>
                <a:gd name="T7" fmla="*/ 134 h 159"/>
                <a:gd name="T8" fmla="*/ 177 w 320"/>
                <a:gd name="T9" fmla="*/ 130 h 159"/>
                <a:gd name="T10" fmla="*/ 196 w 320"/>
                <a:gd name="T11" fmla="*/ 134 h 159"/>
                <a:gd name="T12" fmla="*/ 194 w 320"/>
                <a:gd name="T13" fmla="*/ 128 h 159"/>
                <a:gd name="T14" fmla="*/ 200 w 320"/>
                <a:gd name="T15" fmla="*/ 126 h 159"/>
                <a:gd name="T16" fmla="*/ 218 w 320"/>
                <a:gd name="T17" fmla="*/ 129 h 159"/>
                <a:gd name="T18" fmla="*/ 232 w 320"/>
                <a:gd name="T19" fmla="*/ 140 h 159"/>
                <a:gd name="T20" fmla="*/ 237 w 320"/>
                <a:gd name="T21" fmla="*/ 148 h 159"/>
                <a:gd name="T22" fmla="*/ 244 w 320"/>
                <a:gd name="T23" fmla="*/ 158 h 159"/>
                <a:gd name="T24" fmla="*/ 241 w 320"/>
                <a:gd name="T25" fmla="*/ 130 h 159"/>
                <a:gd name="T26" fmla="*/ 252 w 320"/>
                <a:gd name="T27" fmla="*/ 106 h 159"/>
                <a:gd name="T28" fmla="*/ 268 w 320"/>
                <a:gd name="T29" fmla="*/ 97 h 159"/>
                <a:gd name="T30" fmla="*/ 266 w 320"/>
                <a:gd name="T31" fmla="*/ 94 h 159"/>
                <a:gd name="T32" fmla="*/ 270 w 320"/>
                <a:gd name="T33" fmla="*/ 91 h 159"/>
                <a:gd name="T34" fmla="*/ 268 w 320"/>
                <a:gd name="T35" fmla="*/ 90 h 159"/>
                <a:gd name="T36" fmla="*/ 266 w 320"/>
                <a:gd name="T37" fmla="*/ 84 h 159"/>
                <a:gd name="T38" fmla="*/ 262 w 320"/>
                <a:gd name="T39" fmla="*/ 76 h 159"/>
                <a:gd name="T40" fmla="*/ 266 w 320"/>
                <a:gd name="T41" fmla="*/ 76 h 159"/>
                <a:gd name="T42" fmla="*/ 269 w 320"/>
                <a:gd name="T43" fmla="*/ 75 h 159"/>
                <a:gd name="T44" fmla="*/ 275 w 320"/>
                <a:gd name="T45" fmla="*/ 74 h 159"/>
                <a:gd name="T46" fmla="*/ 274 w 320"/>
                <a:gd name="T47" fmla="*/ 70 h 159"/>
                <a:gd name="T48" fmla="*/ 281 w 320"/>
                <a:gd name="T49" fmla="*/ 58 h 159"/>
                <a:gd name="T50" fmla="*/ 295 w 320"/>
                <a:gd name="T51" fmla="*/ 55 h 159"/>
                <a:gd name="T52" fmla="*/ 301 w 320"/>
                <a:gd name="T53" fmla="*/ 54 h 159"/>
                <a:gd name="T54" fmla="*/ 300 w 320"/>
                <a:gd name="T55" fmla="*/ 53 h 159"/>
                <a:gd name="T56" fmla="*/ 300 w 320"/>
                <a:gd name="T57" fmla="*/ 43 h 159"/>
                <a:gd name="T58" fmla="*/ 308 w 320"/>
                <a:gd name="T59" fmla="*/ 37 h 159"/>
                <a:gd name="T60" fmla="*/ 320 w 320"/>
                <a:gd name="T61" fmla="*/ 32 h 159"/>
                <a:gd name="T62" fmla="*/ 312 w 320"/>
                <a:gd name="T63" fmla="*/ 15 h 159"/>
                <a:gd name="T64" fmla="*/ 301 w 320"/>
                <a:gd name="T65" fmla="*/ 24 h 159"/>
                <a:gd name="T66" fmla="*/ 267 w 320"/>
                <a:gd name="T67" fmla="*/ 38 h 159"/>
                <a:gd name="T68" fmla="*/ 252 w 320"/>
                <a:gd name="T69" fmla="*/ 43 h 159"/>
                <a:gd name="T70" fmla="*/ 232 w 320"/>
                <a:gd name="T71" fmla="*/ 55 h 159"/>
                <a:gd name="T72" fmla="*/ 233 w 320"/>
                <a:gd name="T73" fmla="*/ 45 h 159"/>
                <a:gd name="T74" fmla="*/ 226 w 320"/>
                <a:gd name="T75" fmla="*/ 39 h 159"/>
                <a:gd name="T76" fmla="*/ 217 w 320"/>
                <a:gd name="T77" fmla="*/ 32 h 159"/>
                <a:gd name="T78" fmla="*/ 209 w 320"/>
                <a:gd name="T79" fmla="*/ 53 h 159"/>
                <a:gd name="T80" fmla="*/ 204 w 320"/>
                <a:gd name="T81" fmla="*/ 34 h 159"/>
                <a:gd name="T82" fmla="*/ 223 w 320"/>
                <a:gd name="T83" fmla="*/ 22 h 159"/>
                <a:gd name="T84" fmla="*/ 201 w 320"/>
                <a:gd name="T85" fmla="*/ 17 h 159"/>
                <a:gd name="T86" fmla="*/ 187 w 320"/>
                <a:gd name="T87" fmla="*/ 18 h 159"/>
                <a:gd name="T88" fmla="*/ 187 w 320"/>
                <a:gd name="T89" fmla="*/ 9 h 159"/>
                <a:gd name="T90" fmla="*/ 170 w 320"/>
                <a:gd name="T91" fmla="*/ 6 h 159"/>
                <a:gd name="T92" fmla="*/ 12 w 320"/>
                <a:gd name="T93" fmla="*/ 4 h 159"/>
                <a:gd name="T94" fmla="*/ 12 w 320"/>
                <a:gd name="T95" fmla="*/ 10 h 159"/>
                <a:gd name="T96" fmla="*/ 8 w 320"/>
                <a:gd name="T97" fmla="*/ 23 h 159"/>
                <a:gd name="T98" fmla="*/ 3 w 320"/>
                <a:gd name="T99" fmla="*/ 52 h 159"/>
                <a:gd name="T100" fmla="*/ 10 w 320"/>
                <a:gd name="T101" fmla="*/ 76 h 159"/>
                <a:gd name="T102" fmla="*/ 15 w 320"/>
                <a:gd name="T103" fmla="*/ 85 h 159"/>
                <a:gd name="T104" fmla="*/ 32 w 320"/>
                <a:gd name="T105" fmla="*/ 103 h 159"/>
                <a:gd name="T106" fmla="*/ 76 w 320"/>
                <a:gd name="T107" fmla="*/ 12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159">
                  <a:moveTo>
                    <a:pt x="76" y="120"/>
                  </a:moveTo>
                  <a:cubicBezTo>
                    <a:pt x="92" y="120"/>
                    <a:pt x="92" y="120"/>
                    <a:pt x="92" y="120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101" y="118"/>
                    <a:pt x="101" y="118"/>
                    <a:pt x="101" y="118"/>
                  </a:cubicBezTo>
                  <a:cubicBezTo>
                    <a:pt x="111" y="124"/>
                    <a:pt x="111" y="124"/>
                    <a:pt x="111" y="124"/>
                  </a:cubicBezTo>
                  <a:cubicBezTo>
                    <a:pt x="111" y="124"/>
                    <a:pt x="112" y="130"/>
                    <a:pt x="113" y="131"/>
                  </a:cubicBezTo>
                  <a:cubicBezTo>
                    <a:pt x="114" y="132"/>
                    <a:pt x="118" y="134"/>
                    <a:pt x="119" y="134"/>
                  </a:cubicBezTo>
                  <a:cubicBezTo>
                    <a:pt x="121" y="134"/>
                    <a:pt x="122" y="129"/>
                    <a:pt x="124" y="129"/>
                  </a:cubicBezTo>
                  <a:cubicBezTo>
                    <a:pt x="126" y="129"/>
                    <a:pt x="131" y="130"/>
                    <a:pt x="132" y="132"/>
                  </a:cubicBezTo>
                  <a:cubicBezTo>
                    <a:pt x="133" y="134"/>
                    <a:pt x="133" y="137"/>
                    <a:pt x="136" y="138"/>
                  </a:cubicBezTo>
                  <a:cubicBezTo>
                    <a:pt x="138" y="140"/>
                    <a:pt x="140" y="143"/>
                    <a:pt x="140" y="145"/>
                  </a:cubicBezTo>
                  <a:cubicBezTo>
                    <a:pt x="140" y="147"/>
                    <a:pt x="142" y="149"/>
                    <a:pt x="143" y="149"/>
                  </a:cubicBezTo>
                  <a:cubicBezTo>
                    <a:pt x="144" y="150"/>
                    <a:pt x="149" y="151"/>
                    <a:pt x="153" y="152"/>
                  </a:cubicBezTo>
                  <a:cubicBezTo>
                    <a:pt x="152" y="150"/>
                    <a:pt x="151" y="146"/>
                    <a:pt x="150" y="145"/>
                  </a:cubicBezTo>
                  <a:cubicBezTo>
                    <a:pt x="150" y="143"/>
                    <a:pt x="151" y="145"/>
                    <a:pt x="151" y="143"/>
                  </a:cubicBezTo>
                  <a:cubicBezTo>
                    <a:pt x="152" y="142"/>
                    <a:pt x="151" y="142"/>
                    <a:pt x="152" y="141"/>
                  </a:cubicBezTo>
                  <a:cubicBezTo>
                    <a:pt x="152" y="141"/>
                    <a:pt x="153" y="141"/>
                    <a:pt x="154" y="140"/>
                  </a:cubicBezTo>
                  <a:cubicBezTo>
                    <a:pt x="154" y="139"/>
                    <a:pt x="157" y="138"/>
                    <a:pt x="157" y="137"/>
                  </a:cubicBezTo>
                  <a:cubicBezTo>
                    <a:pt x="157" y="136"/>
                    <a:pt x="158" y="136"/>
                    <a:pt x="158" y="136"/>
                  </a:cubicBezTo>
                  <a:cubicBezTo>
                    <a:pt x="159" y="137"/>
                    <a:pt x="162" y="135"/>
                    <a:pt x="164" y="134"/>
                  </a:cubicBezTo>
                  <a:cubicBezTo>
                    <a:pt x="166" y="133"/>
                    <a:pt x="167" y="132"/>
                    <a:pt x="166" y="131"/>
                  </a:cubicBezTo>
                  <a:cubicBezTo>
                    <a:pt x="165" y="131"/>
                    <a:pt x="163" y="130"/>
                    <a:pt x="165" y="130"/>
                  </a:cubicBezTo>
                  <a:cubicBezTo>
                    <a:pt x="167" y="131"/>
                    <a:pt x="167" y="132"/>
                    <a:pt x="168" y="131"/>
                  </a:cubicBezTo>
                  <a:cubicBezTo>
                    <a:pt x="170" y="130"/>
                    <a:pt x="170" y="129"/>
                    <a:pt x="172" y="129"/>
                  </a:cubicBezTo>
                  <a:cubicBezTo>
                    <a:pt x="174" y="129"/>
                    <a:pt x="176" y="129"/>
                    <a:pt x="177" y="130"/>
                  </a:cubicBezTo>
                  <a:cubicBezTo>
                    <a:pt x="178" y="131"/>
                    <a:pt x="179" y="131"/>
                    <a:pt x="180" y="131"/>
                  </a:cubicBezTo>
                  <a:cubicBezTo>
                    <a:pt x="181" y="130"/>
                    <a:pt x="182" y="130"/>
                    <a:pt x="183" y="130"/>
                  </a:cubicBezTo>
                  <a:cubicBezTo>
                    <a:pt x="185" y="131"/>
                    <a:pt x="186" y="133"/>
                    <a:pt x="188" y="133"/>
                  </a:cubicBezTo>
                  <a:cubicBezTo>
                    <a:pt x="189" y="133"/>
                    <a:pt x="191" y="130"/>
                    <a:pt x="192" y="131"/>
                  </a:cubicBezTo>
                  <a:cubicBezTo>
                    <a:pt x="193" y="131"/>
                    <a:pt x="196" y="133"/>
                    <a:pt x="196" y="134"/>
                  </a:cubicBezTo>
                  <a:cubicBezTo>
                    <a:pt x="196" y="134"/>
                    <a:pt x="197" y="133"/>
                    <a:pt x="197" y="133"/>
                  </a:cubicBezTo>
                  <a:cubicBezTo>
                    <a:pt x="197" y="133"/>
                    <a:pt x="197" y="133"/>
                    <a:pt x="196" y="132"/>
                  </a:cubicBezTo>
                  <a:cubicBezTo>
                    <a:pt x="196" y="132"/>
                    <a:pt x="194" y="130"/>
                    <a:pt x="195" y="130"/>
                  </a:cubicBezTo>
                  <a:cubicBezTo>
                    <a:pt x="195" y="129"/>
                    <a:pt x="196" y="130"/>
                    <a:pt x="195" y="129"/>
                  </a:cubicBezTo>
                  <a:cubicBezTo>
                    <a:pt x="194" y="128"/>
                    <a:pt x="194" y="128"/>
                    <a:pt x="194" y="128"/>
                  </a:cubicBezTo>
                  <a:cubicBezTo>
                    <a:pt x="194" y="127"/>
                    <a:pt x="194" y="127"/>
                    <a:pt x="193" y="127"/>
                  </a:cubicBezTo>
                  <a:cubicBezTo>
                    <a:pt x="192" y="128"/>
                    <a:pt x="189" y="128"/>
                    <a:pt x="190" y="127"/>
                  </a:cubicBezTo>
                  <a:cubicBezTo>
                    <a:pt x="190" y="126"/>
                    <a:pt x="191" y="125"/>
                    <a:pt x="192" y="126"/>
                  </a:cubicBezTo>
                  <a:cubicBezTo>
                    <a:pt x="193" y="126"/>
                    <a:pt x="193" y="127"/>
                    <a:pt x="195" y="127"/>
                  </a:cubicBezTo>
                  <a:cubicBezTo>
                    <a:pt x="197" y="126"/>
                    <a:pt x="199" y="126"/>
                    <a:pt x="200" y="126"/>
                  </a:cubicBezTo>
                  <a:cubicBezTo>
                    <a:pt x="202" y="126"/>
                    <a:pt x="203" y="125"/>
                    <a:pt x="204" y="125"/>
                  </a:cubicBezTo>
                  <a:cubicBezTo>
                    <a:pt x="204" y="126"/>
                    <a:pt x="204" y="126"/>
                    <a:pt x="205" y="126"/>
                  </a:cubicBezTo>
                  <a:cubicBezTo>
                    <a:pt x="205" y="126"/>
                    <a:pt x="207" y="126"/>
                    <a:pt x="209" y="126"/>
                  </a:cubicBezTo>
                  <a:cubicBezTo>
                    <a:pt x="210" y="126"/>
                    <a:pt x="214" y="125"/>
                    <a:pt x="215" y="126"/>
                  </a:cubicBezTo>
                  <a:cubicBezTo>
                    <a:pt x="217" y="127"/>
                    <a:pt x="217" y="129"/>
                    <a:pt x="218" y="129"/>
                  </a:cubicBezTo>
                  <a:cubicBezTo>
                    <a:pt x="219" y="130"/>
                    <a:pt x="219" y="130"/>
                    <a:pt x="221" y="130"/>
                  </a:cubicBezTo>
                  <a:cubicBezTo>
                    <a:pt x="222" y="129"/>
                    <a:pt x="224" y="128"/>
                    <a:pt x="225" y="128"/>
                  </a:cubicBezTo>
                  <a:cubicBezTo>
                    <a:pt x="225" y="128"/>
                    <a:pt x="227" y="131"/>
                    <a:pt x="229" y="132"/>
                  </a:cubicBezTo>
                  <a:cubicBezTo>
                    <a:pt x="230" y="133"/>
                    <a:pt x="233" y="135"/>
                    <a:pt x="233" y="136"/>
                  </a:cubicBezTo>
                  <a:cubicBezTo>
                    <a:pt x="233" y="137"/>
                    <a:pt x="232" y="139"/>
                    <a:pt x="232" y="140"/>
                  </a:cubicBezTo>
                  <a:cubicBezTo>
                    <a:pt x="232" y="141"/>
                    <a:pt x="233" y="141"/>
                    <a:pt x="233" y="142"/>
                  </a:cubicBezTo>
                  <a:cubicBezTo>
                    <a:pt x="234" y="142"/>
                    <a:pt x="233" y="141"/>
                    <a:pt x="233" y="143"/>
                  </a:cubicBezTo>
                  <a:cubicBezTo>
                    <a:pt x="233" y="144"/>
                    <a:pt x="233" y="145"/>
                    <a:pt x="234" y="146"/>
                  </a:cubicBezTo>
                  <a:cubicBezTo>
                    <a:pt x="235" y="147"/>
                    <a:pt x="236" y="147"/>
                    <a:pt x="236" y="148"/>
                  </a:cubicBezTo>
                  <a:cubicBezTo>
                    <a:pt x="236" y="148"/>
                    <a:pt x="237" y="148"/>
                    <a:pt x="237" y="148"/>
                  </a:cubicBezTo>
                  <a:cubicBezTo>
                    <a:pt x="237" y="149"/>
                    <a:pt x="236" y="150"/>
                    <a:pt x="237" y="151"/>
                  </a:cubicBezTo>
                  <a:cubicBezTo>
                    <a:pt x="238" y="153"/>
                    <a:pt x="239" y="153"/>
                    <a:pt x="240" y="154"/>
                  </a:cubicBezTo>
                  <a:cubicBezTo>
                    <a:pt x="240" y="154"/>
                    <a:pt x="242" y="157"/>
                    <a:pt x="242" y="158"/>
                  </a:cubicBezTo>
                  <a:cubicBezTo>
                    <a:pt x="243" y="158"/>
                    <a:pt x="244" y="156"/>
                    <a:pt x="244" y="157"/>
                  </a:cubicBezTo>
                  <a:cubicBezTo>
                    <a:pt x="245" y="157"/>
                    <a:pt x="244" y="158"/>
                    <a:pt x="244" y="158"/>
                  </a:cubicBezTo>
                  <a:cubicBezTo>
                    <a:pt x="244" y="159"/>
                    <a:pt x="245" y="159"/>
                    <a:pt x="245" y="158"/>
                  </a:cubicBezTo>
                  <a:cubicBezTo>
                    <a:pt x="245" y="157"/>
                    <a:pt x="245" y="155"/>
                    <a:pt x="246" y="153"/>
                  </a:cubicBezTo>
                  <a:cubicBezTo>
                    <a:pt x="247" y="151"/>
                    <a:pt x="247" y="146"/>
                    <a:pt x="246" y="144"/>
                  </a:cubicBezTo>
                  <a:cubicBezTo>
                    <a:pt x="244" y="141"/>
                    <a:pt x="244" y="140"/>
                    <a:pt x="243" y="138"/>
                  </a:cubicBezTo>
                  <a:cubicBezTo>
                    <a:pt x="243" y="135"/>
                    <a:pt x="242" y="133"/>
                    <a:pt x="241" y="130"/>
                  </a:cubicBezTo>
                  <a:cubicBezTo>
                    <a:pt x="240" y="128"/>
                    <a:pt x="238" y="124"/>
                    <a:pt x="239" y="122"/>
                  </a:cubicBezTo>
                  <a:cubicBezTo>
                    <a:pt x="239" y="119"/>
                    <a:pt x="241" y="117"/>
                    <a:pt x="242" y="115"/>
                  </a:cubicBezTo>
                  <a:cubicBezTo>
                    <a:pt x="243" y="113"/>
                    <a:pt x="246" y="112"/>
                    <a:pt x="247" y="111"/>
                  </a:cubicBezTo>
                  <a:cubicBezTo>
                    <a:pt x="248" y="110"/>
                    <a:pt x="250" y="109"/>
                    <a:pt x="251" y="108"/>
                  </a:cubicBezTo>
                  <a:cubicBezTo>
                    <a:pt x="251" y="107"/>
                    <a:pt x="251" y="107"/>
                    <a:pt x="252" y="106"/>
                  </a:cubicBezTo>
                  <a:cubicBezTo>
                    <a:pt x="253" y="106"/>
                    <a:pt x="254" y="105"/>
                    <a:pt x="256" y="104"/>
                  </a:cubicBezTo>
                  <a:cubicBezTo>
                    <a:pt x="257" y="104"/>
                    <a:pt x="258" y="104"/>
                    <a:pt x="259" y="103"/>
                  </a:cubicBezTo>
                  <a:cubicBezTo>
                    <a:pt x="259" y="103"/>
                    <a:pt x="262" y="100"/>
                    <a:pt x="263" y="99"/>
                  </a:cubicBezTo>
                  <a:cubicBezTo>
                    <a:pt x="264" y="99"/>
                    <a:pt x="267" y="99"/>
                    <a:pt x="267" y="98"/>
                  </a:cubicBezTo>
                  <a:cubicBezTo>
                    <a:pt x="268" y="98"/>
                    <a:pt x="269" y="97"/>
                    <a:pt x="268" y="97"/>
                  </a:cubicBezTo>
                  <a:cubicBezTo>
                    <a:pt x="267" y="97"/>
                    <a:pt x="264" y="98"/>
                    <a:pt x="264" y="98"/>
                  </a:cubicBezTo>
                  <a:cubicBezTo>
                    <a:pt x="265" y="97"/>
                    <a:pt x="265" y="97"/>
                    <a:pt x="266" y="97"/>
                  </a:cubicBezTo>
                  <a:cubicBezTo>
                    <a:pt x="266" y="96"/>
                    <a:pt x="266" y="95"/>
                    <a:pt x="265" y="95"/>
                  </a:cubicBezTo>
                  <a:cubicBezTo>
                    <a:pt x="265" y="94"/>
                    <a:pt x="265" y="94"/>
                    <a:pt x="266" y="94"/>
                  </a:cubicBezTo>
                  <a:cubicBezTo>
                    <a:pt x="266" y="94"/>
                    <a:pt x="266" y="94"/>
                    <a:pt x="266" y="94"/>
                  </a:cubicBezTo>
                  <a:cubicBezTo>
                    <a:pt x="266" y="93"/>
                    <a:pt x="267" y="93"/>
                    <a:pt x="267" y="94"/>
                  </a:cubicBezTo>
                  <a:cubicBezTo>
                    <a:pt x="267" y="94"/>
                    <a:pt x="267" y="95"/>
                    <a:pt x="268" y="95"/>
                  </a:cubicBezTo>
                  <a:cubicBezTo>
                    <a:pt x="268" y="95"/>
                    <a:pt x="269" y="94"/>
                    <a:pt x="270" y="93"/>
                  </a:cubicBezTo>
                  <a:cubicBezTo>
                    <a:pt x="271" y="92"/>
                    <a:pt x="272" y="91"/>
                    <a:pt x="271" y="91"/>
                  </a:cubicBezTo>
                  <a:cubicBezTo>
                    <a:pt x="271" y="91"/>
                    <a:pt x="270" y="91"/>
                    <a:pt x="270" y="91"/>
                  </a:cubicBezTo>
                  <a:cubicBezTo>
                    <a:pt x="270" y="92"/>
                    <a:pt x="269" y="92"/>
                    <a:pt x="269" y="91"/>
                  </a:cubicBezTo>
                  <a:cubicBezTo>
                    <a:pt x="268" y="91"/>
                    <a:pt x="269" y="91"/>
                    <a:pt x="268" y="91"/>
                  </a:cubicBezTo>
                  <a:cubicBezTo>
                    <a:pt x="267" y="91"/>
                    <a:pt x="266" y="91"/>
                    <a:pt x="265" y="91"/>
                  </a:cubicBezTo>
                  <a:cubicBezTo>
                    <a:pt x="265" y="90"/>
                    <a:pt x="265" y="90"/>
                    <a:pt x="266" y="90"/>
                  </a:cubicBezTo>
                  <a:cubicBezTo>
                    <a:pt x="267" y="90"/>
                    <a:pt x="267" y="91"/>
                    <a:pt x="268" y="90"/>
                  </a:cubicBezTo>
                  <a:cubicBezTo>
                    <a:pt x="269" y="89"/>
                    <a:pt x="269" y="89"/>
                    <a:pt x="270" y="89"/>
                  </a:cubicBezTo>
                  <a:cubicBezTo>
                    <a:pt x="271" y="89"/>
                    <a:pt x="271" y="90"/>
                    <a:pt x="270" y="89"/>
                  </a:cubicBezTo>
                  <a:cubicBezTo>
                    <a:pt x="269" y="88"/>
                    <a:pt x="269" y="88"/>
                    <a:pt x="269" y="87"/>
                  </a:cubicBezTo>
                  <a:cubicBezTo>
                    <a:pt x="270" y="86"/>
                    <a:pt x="270" y="85"/>
                    <a:pt x="269" y="85"/>
                  </a:cubicBezTo>
                  <a:cubicBezTo>
                    <a:pt x="268" y="85"/>
                    <a:pt x="267" y="85"/>
                    <a:pt x="266" y="84"/>
                  </a:cubicBezTo>
                  <a:cubicBezTo>
                    <a:pt x="265" y="83"/>
                    <a:pt x="264" y="83"/>
                    <a:pt x="263" y="82"/>
                  </a:cubicBezTo>
                  <a:cubicBezTo>
                    <a:pt x="263" y="82"/>
                    <a:pt x="264" y="82"/>
                    <a:pt x="264" y="82"/>
                  </a:cubicBezTo>
                  <a:cubicBezTo>
                    <a:pt x="265" y="82"/>
                    <a:pt x="267" y="82"/>
                    <a:pt x="267" y="82"/>
                  </a:cubicBezTo>
                  <a:cubicBezTo>
                    <a:pt x="268" y="81"/>
                    <a:pt x="267" y="81"/>
                    <a:pt x="267" y="80"/>
                  </a:cubicBezTo>
                  <a:cubicBezTo>
                    <a:pt x="266" y="80"/>
                    <a:pt x="263" y="77"/>
                    <a:pt x="262" y="76"/>
                  </a:cubicBezTo>
                  <a:cubicBezTo>
                    <a:pt x="262" y="75"/>
                    <a:pt x="262" y="75"/>
                    <a:pt x="262" y="74"/>
                  </a:cubicBezTo>
                  <a:cubicBezTo>
                    <a:pt x="263" y="73"/>
                    <a:pt x="264" y="72"/>
                    <a:pt x="264" y="71"/>
                  </a:cubicBezTo>
                  <a:cubicBezTo>
                    <a:pt x="263" y="71"/>
                    <a:pt x="264" y="72"/>
                    <a:pt x="264" y="73"/>
                  </a:cubicBezTo>
                  <a:cubicBezTo>
                    <a:pt x="264" y="73"/>
                    <a:pt x="263" y="73"/>
                    <a:pt x="263" y="74"/>
                  </a:cubicBezTo>
                  <a:cubicBezTo>
                    <a:pt x="264" y="75"/>
                    <a:pt x="266" y="76"/>
                    <a:pt x="266" y="76"/>
                  </a:cubicBezTo>
                  <a:cubicBezTo>
                    <a:pt x="266" y="76"/>
                    <a:pt x="266" y="75"/>
                    <a:pt x="266" y="73"/>
                  </a:cubicBezTo>
                  <a:cubicBezTo>
                    <a:pt x="267" y="72"/>
                    <a:pt x="266" y="70"/>
                    <a:pt x="267" y="70"/>
                  </a:cubicBezTo>
                  <a:cubicBezTo>
                    <a:pt x="268" y="69"/>
                    <a:pt x="269" y="67"/>
                    <a:pt x="269" y="68"/>
                  </a:cubicBezTo>
                  <a:cubicBezTo>
                    <a:pt x="269" y="68"/>
                    <a:pt x="268" y="68"/>
                    <a:pt x="268" y="71"/>
                  </a:cubicBezTo>
                  <a:cubicBezTo>
                    <a:pt x="269" y="73"/>
                    <a:pt x="268" y="74"/>
                    <a:pt x="269" y="75"/>
                  </a:cubicBezTo>
                  <a:cubicBezTo>
                    <a:pt x="270" y="76"/>
                    <a:pt x="271" y="78"/>
                    <a:pt x="271" y="79"/>
                  </a:cubicBezTo>
                  <a:cubicBezTo>
                    <a:pt x="271" y="80"/>
                    <a:pt x="270" y="81"/>
                    <a:pt x="269" y="82"/>
                  </a:cubicBezTo>
                  <a:cubicBezTo>
                    <a:pt x="269" y="84"/>
                    <a:pt x="269" y="84"/>
                    <a:pt x="270" y="84"/>
                  </a:cubicBezTo>
                  <a:cubicBezTo>
                    <a:pt x="270" y="83"/>
                    <a:pt x="271" y="81"/>
                    <a:pt x="272" y="80"/>
                  </a:cubicBezTo>
                  <a:cubicBezTo>
                    <a:pt x="273" y="79"/>
                    <a:pt x="275" y="76"/>
                    <a:pt x="275" y="74"/>
                  </a:cubicBezTo>
                  <a:cubicBezTo>
                    <a:pt x="274" y="73"/>
                    <a:pt x="272" y="70"/>
                    <a:pt x="272" y="69"/>
                  </a:cubicBezTo>
                  <a:cubicBezTo>
                    <a:pt x="271" y="67"/>
                    <a:pt x="271" y="67"/>
                    <a:pt x="272" y="66"/>
                  </a:cubicBezTo>
                  <a:cubicBezTo>
                    <a:pt x="273" y="66"/>
                    <a:pt x="275" y="65"/>
                    <a:pt x="274" y="66"/>
                  </a:cubicBezTo>
                  <a:cubicBezTo>
                    <a:pt x="273" y="67"/>
                    <a:pt x="272" y="66"/>
                    <a:pt x="273" y="67"/>
                  </a:cubicBezTo>
                  <a:cubicBezTo>
                    <a:pt x="273" y="69"/>
                    <a:pt x="273" y="69"/>
                    <a:pt x="274" y="70"/>
                  </a:cubicBezTo>
                  <a:cubicBezTo>
                    <a:pt x="275" y="71"/>
                    <a:pt x="275" y="72"/>
                    <a:pt x="276" y="71"/>
                  </a:cubicBezTo>
                  <a:cubicBezTo>
                    <a:pt x="277" y="70"/>
                    <a:pt x="278" y="69"/>
                    <a:pt x="279" y="67"/>
                  </a:cubicBezTo>
                  <a:cubicBezTo>
                    <a:pt x="280" y="66"/>
                    <a:pt x="281" y="64"/>
                    <a:pt x="280" y="63"/>
                  </a:cubicBezTo>
                  <a:cubicBezTo>
                    <a:pt x="280" y="62"/>
                    <a:pt x="279" y="60"/>
                    <a:pt x="280" y="60"/>
                  </a:cubicBezTo>
                  <a:cubicBezTo>
                    <a:pt x="280" y="60"/>
                    <a:pt x="280" y="59"/>
                    <a:pt x="281" y="58"/>
                  </a:cubicBezTo>
                  <a:cubicBezTo>
                    <a:pt x="281" y="58"/>
                    <a:pt x="281" y="58"/>
                    <a:pt x="281" y="59"/>
                  </a:cubicBezTo>
                  <a:cubicBezTo>
                    <a:pt x="281" y="59"/>
                    <a:pt x="280" y="60"/>
                    <a:pt x="281" y="60"/>
                  </a:cubicBezTo>
                  <a:cubicBezTo>
                    <a:pt x="282" y="59"/>
                    <a:pt x="283" y="59"/>
                    <a:pt x="285" y="58"/>
                  </a:cubicBezTo>
                  <a:cubicBezTo>
                    <a:pt x="286" y="56"/>
                    <a:pt x="288" y="56"/>
                    <a:pt x="290" y="56"/>
                  </a:cubicBezTo>
                  <a:cubicBezTo>
                    <a:pt x="292" y="56"/>
                    <a:pt x="295" y="57"/>
                    <a:pt x="295" y="55"/>
                  </a:cubicBezTo>
                  <a:cubicBezTo>
                    <a:pt x="295" y="54"/>
                    <a:pt x="295" y="53"/>
                    <a:pt x="295" y="53"/>
                  </a:cubicBezTo>
                  <a:cubicBezTo>
                    <a:pt x="296" y="54"/>
                    <a:pt x="295" y="55"/>
                    <a:pt x="296" y="55"/>
                  </a:cubicBezTo>
                  <a:cubicBezTo>
                    <a:pt x="298" y="55"/>
                    <a:pt x="298" y="55"/>
                    <a:pt x="299" y="54"/>
                  </a:cubicBezTo>
                  <a:cubicBezTo>
                    <a:pt x="299" y="54"/>
                    <a:pt x="299" y="54"/>
                    <a:pt x="300" y="55"/>
                  </a:cubicBezTo>
                  <a:cubicBezTo>
                    <a:pt x="300" y="55"/>
                    <a:pt x="300" y="55"/>
                    <a:pt x="301" y="54"/>
                  </a:cubicBezTo>
                  <a:cubicBezTo>
                    <a:pt x="302" y="54"/>
                    <a:pt x="303" y="53"/>
                    <a:pt x="304" y="53"/>
                  </a:cubicBezTo>
                  <a:cubicBezTo>
                    <a:pt x="304" y="53"/>
                    <a:pt x="304" y="52"/>
                    <a:pt x="303" y="52"/>
                  </a:cubicBezTo>
                  <a:cubicBezTo>
                    <a:pt x="302" y="51"/>
                    <a:pt x="302" y="51"/>
                    <a:pt x="302" y="52"/>
                  </a:cubicBezTo>
                  <a:cubicBezTo>
                    <a:pt x="302" y="52"/>
                    <a:pt x="302" y="53"/>
                    <a:pt x="302" y="53"/>
                  </a:cubicBezTo>
                  <a:cubicBezTo>
                    <a:pt x="301" y="53"/>
                    <a:pt x="300" y="53"/>
                    <a:pt x="300" y="53"/>
                  </a:cubicBezTo>
                  <a:cubicBezTo>
                    <a:pt x="300" y="52"/>
                    <a:pt x="299" y="50"/>
                    <a:pt x="299" y="50"/>
                  </a:cubicBezTo>
                  <a:cubicBezTo>
                    <a:pt x="298" y="49"/>
                    <a:pt x="298" y="49"/>
                    <a:pt x="298" y="49"/>
                  </a:cubicBezTo>
                  <a:cubicBezTo>
                    <a:pt x="299" y="48"/>
                    <a:pt x="299" y="48"/>
                    <a:pt x="299" y="47"/>
                  </a:cubicBezTo>
                  <a:cubicBezTo>
                    <a:pt x="298" y="46"/>
                    <a:pt x="298" y="46"/>
                    <a:pt x="299" y="45"/>
                  </a:cubicBezTo>
                  <a:cubicBezTo>
                    <a:pt x="300" y="44"/>
                    <a:pt x="300" y="44"/>
                    <a:pt x="300" y="43"/>
                  </a:cubicBezTo>
                  <a:cubicBezTo>
                    <a:pt x="301" y="42"/>
                    <a:pt x="301" y="42"/>
                    <a:pt x="302" y="41"/>
                  </a:cubicBezTo>
                  <a:cubicBezTo>
                    <a:pt x="302" y="40"/>
                    <a:pt x="303" y="40"/>
                    <a:pt x="303" y="40"/>
                  </a:cubicBezTo>
                  <a:cubicBezTo>
                    <a:pt x="304" y="40"/>
                    <a:pt x="304" y="39"/>
                    <a:pt x="305" y="39"/>
                  </a:cubicBezTo>
                  <a:cubicBezTo>
                    <a:pt x="305" y="38"/>
                    <a:pt x="305" y="38"/>
                    <a:pt x="305" y="39"/>
                  </a:cubicBezTo>
                  <a:cubicBezTo>
                    <a:pt x="306" y="39"/>
                    <a:pt x="307" y="39"/>
                    <a:pt x="308" y="37"/>
                  </a:cubicBezTo>
                  <a:cubicBezTo>
                    <a:pt x="309" y="36"/>
                    <a:pt x="309" y="35"/>
                    <a:pt x="309" y="35"/>
                  </a:cubicBezTo>
                  <a:cubicBezTo>
                    <a:pt x="310" y="35"/>
                    <a:pt x="310" y="37"/>
                    <a:pt x="311" y="37"/>
                  </a:cubicBezTo>
                  <a:cubicBezTo>
                    <a:pt x="312" y="37"/>
                    <a:pt x="313" y="36"/>
                    <a:pt x="313" y="35"/>
                  </a:cubicBezTo>
                  <a:cubicBezTo>
                    <a:pt x="314" y="35"/>
                    <a:pt x="315" y="35"/>
                    <a:pt x="317" y="34"/>
                  </a:cubicBezTo>
                  <a:cubicBezTo>
                    <a:pt x="318" y="33"/>
                    <a:pt x="319" y="33"/>
                    <a:pt x="320" y="32"/>
                  </a:cubicBezTo>
                  <a:cubicBezTo>
                    <a:pt x="320" y="32"/>
                    <a:pt x="320" y="32"/>
                    <a:pt x="320" y="32"/>
                  </a:cubicBezTo>
                  <a:cubicBezTo>
                    <a:pt x="319" y="31"/>
                    <a:pt x="318" y="29"/>
                    <a:pt x="318" y="28"/>
                  </a:cubicBezTo>
                  <a:cubicBezTo>
                    <a:pt x="318" y="27"/>
                    <a:pt x="315" y="27"/>
                    <a:pt x="315" y="26"/>
                  </a:cubicBezTo>
                  <a:cubicBezTo>
                    <a:pt x="315" y="24"/>
                    <a:pt x="315" y="21"/>
                    <a:pt x="315" y="19"/>
                  </a:cubicBezTo>
                  <a:cubicBezTo>
                    <a:pt x="315" y="17"/>
                    <a:pt x="314" y="15"/>
                    <a:pt x="312" y="15"/>
                  </a:cubicBezTo>
                  <a:cubicBezTo>
                    <a:pt x="311" y="15"/>
                    <a:pt x="311" y="16"/>
                    <a:pt x="310" y="16"/>
                  </a:cubicBezTo>
                  <a:cubicBezTo>
                    <a:pt x="308" y="16"/>
                    <a:pt x="308" y="14"/>
                    <a:pt x="307" y="14"/>
                  </a:cubicBezTo>
                  <a:cubicBezTo>
                    <a:pt x="307" y="14"/>
                    <a:pt x="303" y="18"/>
                    <a:pt x="302" y="19"/>
                  </a:cubicBezTo>
                  <a:cubicBezTo>
                    <a:pt x="302" y="20"/>
                    <a:pt x="302" y="21"/>
                    <a:pt x="302" y="22"/>
                  </a:cubicBezTo>
                  <a:cubicBezTo>
                    <a:pt x="302" y="23"/>
                    <a:pt x="302" y="23"/>
                    <a:pt x="301" y="24"/>
                  </a:cubicBezTo>
                  <a:cubicBezTo>
                    <a:pt x="301" y="26"/>
                    <a:pt x="298" y="29"/>
                    <a:pt x="298" y="29"/>
                  </a:cubicBezTo>
                  <a:cubicBezTo>
                    <a:pt x="296" y="29"/>
                    <a:pt x="296" y="29"/>
                    <a:pt x="296" y="29"/>
                  </a:cubicBezTo>
                  <a:cubicBezTo>
                    <a:pt x="294" y="31"/>
                    <a:pt x="294" y="31"/>
                    <a:pt x="294" y="31"/>
                  </a:cubicBezTo>
                  <a:cubicBezTo>
                    <a:pt x="275" y="31"/>
                    <a:pt x="275" y="31"/>
                    <a:pt x="275" y="31"/>
                  </a:cubicBezTo>
                  <a:cubicBezTo>
                    <a:pt x="267" y="38"/>
                    <a:pt x="267" y="38"/>
                    <a:pt x="267" y="38"/>
                  </a:cubicBezTo>
                  <a:cubicBezTo>
                    <a:pt x="268" y="38"/>
                    <a:pt x="268" y="39"/>
                    <a:pt x="268" y="40"/>
                  </a:cubicBezTo>
                  <a:cubicBezTo>
                    <a:pt x="268" y="41"/>
                    <a:pt x="266" y="43"/>
                    <a:pt x="265" y="43"/>
                  </a:cubicBezTo>
                  <a:cubicBezTo>
                    <a:pt x="264" y="43"/>
                    <a:pt x="260" y="43"/>
                    <a:pt x="259" y="43"/>
                  </a:cubicBezTo>
                  <a:cubicBezTo>
                    <a:pt x="258" y="42"/>
                    <a:pt x="255" y="43"/>
                    <a:pt x="253" y="43"/>
                  </a:cubicBezTo>
                  <a:cubicBezTo>
                    <a:pt x="252" y="43"/>
                    <a:pt x="252" y="43"/>
                    <a:pt x="252" y="43"/>
                  </a:cubicBezTo>
                  <a:cubicBezTo>
                    <a:pt x="252" y="44"/>
                    <a:pt x="252" y="45"/>
                    <a:pt x="252" y="46"/>
                  </a:cubicBezTo>
                  <a:cubicBezTo>
                    <a:pt x="252" y="46"/>
                    <a:pt x="252" y="46"/>
                    <a:pt x="252" y="46"/>
                  </a:cubicBezTo>
                  <a:cubicBezTo>
                    <a:pt x="253" y="46"/>
                    <a:pt x="253" y="46"/>
                    <a:pt x="253" y="46"/>
                  </a:cubicBezTo>
                  <a:cubicBezTo>
                    <a:pt x="252" y="49"/>
                    <a:pt x="245" y="51"/>
                    <a:pt x="242" y="53"/>
                  </a:cubicBezTo>
                  <a:cubicBezTo>
                    <a:pt x="239" y="55"/>
                    <a:pt x="234" y="56"/>
                    <a:pt x="232" y="55"/>
                  </a:cubicBezTo>
                  <a:cubicBezTo>
                    <a:pt x="229" y="54"/>
                    <a:pt x="228" y="53"/>
                    <a:pt x="228" y="52"/>
                  </a:cubicBezTo>
                  <a:cubicBezTo>
                    <a:pt x="229" y="51"/>
                    <a:pt x="232" y="48"/>
                    <a:pt x="231" y="49"/>
                  </a:cubicBezTo>
                  <a:cubicBezTo>
                    <a:pt x="231" y="50"/>
                    <a:pt x="231" y="50"/>
                    <a:pt x="231" y="51"/>
                  </a:cubicBezTo>
                  <a:cubicBezTo>
                    <a:pt x="231" y="51"/>
                    <a:pt x="231" y="51"/>
                    <a:pt x="231" y="51"/>
                  </a:cubicBezTo>
                  <a:cubicBezTo>
                    <a:pt x="232" y="49"/>
                    <a:pt x="233" y="47"/>
                    <a:pt x="233" y="45"/>
                  </a:cubicBezTo>
                  <a:cubicBezTo>
                    <a:pt x="233" y="45"/>
                    <a:pt x="233" y="45"/>
                    <a:pt x="233" y="45"/>
                  </a:cubicBezTo>
                  <a:cubicBezTo>
                    <a:pt x="233" y="44"/>
                    <a:pt x="233" y="42"/>
                    <a:pt x="233" y="41"/>
                  </a:cubicBezTo>
                  <a:cubicBezTo>
                    <a:pt x="233" y="40"/>
                    <a:pt x="232" y="38"/>
                    <a:pt x="231" y="38"/>
                  </a:cubicBezTo>
                  <a:cubicBezTo>
                    <a:pt x="230" y="39"/>
                    <a:pt x="228" y="41"/>
                    <a:pt x="227" y="41"/>
                  </a:cubicBezTo>
                  <a:cubicBezTo>
                    <a:pt x="226" y="40"/>
                    <a:pt x="225" y="40"/>
                    <a:pt x="226" y="39"/>
                  </a:cubicBezTo>
                  <a:cubicBezTo>
                    <a:pt x="227" y="38"/>
                    <a:pt x="229" y="35"/>
                    <a:pt x="229" y="34"/>
                  </a:cubicBezTo>
                  <a:cubicBezTo>
                    <a:pt x="229" y="32"/>
                    <a:pt x="229" y="30"/>
                    <a:pt x="227" y="29"/>
                  </a:cubicBezTo>
                  <a:cubicBezTo>
                    <a:pt x="226" y="28"/>
                    <a:pt x="221" y="26"/>
                    <a:pt x="221" y="27"/>
                  </a:cubicBezTo>
                  <a:cubicBezTo>
                    <a:pt x="220" y="28"/>
                    <a:pt x="219" y="28"/>
                    <a:pt x="218" y="29"/>
                  </a:cubicBezTo>
                  <a:cubicBezTo>
                    <a:pt x="217" y="30"/>
                    <a:pt x="218" y="32"/>
                    <a:pt x="217" y="32"/>
                  </a:cubicBezTo>
                  <a:cubicBezTo>
                    <a:pt x="216" y="31"/>
                    <a:pt x="215" y="31"/>
                    <a:pt x="215" y="31"/>
                  </a:cubicBezTo>
                  <a:cubicBezTo>
                    <a:pt x="215" y="31"/>
                    <a:pt x="213" y="35"/>
                    <a:pt x="212" y="36"/>
                  </a:cubicBezTo>
                  <a:cubicBezTo>
                    <a:pt x="212" y="37"/>
                    <a:pt x="211" y="40"/>
                    <a:pt x="212" y="42"/>
                  </a:cubicBezTo>
                  <a:cubicBezTo>
                    <a:pt x="212" y="43"/>
                    <a:pt x="213" y="48"/>
                    <a:pt x="212" y="50"/>
                  </a:cubicBezTo>
                  <a:cubicBezTo>
                    <a:pt x="211" y="51"/>
                    <a:pt x="209" y="53"/>
                    <a:pt x="209" y="53"/>
                  </a:cubicBezTo>
                  <a:cubicBezTo>
                    <a:pt x="208" y="53"/>
                    <a:pt x="206" y="55"/>
                    <a:pt x="206" y="53"/>
                  </a:cubicBezTo>
                  <a:cubicBezTo>
                    <a:pt x="206" y="51"/>
                    <a:pt x="204" y="48"/>
                    <a:pt x="204" y="47"/>
                  </a:cubicBezTo>
                  <a:cubicBezTo>
                    <a:pt x="204" y="45"/>
                    <a:pt x="205" y="39"/>
                    <a:pt x="206" y="37"/>
                  </a:cubicBezTo>
                  <a:cubicBezTo>
                    <a:pt x="206" y="35"/>
                    <a:pt x="207" y="32"/>
                    <a:pt x="206" y="33"/>
                  </a:cubicBezTo>
                  <a:cubicBezTo>
                    <a:pt x="205" y="34"/>
                    <a:pt x="203" y="36"/>
                    <a:pt x="204" y="34"/>
                  </a:cubicBezTo>
                  <a:cubicBezTo>
                    <a:pt x="204" y="32"/>
                    <a:pt x="207" y="28"/>
                    <a:pt x="208" y="27"/>
                  </a:cubicBezTo>
                  <a:cubicBezTo>
                    <a:pt x="209" y="26"/>
                    <a:pt x="208" y="26"/>
                    <a:pt x="211" y="26"/>
                  </a:cubicBezTo>
                  <a:cubicBezTo>
                    <a:pt x="214" y="26"/>
                    <a:pt x="216" y="24"/>
                    <a:pt x="218" y="24"/>
                  </a:cubicBezTo>
                  <a:cubicBezTo>
                    <a:pt x="221" y="25"/>
                    <a:pt x="227" y="26"/>
                    <a:pt x="225" y="24"/>
                  </a:cubicBezTo>
                  <a:cubicBezTo>
                    <a:pt x="224" y="23"/>
                    <a:pt x="224" y="22"/>
                    <a:pt x="223" y="22"/>
                  </a:cubicBezTo>
                  <a:cubicBezTo>
                    <a:pt x="222" y="22"/>
                    <a:pt x="220" y="23"/>
                    <a:pt x="220" y="21"/>
                  </a:cubicBezTo>
                  <a:cubicBezTo>
                    <a:pt x="220" y="20"/>
                    <a:pt x="221" y="19"/>
                    <a:pt x="219" y="19"/>
                  </a:cubicBezTo>
                  <a:cubicBezTo>
                    <a:pt x="218" y="19"/>
                    <a:pt x="211" y="21"/>
                    <a:pt x="210" y="21"/>
                  </a:cubicBezTo>
                  <a:cubicBezTo>
                    <a:pt x="208" y="21"/>
                    <a:pt x="205" y="19"/>
                    <a:pt x="204" y="18"/>
                  </a:cubicBezTo>
                  <a:cubicBezTo>
                    <a:pt x="203" y="18"/>
                    <a:pt x="201" y="18"/>
                    <a:pt x="201" y="17"/>
                  </a:cubicBezTo>
                  <a:cubicBezTo>
                    <a:pt x="202" y="16"/>
                    <a:pt x="205" y="14"/>
                    <a:pt x="204" y="14"/>
                  </a:cubicBezTo>
                  <a:cubicBezTo>
                    <a:pt x="203" y="14"/>
                    <a:pt x="200" y="16"/>
                    <a:pt x="198" y="17"/>
                  </a:cubicBezTo>
                  <a:cubicBezTo>
                    <a:pt x="197" y="18"/>
                    <a:pt x="195" y="18"/>
                    <a:pt x="194" y="18"/>
                  </a:cubicBezTo>
                  <a:cubicBezTo>
                    <a:pt x="193" y="19"/>
                    <a:pt x="192" y="20"/>
                    <a:pt x="190" y="20"/>
                  </a:cubicBezTo>
                  <a:cubicBezTo>
                    <a:pt x="188" y="20"/>
                    <a:pt x="188" y="18"/>
                    <a:pt x="187" y="18"/>
                  </a:cubicBezTo>
                  <a:cubicBezTo>
                    <a:pt x="186" y="18"/>
                    <a:pt x="182" y="20"/>
                    <a:pt x="182" y="19"/>
                  </a:cubicBezTo>
                  <a:cubicBezTo>
                    <a:pt x="182" y="18"/>
                    <a:pt x="187" y="14"/>
                    <a:pt x="189" y="13"/>
                  </a:cubicBezTo>
                  <a:cubicBezTo>
                    <a:pt x="190" y="12"/>
                    <a:pt x="192" y="11"/>
                    <a:pt x="194" y="10"/>
                  </a:cubicBezTo>
                  <a:cubicBezTo>
                    <a:pt x="193" y="10"/>
                    <a:pt x="192" y="10"/>
                    <a:pt x="192" y="10"/>
                  </a:cubicBezTo>
                  <a:cubicBezTo>
                    <a:pt x="190" y="9"/>
                    <a:pt x="188" y="9"/>
                    <a:pt x="187" y="9"/>
                  </a:cubicBezTo>
                  <a:cubicBezTo>
                    <a:pt x="187" y="9"/>
                    <a:pt x="186" y="10"/>
                    <a:pt x="184" y="10"/>
                  </a:cubicBezTo>
                  <a:cubicBezTo>
                    <a:pt x="183" y="11"/>
                    <a:pt x="183" y="10"/>
                    <a:pt x="181" y="8"/>
                  </a:cubicBezTo>
                  <a:cubicBezTo>
                    <a:pt x="179" y="7"/>
                    <a:pt x="180" y="9"/>
                    <a:pt x="178" y="8"/>
                  </a:cubicBezTo>
                  <a:cubicBezTo>
                    <a:pt x="177" y="6"/>
                    <a:pt x="175" y="6"/>
                    <a:pt x="174" y="6"/>
                  </a:cubicBezTo>
                  <a:cubicBezTo>
                    <a:pt x="174" y="6"/>
                    <a:pt x="172" y="7"/>
                    <a:pt x="170" y="6"/>
                  </a:cubicBezTo>
                  <a:cubicBezTo>
                    <a:pt x="169" y="6"/>
                    <a:pt x="167" y="5"/>
                    <a:pt x="167" y="4"/>
                  </a:cubicBezTo>
                  <a:cubicBezTo>
                    <a:pt x="167" y="4"/>
                    <a:pt x="165" y="1"/>
                    <a:pt x="165" y="1"/>
                  </a:cubicBezTo>
                  <a:cubicBezTo>
                    <a:pt x="164" y="0"/>
                    <a:pt x="164" y="1"/>
                    <a:pt x="164" y="2"/>
                  </a:cubicBezTo>
                  <a:cubicBezTo>
                    <a:pt x="164" y="3"/>
                    <a:pt x="163" y="4"/>
                    <a:pt x="163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5"/>
                    <a:pt x="13" y="5"/>
                  </a:cubicBezTo>
                  <a:cubicBezTo>
                    <a:pt x="13" y="6"/>
                    <a:pt x="14" y="8"/>
                    <a:pt x="14" y="10"/>
                  </a:cubicBezTo>
                  <a:cubicBezTo>
                    <a:pt x="14" y="11"/>
                    <a:pt x="14" y="15"/>
                    <a:pt x="13" y="15"/>
                  </a:cubicBezTo>
                  <a:cubicBezTo>
                    <a:pt x="12" y="16"/>
                    <a:pt x="9" y="16"/>
                    <a:pt x="10" y="15"/>
                  </a:cubicBezTo>
                  <a:cubicBezTo>
                    <a:pt x="11" y="13"/>
                    <a:pt x="13" y="11"/>
                    <a:pt x="12" y="10"/>
                  </a:cubicBezTo>
                  <a:cubicBezTo>
                    <a:pt x="10" y="10"/>
                    <a:pt x="7" y="10"/>
                    <a:pt x="5" y="10"/>
                  </a:cubicBezTo>
                  <a:cubicBezTo>
                    <a:pt x="3" y="9"/>
                    <a:pt x="1" y="7"/>
                    <a:pt x="1" y="8"/>
                  </a:cubicBezTo>
                  <a:cubicBezTo>
                    <a:pt x="0" y="10"/>
                    <a:pt x="2" y="14"/>
                    <a:pt x="4" y="17"/>
                  </a:cubicBezTo>
                  <a:cubicBezTo>
                    <a:pt x="5" y="19"/>
                    <a:pt x="3" y="21"/>
                    <a:pt x="5" y="21"/>
                  </a:cubicBezTo>
                  <a:cubicBezTo>
                    <a:pt x="6" y="22"/>
                    <a:pt x="10" y="23"/>
                    <a:pt x="8" y="23"/>
                  </a:cubicBezTo>
                  <a:cubicBezTo>
                    <a:pt x="6" y="23"/>
                    <a:pt x="5" y="24"/>
                    <a:pt x="5" y="26"/>
                  </a:cubicBezTo>
                  <a:cubicBezTo>
                    <a:pt x="5" y="28"/>
                    <a:pt x="5" y="31"/>
                    <a:pt x="5" y="32"/>
                  </a:cubicBezTo>
                  <a:cubicBezTo>
                    <a:pt x="5" y="33"/>
                    <a:pt x="5" y="39"/>
                    <a:pt x="4" y="41"/>
                  </a:cubicBezTo>
                  <a:cubicBezTo>
                    <a:pt x="3" y="43"/>
                    <a:pt x="2" y="45"/>
                    <a:pt x="2" y="46"/>
                  </a:cubicBezTo>
                  <a:cubicBezTo>
                    <a:pt x="2" y="48"/>
                    <a:pt x="2" y="50"/>
                    <a:pt x="3" y="52"/>
                  </a:cubicBezTo>
                  <a:cubicBezTo>
                    <a:pt x="4" y="53"/>
                    <a:pt x="4" y="56"/>
                    <a:pt x="4" y="58"/>
                  </a:cubicBezTo>
                  <a:cubicBezTo>
                    <a:pt x="4" y="59"/>
                    <a:pt x="3" y="62"/>
                    <a:pt x="3" y="63"/>
                  </a:cubicBezTo>
                  <a:cubicBezTo>
                    <a:pt x="3" y="64"/>
                    <a:pt x="5" y="65"/>
                    <a:pt x="5" y="67"/>
                  </a:cubicBezTo>
                  <a:cubicBezTo>
                    <a:pt x="6" y="69"/>
                    <a:pt x="6" y="72"/>
                    <a:pt x="7" y="73"/>
                  </a:cubicBezTo>
                  <a:cubicBezTo>
                    <a:pt x="8" y="74"/>
                    <a:pt x="9" y="74"/>
                    <a:pt x="10" y="76"/>
                  </a:cubicBezTo>
                  <a:cubicBezTo>
                    <a:pt x="11" y="78"/>
                    <a:pt x="11" y="79"/>
                    <a:pt x="12" y="79"/>
                  </a:cubicBezTo>
                  <a:cubicBezTo>
                    <a:pt x="12" y="79"/>
                    <a:pt x="13" y="77"/>
                    <a:pt x="13" y="78"/>
                  </a:cubicBezTo>
                  <a:cubicBezTo>
                    <a:pt x="14" y="79"/>
                    <a:pt x="15" y="81"/>
                    <a:pt x="15" y="81"/>
                  </a:cubicBezTo>
                  <a:cubicBezTo>
                    <a:pt x="14" y="81"/>
                    <a:pt x="13" y="80"/>
                    <a:pt x="13" y="81"/>
                  </a:cubicBezTo>
                  <a:cubicBezTo>
                    <a:pt x="13" y="81"/>
                    <a:pt x="14" y="84"/>
                    <a:pt x="15" y="85"/>
                  </a:cubicBezTo>
                  <a:cubicBezTo>
                    <a:pt x="16" y="85"/>
                    <a:pt x="17" y="85"/>
                    <a:pt x="17" y="86"/>
                  </a:cubicBezTo>
                  <a:cubicBezTo>
                    <a:pt x="17" y="87"/>
                    <a:pt x="16" y="88"/>
                    <a:pt x="17" y="89"/>
                  </a:cubicBezTo>
                  <a:cubicBezTo>
                    <a:pt x="17" y="90"/>
                    <a:pt x="22" y="95"/>
                    <a:pt x="23" y="97"/>
                  </a:cubicBezTo>
                  <a:cubicBezTo>
                    <a:pt x="24" y="99"/>
                    <a:pt x="23" y="100"/>
                    <a:pt x="25" y="100"/>
                  </a:cubicBezTo>
                  <a:cubicBezTo>
                    <a:pt x="27" y="101"/>
                    <a:pt x="31" y="102"/>
                    <a:pt x="32" y="103"/>
                  </a:cubicBezTo>
                  <a:cubicBezTo>
                    <a:pt x="34" y="104"/>
                    <a:pt x="35" y="103"/>
                    <a:pt x="36" y="104"/>
                  </a:cubicBezTo>
                  <a:cubicBezTo>
                    <a:pt x="38" y="105"/>
                    <a:pt x="42" y="109"/>
                    <a:pt x="42" y="110"/>
                  </a:cubicBezTo>
                  <a:cubicBezTo>
                    <a:pt x="42" y="111"/>
                    <a:pt x="42" y="112"/>
                    <a:pt x="43" y="113"/>
                  </a:cubicBezTo>
                  <a:cubicBezTo>
                    <a:pt x="56" y="112"/>
                    <a:pt x="56" y="112"/>
                    <a:pt x="56" y="112"/>
                  </a:cubicBezTo>
                  <a:lnTo>
                    <a:pt x="76" y="120"/>
                  </a:ln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708" name="Freeform 623">
              <a:extLst>
                <a:ext uri="{FF2B5EF4-FFF2-40B4-BE49-F238E27FC236}">
                  <a16:creationId xmlns:a16="http://schemas.microsoft.com/office/drawing/2014/main" id="{69B1ADBF-3351-3646-A149-D5C3101F65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1641" y="2395462"/>
              <a:ext cx="1531733" cy="789472"/>
            </a:xfrm>
            <a:custGeom>
              <a:avLst/>
              <a:gdLst>
                <a:gd name="T0" fmla="*/ 288 w 474"/>
                <a:gd name="T1" fmla="*/ 199 h 244"/>
                <a:gd name="T2" fmla="*/ 336 w 474"/>
                <a:gd name="T3" fmla="*/ 225 h 244"/>
                <a:gd name="T4" fmla="*/ 335 w 474"/>
                <a:gd name="T5" fmla="*/ 239 h 244"/>
                <a:gd name="T6" fmla="*/ 385 w 474"/>
                <a:gd name="T7" fmla="*/ 222 h 244"/>
                <a:gd name="T8" fmla="*/ 411 w 474"/>
                <a:gd name="T9" fmla="*/ 223 h 244"/>
                <a:gd name="T10" fmla="*/ 430 w 474"/>
                <a:gd name="T11" fmla="*/ 219 h 244"/>
                <a:gd name="T12" fmla="*/ 416 w 474"/>
                <a:gd name="T13" fmla="*/ 227 h 244"/>
                <a:gd name="T14" fmla="*/ 443 w 474"/>
                <a:gd name="T15" fmla="*/ 219 h 244"/>
                <a:gd name="T16" fmla="*/ 420 w 474"/>
                <a:gd name="T17" fmla="*/ 207 h 244"/>
                <a:gd name="T18" fmla="*/ 427 w 474"/>
                <a:gd name="T19" fmla="*/ 198 h 244"/>
                <a:gd name="T20" fmla="*/ 390 w 474"/>
                <a:gd name="T21" fmla="*/ 199 h 244"/>
                <a:gd name="T22" fmla="*/ 467 w 474"/>
                <a:gd name="T23" fmla="*/ 177 h 244"/>
                <a:gd name="T24" fmla="*/ 465 w 474"/>
                <a:gd name="T25" fmla="*/ 157 h 244"/>
                <a:gd name="T26" fmla="*/ 459 w 474"/>
                <a:gd name="T27" fmla="*/ 155 h 244"/>
                <a:gd name="T28" fmla="*/ 447 w 474"/>
                <a:gd name="T29" fmla="*/ 144 h 244"/>
                <a:gd name="T30" fmla="*/ 437 w 474"/>
                <a:gd name="T31" fmla="*/ 130 h 244"/>
                <a:gd name="T32" fmla="*/ 430 w 474"/>
                <a:gd name="T33" fmla="*/ 117 h 244"/>
                <a:gd name="T34" fmla="*/ 419 w 474"/>
                <a:gd name="T35" fmla="*/ 118 h 244"/>
                <a:gd name="T36" fmla="*/ 398 w 474"/>
                <a:gd name="T37" fmla="*/ 128 h 244"/>
                <a:gd name="T38" fmla="*/ 397 w 474"/>
                <a:gd name="T39" fmla="*/ 117 h 244"/>
                <a:gd name="T40" fmla="*/ 386 w 474"/>
                <a:gd name="T41" fmla="*/ 99 h 244"/>
                <a:gd name="T42" fmla="*/ 358 w 474"/>
                <a:gd name="T43" fmla="*/ 89 h 244"/>
                <a:gd name="T44" fmla="*/ 347 w 474"/>
                <a:gd name="T45" fmla="*/ 121 h 244"/>
                <a:gd name="T46" fmla="*/ 342 w 474"/>
                <a:gd name="T47" fmla="*/ 176 h 244"/>
                <a:gd name="T48" fmla="*/ 326 w 474"/>
                <a:gd name="T49" fmla="*/ 151 h 244"/>
                <a:gd name="T50" fmla="*/ 268 w 474"/>
                <a:gd name="T51" fmla="*/ 134 h 244"/>
                <a:gd name="T52" fmla="*/ 268 w 474"/>
                <a:gd name="T53" fmla="*/ 90 h 244"/>
                <a:gd name="T54" fmla="*/ 266 w 474"/>
                <a:gd name="T55" fmla="*/ 76 h 244"/>
                <a:gd name="T56" fmla="*/ 280 w 474"/>
                <a:gd name="T57" fmla="*/ 78 h 244"/>
                <a:gd name="T58" fmla="*/ 282 w 474"/>
                <a:gd name="T59" fmla="*/ 58 h 244"/>
                <a:gd name="T60" fmla="*/ 317 w 474"/>
                <a:gd name="T61" fmla="*/ 53 h 244"/>
                <a:gd name="T62" fmla="*/ 326 w 474"/>
                <a:gd name="T63" fmla="*/ 38 h 244"/>
                <a:gd name="T64" fmla="*/ 310 w 474"/>
                <a:gd name="T65" fmla="*/ 21 h 244"/>
                <a:gd name="T66" fmla="*/ 298 w 474"/>
                <a:gd name="T67" fmla="*/ 47 h 244"/>
                <a:gd name="T68" fmla="*/ 279 w 474"/>
                <a:gd name="T69" fmla="*/ 26 h 244"/>
                <a:gd name="T70" fmla="*/ 272 w 474"/>
                <a:gd name="T71" fmla="*/ 16 h 244"/>
                <a:gd name="T72" fmla="*/ 254 w 474"/>
                <a:gd name="T73" fmla="*/ 4 h 244"/>
                <a:gd name="T74" fmla="*/ 261 w 474"/>
                <a:gd name="T75" fmla="*/ 25 h 244"/>
                <a:gd name="T76" fmla="*/ 253 w 474"/>
                <a:gd name="T77" fmla="*/ 45 h 244"/>
                <a:gd name="T78" fmla="*/ 236 w 474"/>
                <a:gd name="T79" fmla="*/ 35 h 244"/>
                <a:gd name="T80" fmla="*/ 196 w 474"/>
                <a:gd name="T81" fmla="*/ 30 h 244"/>
                <a:gd name="T82" fmla="*/ 186 w 474"/>
                <a:gd name="T83" fmla="*/ 38 h 244"/>
                <a:gd name="T84" fmla="*/ 183 w 474"/>
                <a:gd name="T85" fmla="*/ 45 h 244"/>
                <a:gd name="T86" fmla="*/ 148 w 474"/>
                <a:gd name="T87" fmla="*/ 41 h 244"/>
                <a:gd name="T88" fmla="*/ 98 w 474"/>
                <a:gd name="T89" fmla="*/ 25 h 244"/>
                <a:gd name="T90" fmla="*/ 86 w 474"/>
                <a:gd name="T91" fmla="*/ 26 h 244"/>
                <a:gd name="T92" fmla="*/ 58 w 474"/>
                <a:gd name="T93" fmla="*/ 26 h 244"/>
                <a:gd name="T94" fmla="*/ 52 w 474"/>
                <a:gd name="T95" fmla="*/ 24 h 244"/>
                <a:gd name="T96" fmla="*/ 39 w 474"/>
                <a:gd name="T97" fmla="*/ 26 h 244"/>
                <a:gd name="T98" fmla="*/ 37 w 474"/>
                <a:gd name="T99" fmla="*/ 32 h 244"/>
                <a:gd name="T100" fmla="*/ 4 w 474"/>
                <a:gd name="T101" fmla="*/ 108 h 244"/>
                <a:gd name="T102" fmla="*/ 43 w 474"/>
                <a:gd name="T103" fmla="*/ 124 h 244"/>
                <a:gd name="T104" fmla="*/ 59 w 474"/>
                <a:gd name="T105" fmla="*/ 157 h 244"/>
                <a:gd name="T106" fmla="*/ 70 w 474"/>
                <a:gd name="T107" fmla="*/ 166 h 244"/>
                <a:gd name="T108" fmla="*/ 79 w 474"/>
                <a:gd name="T109" fmla="*/ 175 h 244"/>
                <a:gd name="T110" fmla="*/ 90 w 474"/>
                <a:gd name="T111" fmla="*/ 183 h 244"/>
                <a:gd name="T112" fmla="*/ 100 w 474"/>
                <a:gd name="T113" fmla="*/ 191 h 244"/>
                <a:gd name="T114" fmla="*/ 115 w 474"/>
                <a:gd name="T115" fmla="*/ 61 h 244"/>
                <a:gd name="T116" fmla="*/ 90 w 474"/>
                <a:gd name="T117" fmla="*/ 57 h 244"/>
                <a:gd name="T118" fmla="*/ 176 w 474"/>
                <a:gd name="T119" fmla="*/ 86 h 244"/>
                <a:gd name="T120" fmla="*/ 137 w 474"/>
                <a:gd name="T121" fmla="*/ 102 h 244"/>
                <a:gd name="T122" fmla="*/ 164 w 474"/>
                <a:gd name="T123" fmla="*/ 88 h 244"/>
                <a:gd name="T124" fmla="*/ 236 w 474"/>
                <a:gd name="T125" fmla="*/ 16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74" h="244">
                  <a:moveTo>
                    <a:pt x="255" y="193"/>
                  </a:moveTo>
                  <a:cubicBezTo>
                    <a:pt x="255" y="192"/>
                    <a:pt x="255" y="191"/>
                    <a:pt x="256" y="192"/>
                  </a:cubicBezTo>
                  <a:cubicBezTo>
                    <a:pt x="256" y="192"/>
                    <a:pt x="258" y="195"/>
                    <a:pt x="258" y="195"/>
                  </a:cubicBezTo>
                  <a:cubicBezTo>
                    <a:pt x="258" y="196"/>
                    <a:pt x="260" y="197"/>
                    <a:pt x="261" y="197"/>
                  </a:cubicBezTo>
                  <a:cubicBezTo>
                    <a:pt x="263" y="198"/>
                    <a:pt x="265" y="197"/>
                    <a:pt x="265" y="197"/>
                  </a:cubicBezTo>
                  <a:cubicBezTo>
                    <a:pt x="266" y="197"/>
                    <a:pt x="268" y="197"/>
                    <a:pt x="269" y="199"/>
                  </a:cubicBezTo>
                  <a:cubicBezTo>
                    <a:pt x="271" y="200"/>
                    <a:pt x="270" y="198"/>
                    <a:pt x="272" y="199"/>
                  </a:cubicBezTo>
                  <a:cubicBezTo>
                    <a:pt x="274" y="201"/>
                    <a:pt x="274" y="202"/>
                    <a:pt x="275" y="201"/>
                  </a:cubicBezTo>
                  <a:cubicBezTo>
                    <a:pt x="277" y="201"/>
                    <a:pt x="278" y="200"/>
                    <a:pt x="278" y="200"/>
                  </a:cubicBezTo>
                  <a:cubicBezTo>
                    <a:pt x="279" y="200"/>
                    <a:pt x="281" y="200"/>
                    <a:pt x="283" y="201"/>
                  </a:cubicBezTo>
                  <a:cubicBezTo>
                    <a:pt x="283" y="201"/>
                    <a:pt x="284" y="201"/>
                    <a:pt x="285" y="201"/>
                  </a:cubicBezTo>
                  <a:cubicBezTo>
                    <a:pt x="286" y="201"/>
                    <a:pt x="287" y="200"/>
                    <a:pt x="288" y="199"/>
                  </a:cubicBezTo>
                  <a:cubicBezTo>
                    <a:pt x="289" y="198"/>
                    <a:pt x="290" y="198"/>
                    <a:pt x="291" y="197"/>
                  </a:cubicBezTo>
                  <a:cubicBezTo>
                    <a:pt x="292" y="196"/>
                    <a:pt x="294" y="194"/>
                    <a:pt x="294" y="194"/>
                  </a:cubicBezTo>
                  <a:cubicBezTo>
                    <a:pt x="295" y="195"/>
                    <a:pt x="295" y="196"/>
                    <a:pt x="297" y="196"/>
                  </a:cubicBezTo>
                  <a:cubicBezTo>
                    <a:pt x="299" y="196"/>
                    <a:pt x="303" y="195"/>
                    <a:pt x="303" y="197"/>
                  </a:cubicBezTo>
                  <a:cubicBezTo>
                    <a:pt x="304" y="198"/>
                    <a:pt x="305" y="201"/>
                    <a:pt x="306" y="201"/>
                  </a:cubicBezTo>
                  <a:cubicBezTo>
                    <a:pt x="308" y="201"/>
                    <a:pt x="311" y="201"/>
                    <a:pt x="311" y="203"/>
                  </a:cubicBezTo>
                  <a:cubicBezTo>
                    <a:pt x="311" y="204"/>
                    <a:pt x="313" y="208"/>
                    <a:pt x="313" y="209"/>
                  </a:cubicBezTo>
                  <a:cubicBezTo>
                    <a:pt x="313" y="210"/>
                    <a:pt x="314" y="213"/>
                    <a:pt x="317" y="214"/>
                  </a:cubicBezTo>
                  <a:cubicBezTo>
                    <a:pt x="320" y="214"/>
                    <a:pt x="330" y="215"/>
                    <a:pt x="332" y="216"/>
                  </a:cubicBezTo>
                  <a:cubicBezTo>
                    <a:pt x="334" y="216"/>
                    <a:pt x="334" y="218"/>
                    <a:pt x="336" y="219"/>
                  </a:cubicBezTo>
                  <a:cubicBezTo>
                    <a:pt x="337" y="221"/>
                    <a:pt x="339" y="223"/>
                    <a:pt x="339" y="224"/>
                  </a:cubicBezTo>
                  <a:cubicBezTo>
                    <a:pt x="338" y="224"/>
                    <a:pt x="337" y="226"/>
                    <a:pt x="336" y="225"/>
                  </a:cubicBezTo>
                  <a:cubicBezTo>
                    <a:pt x="335" y="224"/>
                    <a:pt x="328" y="220"/>
                    <a:pt x="329" y="221"/>
                  </a:cubicBezTo>
                  <a:cubicBezTo>
                    <a:pt x="330" y="222"/>
                    <a:pt x="331" y="224"/>
                    <a:pt x="331" y="225"/>
                  </a:cubicBezTo>
                  <a:cubicBezTo>
                    <a:pt x="330" y="226"/>
                    <a:pt x="329" y="227"/>
                    <a:pt x="329" y="229"/>
                  </a:cubicBezTo>
                  <a:cubicBezTo>
                    <a:pt x="329" y="231"/>
                    <a:pt x="329" y="234"/>
                    <a:pt x="328" y="234"/>
                  </a:cubicBezTo>
                  <a:cubicBezTo>
                    <a:pt x="328" y="235"/>
                    <a:pt x="325" y="236"/>
                    <a:pt x="325" y="236"/>
                  </a:cubicBezTo>
                  <a:cubicBezTo>
                    <a:pt x="325" y="236"/>
                    <a:pt x="324" y="236"/>
                    <a:pt x="324" y="236"/>
                  </a:cubicBezTo>
                  <a:cubicBezTo>
                    <a:pt x="324" y="236"/>
                    <a:pt x="324" y="236"/>
                    <a:pt x="324" y="236"/>
                  </a:cubicBezTo>
                  <a:cubicBezTo>
                    <a:pt x="324" y="238"/>
                    <a:pt x="323" y="240"/>
                    <a:pt x="322" y="242"/>
                  </a:cubicBezTo>
                  <a:cubicBezTo>
                    <a:pt x="322" y="242"/>
                    <a:pt x="322" y="242"/>
                    <a:pt x="322" y="242"/>
                  </a:cubicBezTo>
                  <a:cubicBezTo>
                    <a:pt x="322" y="242"/>
                    <a:pt x="322" y="242"/>
                    <a:pt x="323" y="243"/>
                  </a:cubicBezTo>
                  <a:cubicBezTo>
                    <a:pt x="325" y="244"/>
                    <a:pt x="330" y="239"/>
                    <a:pt x="331" y="238"/>
                  </a:cubicBezTo>
                  <a:cubicBezTo>
                    <a:pt x="331" y="238"/>
                    <a:pt x="333" y="239"/>
                    <a:pt x="335" y="239"/>
                  </a:cubicBezTo>
                  <a:cubicBezTo>
                    <a:pt x="337" y="239"/>
                    <a:pt x="338" y="238"/>
                    <a:pt x="339" y="237"/>
                  </a:cubicBezTo>
                  <a:cubicBezTo>
                    <a:pt x="340" y="237"/>
                    <a:pt x="342" y="237"/>
                    <a:pt x="343" y="237"/>
                  </a:cubicBezTo>
                  <a:cubicBezTo>
                    <a:pt x="343" y="237"/>
                    <a:pt x="343" y="237"/>
                    <a:pt x="343" y="237"/>
                  </a:cubicBezTo>
                  <a:cubicBezTo>
                    <a:pt x="343" y="236"/>
                    <a:pt x="343" y="235"/>
                    <a:pt x="343" y="234"/>
                  </a:cubicBezTo>
                  <a:cubicBezTo>
                    <a:pt x="342" y="235"/>
                    <a:pt x="340" y="234"/>
                    <a:pt x="340" y="234"/>
                  </a:cubicBezTo>
                  <a:cubicBezTo>
                    <a:pt x="340" y="234"/>
                    <a:pt x="343" y="230"/>
                    <a:pt x="345" y="230"/>
                  </a:cubicBezTo>
                  <a:cubicBezTo>
                    <a:pt x="346" y="230"/>
                    <a:pt x="350" y="229"/>
                    <a:pt x="351" y="229"/>
                  </a:cubicBezTo>
                  <a:cubicBezTo>
                    <a:pt x="353" y="228"/>
                    <a:pt x="352" y="229"/>
                    <a:pt x="354" y="229"/>
                  </a:cubicBezTo>
                  <a:cubicBezTo>
                    <a:pt x="355" y="229"/>
                    <a:pt x="355" y="227"/>
                    <a:pt x="357" y="227"/>
                  </a:cubicBezTo>
                  <a:cubicBezTo>
                    <a:pt x="358" y="228"/>
                    <a:pt x="358" y="228"/>
                    <a:pt x="358" y="229"/>
                  </a:cubicBezTo>
                  <a:cubicBezTo>
                    <a:pt x="366" y="222"/>
                    <a:pt x="366" y="222"/>
                    <a:pt x="366" y="222"/>
                  </a:cubicBezTo>
                  <a:cubicBezTo>
                    <a:pt x="385" y="222"/>
                    <a:pt x="385" y="222"/>
                    <a:pt x="385" y="222"/>
                  </a:cubicBezTo>
                  <a:cubicBezTo>
                    <a:pt x="387" y="220"/>
                    <a:pt x="387" y="220"/>
                    <a:pt x="387" y="220"/>
                  </a:cubicBezTo>
                  <a:cubicBezTo>
                    <a:pt x="389" y="220"/>
                    <a:pt x="389" y="220"/>
                    <a:pt x="389" y="220"/>
                  </a:cubicBezTo>
                  <a:cubicBezTo>
                    <a:pt x="389" y="220"/>
                    <a:pt x="392" y="217"/>
                    <a:pt x="392" y="215"/>
                  </a:cubicBezTo>
                  <a:cubicBezTo>
                    <a:pt x="393" y="214"/>
                    <a:pt x="393" y="214"/>
                    <a:pt x="393" y="213"/>
                  </a:cubicBezTo>
                  <a:cubicBezTo>
                    <a:pt x="393" y="212"/>
                    <a:pt x="393" y="211"/>
                    <a:pt x="393" y="210"/>
                  </a:cubicBezTo>
                  <a:cubicBezTo>
                    <a:pt x="394" y="209"/>
                    <a:pt x="398" y="205"/>
                    <a:pt x="398" y="205"/>
                  </a:cubicBezTo>
                  <a:cubicBezTo>
                    <a:pt x="399" y="205"/>
                    <a:pt x="399" y="207"/>
                    <a:pt x="401" y="207"/>
                  </a:cubicBezTo>
                  <a:cubicBezTo>
                    <a:pt x="402" y="207"/>
                    <a:pt x="402" y="206"/>
                    <a:pt x="403" y="206"/>
                  </a:cubicBezTo>
                  <a:cubicBezTo>
                    <a:pt x="405" y="206"/>
                    <a:pt x="406" y="208"/>
                    <a:pt x="406" y="210"/>
                  </a:cubicBezTo>
                  <a:cubicBezTo>
                    <a:pt x="406" y="212"/>
                    <a:pt x="406" y="215"/>
                    <a:pt x="406" y="217"/>
                  </a:cubicBezTo>
                  <a:cubicBezTo>
                    <a:pt x="406" y="218"/>
                    <a:pt x="409" y="218"/>
                    <a:pt x="409" y="219"/>
                  </a:cubicBezTo>
                  <a:cubicBezTo>
                    <a:pt x="409" y="220"/>
                    <a:pt x="410" y="222"/>
                    <a:pt x="411" y="223"/>
                  </a:cubicBezTo>
                  <a:cubicBezTo>
                    <a:pt x="412" y="222"/>
                    <a:pt x="411" y="222"/>
                    <a:pt x="412" y="222"/>
                  </a:cubicBezTo>
                  <a:cubicBezTo>
                    <a:pt x="414" y="221"/>
                    <a:pt x="415" y="221"/>
                    <a:pt x="416" y="220"/>
                  </a:cubicBezTo>
                  <a:cubicBezTo>
                    <a:pt x="417" y="220"/>
                    <a:pt x="416" y="220"/>
                    <a:pt x="417" y="220"/>
                  </a:cubicBezTo>
                  <a:cubicBezTo>
                    <a:pt x="418" y="220"/>
                    <a:pt x="420" y="219"/>
                    <a:pt x="421" y="218"/>
                  </a:cubicBezTo>
                  <a:cubicBezTo>
                    <a:pt x="422" y="218"/>
                    <a:pt x="423" y="218"/>
                    <a:pt x="424" y="218"/>
                  </a:cubicBezTo>
                  <a:cubicBezTo>
                    <a:pt x="425" y="217"/>
                    <a:pt x="425" y="218"/>
                    <a:pt x="424" y="217"/>
                  </a:cubicBezTo>
                  <a:cubicBezTo>
                    <a:pt x="424" y="216"/>
                    <a:pt x="423" y="215"/>
                    <a:pt x="424" y="215"/>
                  </a:cubicBezTo>
                  <a:cubicBezTo>
                    <a:pt x="424" y="216"/>
                    <a:pt x="424" y="217"/>
                    <a:pt x="425" y="217"/>
                  </a:cubicBezTo>
                  <a:cubicBezTo>
                    <a:pt x="426" y="217"/>
                    <a:pt x="426" y="217"/>
                    <a:pt x="425" y="218"/>
                  </a:cubicBezTo>
                  <a:cubicBezTo>
                    <a:pt x="424" y="219"/>
                    <a:pt x="422" y="219"/>
                    <a:pt x="423" y="219"/>
                  </a:cubicBezTo>
                  <a:cubicBezTo>
                    <a:pt x="424" y="220"/>
                    <a:pt x="424" y="220"/>
                    <a:pt x="425" y="220"/>
                  </a:cubicBezTo>
                  <a:cubicBezTo>
                    <a:pt x="426" y="220"/>
                    <a:pt x="429" y="219"/>
                    <a:pt x="430" y="219"/>
                  </a:cubicBezTo>
                  <a:cubicBezTo>
                    <a:pt x="430" y="220"/>
                    <a:pt x="430" y="220"/>
                    <a:pt x="430" y="220"/>
                  </a:cubicBezTo>
                  <a:cubicBezTo>
                    <a:pt x="430" y="220"/>
                    <a:pt x="430" y="220"/>
                    <a:pt x="430" y="221"/>
                  </a:cubicBezTo>
                  <a:cubicBezTo>
                    <a:pt x="431" y="221"/>
                    <a:pt x="429" y="221"/>
                    <a:pt x="429" y="221"/>
                  </a:cubicBezTo>
                  <a:cubicBezTo>
                    <a:pt x="428" y="221"/>
                    <a:pt x="428" y="221"/>
                    <a:pt x="427" y="221"/>
                  </a:cubicBezTo>
                  <a:cubicBezTo>
                    <a:pt x="427" y="222"/>
                    <a:pt x="427" y="223"/>
                    <a:pt x="427" y="222"/>
                  </a:cubicBezTo>
                  <a:cubicBezTo>
                    <a:pt x="426" y="221"/>
                    <a:pt x="425" y="221"/>
                    <a:pt x="425" y="221"/>
                  </a:cubicBezTo>
                  <a:cubicBezTo>
                    <a:pt x="425" y="220"/>
                    <a:pt x="425" y="220"/>
                    <a:pt x="425" y="220"/>
                  </a:cubicBezTo>
                  <a:cubicBezTo>
                    <a:pt x="424" y="221"/>
                    <a:pt x="424" y="221"/>
                    <a:pt x="424" y="221"/>
                  </a:cubicBezTo>
                  <a:cubicBezTo>
                    <a:pt x="424" y="220"/>
                    <a:pt x="424" y="220"/>
                    <a:pt x="423" y="221"/>
                  </a:cubicBezTo>
                  <a:cubicBezTo>
                    <a:pt x="422" y="222"/>
                    <a:pt x="422" y="222"/>
                    <a:pt x="421" y="222"/>
                  </a:cubicBezTo>
                  <a:cubicBezTo>
                    <a:pt x="420" y="223"/>
                    <a:pt x="419" y="223"/>
                    <a:pt x="418" y="224"/>
                  </a:cubicBezTo>
                  <a:cubicBezTo>
                    <a:pt x="416" y="225"/>
                    <a:pt x="416" y="226"/>
                    <a:pt x="416" y="227"/>
                  </a:cubicBezTo>
                  <a:cubicBezTo>
                    <a:pt x="415" y="228"/>
                    <a:pt x="415" y="230"/>
                    <a:pt x="416" y="231"/>
                  </a:cubicBezTo>
                  <a:cubicBezTo>
                    <a:pt x="417" y="231"/>
                    <a:pt x="418" y="232"/>
                    <a:pt x="419" y="232"/>
                  </a:cubicBezTo>
                  <a:cubicBezTo>
                    <a:pt x="420" y="232"/>
                    <a:pt x="420" y="232"/>
                    <a:pt x="421" y="231"/>
                  </a:cubicBezTo>
                  <a:cubicBezTo>
                    <a:pt x="421" y="231"/>
                    <a:pt x="424" y="229"/>
                    <a:pt x="425" y="228"/>
                  </a:cubicBezTo>
                  <a:cubicBezTo>
                    <a:pt x="426" y="226"/>
                    <a:pt x="428" y="224"/>
                    <a:pt x="428" y="224"/>
                  </a:cubicBezTo>
                  <a:cubicBezTo>
                    <a:pt x="428" y="225"/>
                    <a:pt x="427" y="226"/>
                    <a:pt x="428" y="226"/>
                  </a:cubicBezTo>
                  <a:cubicBezTo>
                    <a:pt x="428" y="226"/>
                    <a:pt x="430" y="226"/>
                    <a:pt x="431" y="225"/>
                  </a:cubicBezTo>
                  <a:cubicBezTo>
                    <a:pt x="431" y="225"/>
                    <a:pt x="431" y="225"/>
                    <a:pt x="432" y="224"/>
                  </a:cubicBezTo>
                  <a:cubicBezTo>
                    <a:pt x="434" y="224"/>
                    <a:pt x="437" y="223"/>
                    <a:pt x="439" y="222"/>
                  </a:cubicBezTo>
                  <a:cubicBezTo>
                    <a:pt x="441" y="221"/>
                    <a:pt x="443" y="221"/>
                    <a:pt x="443" y="221"/>
                  </a:cubicBezTo>
                  <a:cubicBezTo>
                    <a:pt x="444" y="220"/>
                    <a:pt x="443" y="220"/>
                    <a:pt x="443" y="220"/>
                  </a:cubicBezTo>
                  <a:cubicBezTo>
                    <a:pt x="443" y="219"/>
                    <a:pt x="442" y="219"/>
                    <a:pt x="443" y="219"/>
                  </a:cubicBezTo>
                  <a:cubicBezTo>
                    <a:pt x="443" y="218"/>
                    <a:pt x="444" y="218"/>
                    <a:pt x="443" y="218"/>
                  </a:cubicBezTo>
                  <a:cubicBezTo>
                    <a:pt x="442" y="218"/>
                    <a:pt x="440" y="219"/>
                    <a:pt x="440" y="217"/>
                  </a:cubicBezTo>
                  <a:cubicBezTo>
                    <a:pt x="440" y="216"/>
                    <a:pt x="439" y="217"/>
                    <a:pt x="438" y="217"/>
                  </a:cubicBezTo>
                  <a:cubicBezTo>
                    <a:pt x="437" y="218"/>
                    <a:pt x="436" y="218"/>
                    <a:pt x="435" y="218"/>
                  </a:cubicBezTo>
                  <a:cubicBezTo>
                    <a:pt x="434" y="218"/>
                    <a:pt x="434" y="217"/>
                    <a:pt x="433" y="217"/>
                  </a:cubicBezTo>
                  <a:cubicBezTo>
                    <a:pt x="431" y="217"/>
                    <a:pt x="429" y="217"/>
                    <a:pt x="428" y="216"/>
                  </a:cubicBezTo>
                  <a:cubicBezTo>
                    <a:pt x="428" y="215"/>
                    <a:pt x="428" y="215"/>
                    <a:pt x="428" y="215"/>
                  </a:cubicBezTo>
                  <a:cubicBezTo>
                    <a:pt x="429" y="214"/>
                    <a:pt x="428" y="214"/>
                    <a:pt x="427" y="214"/>
                  </a:cubicBezTo>
                  <a:cubicBezTo>
                    <a:pt x="427" y="214"/>
                    <a:pt x="425" y="214"/>
                    <a:pt x="424" y="213"/>
                  </a:cubicBezTo>
                  <a:cubicBezTo>
                    <a:pt x="424" y="212"/>
                    <a:pt x="423" y="210"/>
                    <a:pt x="423" y="209"/>
                  </a:cubicBezTo>
                  <a:cubicBezTo>
                    <a:pt x="423" y="208"/>
                    <a:pt x="422" y="208"/>
                    <a:pt x="421" y="208"/>
                  </a:cubicBezTo>
                  <a:cubicBezTo>
                    <a:pt x="421" y="208"/>
                    <a:pt x="420" y="208"/>
                    <a:pt x="420" y="207"/>
                  </a:cubicBezTo>
                  <a:cubicBezTo>
                    <a:pt x="421" y="207"/>
                    <a:pt x="422" y="206"/>
                    <a:pt x="423" y="205"/>
                  </a:cubicBezTo>
                  <a:cubicBezTo>
                    <a:pt x="423" y="204"/>
                    <a:pt x="423" y="204"/>
                    <a:pt x="423" y="203"/>
                  </a:cubicBezTo>
                  <a:cubicBezTo>
                    <a:pt x="422" y="203"/>
                    <a:pt x="422" y="202"/>
                    <a:pt x="422" y="201"/>
                  </a:cubicBezTo>
                  <a:cubicBezTo>
                    <a:pt x="422" y="201"/>
                    <a:pt x="421" y="201"/>
                    <a:pt x="421" y="202"/>
                  </a:cubicBezTo>
                  <a:cubicBezTo>
                    <a:pt x="420" y="203"/>
                    <a:pt x="420" y="203"/>
                    <a:pt x="420" y="204"/>
                  </a:cubicBezTo>
                  <a:cubicBezTo>
                    <a:pt x="419" y="204"/>
                    <a:pt x="418" y="204"/>
                    <a:pt x="418" y="203"/>
                  </a:cubicBezTo>
                  <a:cubicBezTo>
                    <a:pt x="418" y="202"/>
                    <a:pt x="419" y="202"/>
                    <a:pt x="418" y="202"/>
                  </a:cubicBezTo>
                  <a:cubicBezTo>
                    <a:pt x="416" y="201"/>
                    <a:pt x="415" y="201"/>
                    <a:pt x="416" y="201"/>
                  </a:cubicBezTo>
                  <a:cubicBezTo>
                    <a:pt x="417" y="201"/>
                    <a:pt x="418" y="200"/>
                    <a:pt x="418" y="201"/>
                  </a:cubicBezTo>
                  <a:cubicBezTo>
                    <a:pt x="419" y="201"/>
                    <a:pt x="420" y="201"/>
                    <a:pt x="420" y="201"/>
                  </a:cubicBezTo>
                  <a:cubicBezTo>
                    <a:pt x="421" y="201"/>
                    <a:pt x="423" y="199"/>
                    <a:pt x="424" y="199"/>
                  </a:cubicBezTo>
                  <a:cubicBezTo>
                    <a:pt x="425" y="199"/>
                    <a:pt x="427" y="199"/>
                    <a:pt x="427" y="198"/>
                  </a:cubicBezTo>
                  <a:cubicBezTo>
                    <a:pt x="427" y="197"/>
                    <a:pt x="426" y="197"/>
                    <a:pt x="426" y="196"/>
                  </a:cubicBezTo>
                  <a:cubicBezTo>
                    <a:pt x="425" y="196"/>
                    <a:pt x="425" y="195"/>
                    <a:pt x="425" y="195"/>
                  </a:cubicBezTo>
                  <a:cubicBezTo>
                    <a:pt x="426" y="195"/>
                    <a:pt x="427" y="196"/>
                    <a:pt x="426" y="195"/>
                  </a:cubicBezTo>
                  <a:cubicBezTo>
                    <a:pt x="426" y="195"/>
                    <a:pt x="422" y="193"/>
                    <a:pt x="418" y="193"/>
                  </a:cubicBezTo>
                  <a:cubicBezTo>
                    <a:pt x="414" y="193"/>
                    <a:pt x="407" y="196"/>
                    <a:pt x="405" y="197"/>
                  </a:cubicBezTo>
                  <a:cubicBezTo>
                    <a:pt x="404" y="197"/>
                    <a:pt x="400" y="200"/>
                    <a:pt x="399" y="200"/>
                  </a:cubicBezTo>
                  <a:cubicBezTo>
                    <a:pt x="398" y="201"/>
                    <a:pt x="393" y="206"/>
                    <a:pt x="392" y="207"/>
                  </a:cubicBezTo>
                  <a:cubicBezTo>
                    <a:pt x="391" y="209"/>
                    <a:pt x="390" y="209"/>
                    <a:pt x="389" y="209"/>
                  </a:cubicBezTo>
                  <a:cubicBezTo>
                    <a:pt x="387" y="210"/>
                    <a:pt x="387" y="209"/>
                    <a:pt x="388" y="209"/>
                  </a:cubicBezTo>
                  <a:cubicBezTo>
                    <a:pt x="389" y="208"/>
                    <a:pt x="394" y="204"/>
                    <a:pt x="395" y="202"/>
                  </a:cubicBezTo>
                  <a:cubicBezTo>
                    <a:pt x="395" y="201"/>
                    <a:pt x="396" y="201"/>
                    <a:pt x="395" y="200"/>
                  </a:cubicBezTo>
                  <a:cubicBezTo>
                    <a:pt x="393" y="200"/>
                    <a:pt x="390" y="199"/>
                    <a:pt x="390" y="199"/>
                  </a:cubicBezTo>
                  <a:cubicBezTo>
                    <a:pt x="389" y="198"/>
                    <a:pt x="394" y="200"/>
                    <a:pt x="395" y="200"/>
                  </a:cubicBezTo>
                  <a:cubicBezTo>
                    <a:pt x="397" y="200"/>
                    <a:pt x="399" y="197"/>
                    <a:pt x="400" y="196"/>
                  </a:cubicBezTo>
                  <a:cubicBezTo>
                    <a:pt x="400" y="195"/>
                    <a:pt x="403" y="193"/>
                    <a:pt x="404" y="193"/>
                  </a:cubicBezTo>
                  <a:cubicBezTo>
                    <a:pt x="405" y="192"/>
                    <a:pt x="409" y="193"/>
                    <a:pt x="409" y="191"/>
                  </a:cubicBezTo>
                  <a:cubicBezTo>
                    <a:pt x="410" y="190"/>
                    <a:pt x="411" y="187"/>
                    <a:pt x="412" y="186"/>
                  </a:cubicBezTo>
                  <a:cubicBezTo>
                    <a:pt x="413" y="185"/>
                    <a:pt x="415" y="185"/>
                    <a:pt x="416" y="185"/>
                  </a:cubicBezTo>
                  <a:cubicBezTo>
                    <a:pt x="417" y="185"/>
                    <a:pt x="436" y="185"/>
                    <a:pt x="438" y="185"/>
                  </a:cubicBezTo>
                  <a:cubicBezTo>
                    <a:pt x="440" y="185"/>
                    <a:pt x="440" y="186"/>
                    <a:pt x="442" y="186"/>
                  </a:cubicBezTo>
                  <a:cubicBezTo>
                    <a:pt x="444" y="186"/>
                    <a:pt x="447" y="185"/>
                    <a:pt x="448" y="185"/>
                  </a:cubicBezTo>
                  <a:cubicBezTo>
                    <a:pt x="450" y="184"/>
                    <a:pt x="452" y="184"/>
                    <a:pt x="454" y="183"/>
                  </a:cubicBezTo>
                  <a:cubicBezTo>
                    <a:pt x="456" y="181"/>
                    <a:pt x="457" y="179"/>
                    <a:pt x="459" y="178"/>
                  </a:cubicBezTo>
                  <a:cubicBezTo>
                    <a:pt x="460" y="176"/>
                    <a:pt x="464" y="178"/>
                    <a:pt x="467" y="177"/>
                  </a:cubicBezTo>
                  <a:cubicBezTo>
                    <a:pt x="469" y="176"/>
                    <a:pt x="473" y="173"/>
                    <a:pt x="474" y="172"/>
                  </a:cubicBezTo>
                  <a:cubicBezTo>
                    <a:pt x="474" y="170"/>
                    <a:pt x="474" y="170"/>
                    <a:pt x="473" y="169"/>
                  </a:cubicBezTo>
                  <a:cubicBezTo>
                    <a:pt x="471" y="169"/>
                    <a:pt x="469" y="168"/>
                    <a:pt x="470" y="168"/>
                  </a:cubicBezTo>
                  <a:cubicBezTo>
                    <a:pt x="471" y="168"/>
                    <a:pt x="473" y="168"/>
                    <a:pt x="473" y="167"/>
                  </a:cubicBezTo>
                  <a:cubicBezTo>
                    <a:pt x="473" y="165"/>
                    <a:pt x="473" y="165"/>
                    <a:pt x="472" y="165"/>
                  </a:cubicBezTo>
                  <a:cubicBezTo>
                    <a:pt x="471" y="164"/>
                    <a:pt x="472" y="165"/>
                    <a:pt x="473" y="164"/>
                  </a:cubicBezTo>
                  <a:cubicBezTo>
                    <a:pt x="474" y="163"/>
                    <a:pt x="474" y="163"/>
                    <a:pt x="473" y="162"/>
                  </a:cubicBezTo>
                  <a:cubicBezTo>
                    <a:pt x="471" y="161"/>
                    <a:pt x="470" y="161"/>
                    <a:pt x="470" y="160"/>
                  </a:cubicBezTo>
                  <a:cubicBezTo>
                    <a:pt x="469" y="159"/>
                    <a:pt x="469" y="159"/>
                    <a:pt x="468" y="159"/>
                  </a:cubicBezTo>
                  <a:cubicBezTo>
                    <a:pt x="467" y="160"/>
                    <a:pt x="467" y="161"/>
                    <a:pt x="465" y="160"/>
                  </a:cubicBezTo>
                  <a:cubicBezTo>
                    <a:pt x="464" y="160"/>
                    <a:pt x="465" y="160"/>
                    <a:pt x="466" y="159"/>
                  </a:cubicBezTo>
                  <a:cubicBezTo>
                    <a:pt x="466" y="158"/>
                    <a:pt x="466" y="158"/>
                    <a:pt x="465" y="157"/>
                  </a:cubicBezTo>
                  <a:cubicBezTo>
                    <a:pt x="464" y="157"/>
                    <a:pt x="464" y="156"/>
                    <a:pt x="462" y="156"/>
                  </a:cubicBezTo>
                  <a:cubicBezTo>
                    <a:pt x="461" y="156"/>
                    <a:pt x="460" y="156"/>
                    <a:pt x="459" y="157"/>
                  </a:cubicBezTo>
                  <a:cubicBezTo>
                    <a:pt x="458" y="157"/>
                    <a:pt x="457" y="157"/>
                    <a:pt x="457" y="158"/>
                  </a:cubicBezTo>
                  <a:cubicBezTo>
                    <a:pt x="456" y="159"/>
                    <a:pt x="455" y="160"/>
                    <a:pt x="453" y="160"/>
                  </a:cubicBezTo>
                  <a:cubicBezTo>
                    <a:pt x="452" y="161"/>
                    <a:pt x="450" y="162"/>
                    <a:pt x="450" y="162"/>
                  </a:cubicBezTo>
                  <a:cubicBezTo>
                    <a:pt x="449" y="161"/>
                    <a:pt x="447" y="160"/>
                    <a:pt x="446" y="159"/>
                  </a:cubicBezTo>
                  <a:cubicBezTo>
                    <a:pt x="445" y="159"/>
                    <a:pt x="445" y="158"/>
                    <a:pt x="447" y="159"/>
                  </a:cubicBezTo>
                  <a:cubicBezTo>
                    <a:pt x="448" y="160"/>
                    <a:pt x="449" y="161"/>
                    <a:pt x="450" y="160"/>
                  </a:cubicBezTo>
                  <a:cubicBezTo>
                    <a:pt x="451" y="159"/>
                    <a:pt x="453" y="158"/>
                    <a:pt x="454" y="157"/>
                  </a:cubicBezTo>
                  <a:cubicBezTo>
                    <a:pt x="455" y="157"/>
                    <a:pt x="453" y="157"/>
                    <a:pt x="453" y="157"/>
                  </a:cubicBezTo>
                  <a:cubicBezTo>
                    <a:pt x="452" y="156"/>
                    <a:pt x="453" y="157"/>
                    <a:pt x="455" y="156"/>
                  </a:cubicBezTo>
                  <a:cubicBezTo>
                    <a:pt x="457" y="156"/>
                    <a:pt x="457" y="156"/>
                    <a:pt x="459" y="155"/>
                  </a:cubicBezTo>
                  <a:cubicBezTo>
                    <a:pt x="461" y="154"/>
                    <a:pt x="464" y="154"/>
                    <a:pt x="464" y="153"/>
                  </a:cubicBezTo>
                  <a:cubicBezTo>
                    <a:pt x="464" y="153"/>
                    <a:pt x="463" y="152"/>
                    <a:pt x="462" y="152"/>
                  </a:cubicBezTo>
                  <a:cubicBezTo>
                    <a:pt x="462" y="151"/>
                    <a:pt x="462" y="151"/>
                    <a:pt x="462" y="150"/>
                  </a:cubicBezTo>
                  <a:cubicBezTo>
                    <a:pt x="461" y="150"/>
                    <a:pt x="461" y="150"/>
                    <a:pt x="460" y="151"/>
                  </a:cubicBezTo>
                  <a:cubicBezTo>
                    <a:pt x="459" y="151"/>
                    <a:pt x="457" y="150"/>
                    <a:pt x="456" y="149"/>
                  </a:cubicBezTo>
                  <a:cubicBezTo>
                    <a:pt x="455" y="148"/>
                    <a:pt x="455" y="148"/>
                    <a:pt x="453" y="150"/>
                  </a:cubicBezTo>
                  <a:cubicBezTo>
                    <a:pt x="451" y="152"/>
                    <a:pt x="449" y="152"/>
                    <a:pt x="450" y="151"/>
                  </a:cubicBezTo>
                  <a:cubicBezTo>
                    <a:pt x="451" y="150"/>
                    <a:pt x="452" y="149"/>
                    <a:pt x="452" y="148"/>
                  </a:cubicBezTo>
                  <a:cubicBezTo>
                    <a:pt x="451" y="148"/>
                    <a:pt x="448" y="149"/>
                    <a:pt x="447" y="149"/>
                  </a:cubicBezTo>
                  <a:cubicBezTo>
                    <a:pt x="446" y="150"/>
                    <a:pt x="446" y="150"/>
                    <a:pt x="447" y="149"/>
                  </a:cubicBezTo>
                  <a:cubicBezTo>
                    <a:pt x="447" y="148"/>
                    <a:pt x="448" y="147"/>
                    <a:pt x="448" y="147"/>
                  </a:cubicBezTo>
                  <a:cubicBezTo>
                    <a:pt x="449" y="146"/>
                    <a:pt x="448" y="144"/>
                    <a:pt x="447" y="144"/>
                  </a:cubicBezTo>
                  <a:cubicBezTo>
                    <a:pt x="447" y="144"/>
                    <a:pt x="445" y="144"/>
                    <a:pt x="444" y="143"/>
                  </a:cubicBezTo>
                  <a:cubicBezTo>
                    <a:pt x="444" y="141"/>
                    <a:pt x="443" y="142"/>
                    <a:pt x="442" y="142"/>
                  </a:cubicBezTo>
                  <a:cubicBezTo>
                    <a:pt x="442" y="142"/>
                    <a:pt x="440" y="140"/>
                    <a:pt x="440" y="140"/>
                  </a:cubicBezTo>
                  <a:cubicBezTo>
                    <a:pt x="440" y="139"/>
                    <a:pt x="440" y="139"/>
                    <a:pt x="439" y="139"/>
                  </a:cubicBezTo>
                  <a:cubicBezTo>
                    <a:pt x="439" y="139"/>
                    <a:pt x="439" y="139"/>
                    <a:pt x="439" y="139"/>
                  </a:cubicBezTo>
                  <a:cubicBezTo>
                    <a:pt x="439" y="138"/>
                    <a:pt x="438" y="137"/>
                    <a:pt x="437" y="137"/>
                  </a:cubicBezTo>
                  <a:cubicBezTo>
                    <a:pt x="437" y="136"/>
                    <a:pt x="436" y="135"/>
                    <a:pt x="437" y="135"/>
                  </a:cubicBezTo>
                  <a:cubicBezTo>
                    <a:pt x="437" y="136"/>
                    <a:pt x="438" y="137"/>
                    <a:pt x="439" y="137"/>
                  </a:cubicBezTo>
                  <a:cubicBezTo>
                    <a:pt x="440" y="136"/>
                    <a:pt x="439" y="136"/>
                    <a:pt x="441" y="135"/>
                  </a:cubicBezTo>
                  <a:cubicBezTo>
                    <a:pt x="442" y="135"/>
                    <a:pt x="443" y="134"/>
                    <a:pt x="442" y="133"/>
                  </a:cubicBezTo>
                  <a:cubicBezTo>
                    <a:pt x="441" y="132"/>
                    <a:pt x="440" y="131"/>
                    <a:pt x="439" y="131"/>
                  </a:cubicBezTo>
                  <a:cubicBezTo>
                    <a:pt x="438" y="130"/>
                    <a:pt x="436" y="130"/>
                    <a:pt x="437" y="130"/>
                  </a:cubicBezTo>
                  <a:cubicBezTo>
                    <a:pt x="438" y="130"/>
                    <a:pt x="439" y="129"/>
                    <a:pt x="439" y="128"/>
                  </a:cubicBezTo>
                  <a:cubicBezTo>
                    <a:pt x="439" y="128"/>
                    <a:pt x="437" y="127"/>
                    <a:pt x="436" y="126"/>
                  </a:cubicBezTo>
                  <a:cubicBezTo>
                    <a:pt x="436" y="126"/>
                    <a:pt x="436" y="126"/>
                    <a:pt x="435" y="125"/>
                  </a:cubicBezTo>
                  <a:cubicBezTo>
                    <a:pt x="435" y="125"/>
                    <a:pt x="434" y="125"/>
                    <a:pt x="433" y="125"/>
                  </a:cubicBezTo>
                  <a:cubicBezTo>
                    <a:pt x="433" y="126"/>
                    <a:pt x="431" y="126"/>
                    <a:pt x="433" y="125"/>
                  </a:cubicBezTo>
                  <a:cubicBezTo>
                    <a:pt x="434" y="124"/>
                    <a:pt x="436" y="124"/>
                    <a:pt x="435" y="123"/>
                  </a:cubicBezTo>
                  <a:cubicBezTo>
                    <a:pt x="434" y="122"/>
                    <a:pt x="434" y="122"/>
                    <a:pt x="433" y="122"/>
                  </a:cubicBezTo>
                  <a:cubicBezTo>
                    <a:pt x="432" y="123"/>
                    <a:pt x="429" y="123"/>
                    <a:pt x="430" y="123"/>
                  </a:cubicBezTo>
                  <a:cubicBezTo>
                    <a:pt x="432" y="122"/>
                    <a:pt x="433" y="122"/>
                    <a:pt x="433" y="121"/>
                  </a:cubicBezTo>
                  <a:cubicBezTo>
                    <a:pt x="433" y="120"/>
                    <a:pt x="433" y="120"/>
                    <a:pt x="432" y="119"/>
                  </a:cubicBezTo>
                  <a:cubicBezTo>
                    <a:pt x="432" y="118"/>
                    <a:pt x="432" y="116"/>
                    <a:pt x="431" y="117"/>
                  </a:cubicBezTo>
                  <a:cubicBezTo>
                    <a:pt x="430" y="117"/>
                    <a:pt x="429" y="117"/>
                    <a:pt x="430" y="117"/>
                  </a:cubicBezTo>
                  <a:cubicBezTo>
                    <a:pt x="430" y="116"/>
                    <a:pt x="429" y="115"/>
                    <a:pt x="428" y="113"/>
                  </a:cubicBezTo>
                  <a:cubicBezTo>
                    <a:pt x="426" y="111"/>
                    <a:pt x="426" y="110"/>
                    <a:pt x="426" y="110"/>
                  </a:cubicBezTo>
                  <a:cubicBezTo>
                    <a:pt x="425" y="109"/>
                    <a:pt x="425" y="107"/>
                    <a:pt x="425" y="106"/>
                  </a:cubicBezTo>
                  <a:cubicBezTo>
                    <a:pt x="424" y="105"/>
                    <a:pt x="424" y="106"/>
                    <a:pt x="423" y="107"/>
                  </a:cubicBezTo>
                  <a:cubicBezTo>
                    <a:pt x="423" y="107"/>
                    <a:pt x="422" y="109"/>
                    <a:pt x="422" y="109"/>
                  </a:cubicBezTo>
                  <a:cubicBezTo>
                    <a:pt x="421" y="110"/>
                    <a:pt x="422" y="111"/>
                    <a:pt x="422" y="111"/>
                  </a:cubicBezTo>
                  <a:cubicBezTo>
                    <a:pt x="422" y="111"/>
                    <a:pt x="421" y="111"/>
                    <a:pt x="420" y="111"/>
                  </a:cubicBezTo>
                  <a:cubicBezTo>
                    <a:pt x="420" y="111"/>
                    <a:pt x="419" y="113"/>
                    <a:pt x="420" y="113"/>
                  </a:cubicBezTo>
                  <a:cubicBezTo>
                    <a:pt x="420" y="114"/>
                    <a:pt x="422" y="115"/>
                    <a:pt x="421" y="115"/>
                  </a:cubicBezTo>
                  <a:cubicBezTo>
                    <a:pt x="420" y="114"/>
                    <a:pt x="420" y="114"/>
                    <a:pt x="419" y="115"/>
                  </a:cubicBezTo>
                  <a:cubicBezTo>
                    <a:pt x="419" y="116"/>
                    <a:pt x="418" y="116"/>
                    <a:pt x="419" y="117"/>
                  </a:cubicBezTo>
                  <a:cubicBezTo>
                    <a:pt x="420" y="118"/>
                    <a:pt x="420" y="118"/>
                    <a:pt x="419" y="118"/>
                  </a:cubicBezTo>
                  <a:cubicBezTo>
                    <a:pt x="418" y="118"/>
                    <a:pt x="416" y="118"/>
                    <a:pt x="416" y="120"/>
                  </a:cubicBezTo>
                  <a:cubicBezTo>
                    <a:pt x="417" y="121"/>
                    <a:pt x="417" y="122"/>
                    <a:pt x="417" y="123"/>
                  </a:cubicBezTo>
                  <a:cubicBezTo>
                    <a:pt x="416" y="124"/>
                    <a:pt x="416" y="123"/>
                    <a:pt x="416" y="122"/>
                  </a:cubicBezTo>
                  <a:cubicBezTo>
                    <a:pt x="416" y="121"/>
                    <a:pt x="414" y="120"/>
                    <a:pt x="413" y="121"/>
                  </a:cubicBezTo>
                  <a:cubicBezTo>
                    <a:pt x="412" y="121"/>
                    <a:pt x="412" y="123"/>
                    <a:pt x="411" y="123"/>
                  </a:cubicBezTo>
                  <a:cubicBezTo>
                    <a:pt x="409" y="123"/>
                    <a:pt x="408" y="124"/>
                    <a:pt x="408" y="125"/>
                  </a:cubicBezTo>
                  <a:cubicBezTo>
                    <a:pt x="407" y="126"/>
                    <a:pt x="407" y="125"/>
                    <a:pt x="407" y="125"/>
                  </a:cubicBezTo>
                  <a:cubicBezTo>
                    <a:pt x="407" y="124"/>
                    <a:pt x="406" y="123"/>
                    <a:pt x="406" y="124"/>
                  </a:cubicBezTo>
                  <a:cubicBezTo>
                    <a:pt x="405" y="124"/>
                    <a:pt x="405" y="124"/>
                    <a:pt x="405" y="124"/>
                  </a:cubicBezTo>
                  <a:cubicBezTo>
                    <a:pt x="406" y="123"/>
                    <a:pt x="405" y="121"/>
                    <a:pt x="405" y="122"/>
                  </a:cubicBezTo>
                  <a:cubicBezTo>
                    <a:pt x="404" y="123"/>
                    <a:pt x="402" y="126"/>
                    <a:pt x="401" y="126"/>
                  </a:cubicBezTo>
                  <a:cubicBezTo>
                    <a:pt x="399" y="127"/>
                    <a:pt x="398" y="128"/>
                    <a:pt x="398" y="128"/>
                  </a:cubicBezTo>
                  <a:cubicBezTo>
                    <a:pt x="397" y="129"/>
                    <a:pt x="397" y="127"/>
                    <a:pt x="398" y="127"/>
                  </a:cubicBezTo>
                  <a:cubicBezTo>
                    <a:pt x="398" y="127"/>
                    <a:pt x="401" y="125"/>
                    <a:pt x="402" y="125"/>
                  </a:cubicBezTo>
                  <a:cubicBezTo>
                    <a:pt x="403" y="124"/>
                    <a:pt x="404" y="123"/>
                    <a:pt x="404" y="122"/>
                  </a:cubicBezTo>
                  <a:cubicBezTo>
                    <a:pt x="403" y="121"/>
                    <a:pt x="403" y="119"/>
                    <a:pt x="402" y="119"/>
                  </a:cubicBezTo>
                  <a:cubicBezTo>
                    <a:pt x="401" y="119"/>
                    <a:pt x="397" y="119"/>
                    <a:pt x="396" y="119"/>
                  </a:cubicBezTo>
                  <a:cubicBezTo>
                    <a:pt x="396" y="120"/>
                    <a:pt x="397" y="120"/>
                    <a:pt x="396" y="120"/>
                  </a:cubicBezTo>
                  <a:cubicBezTo>
                    <a:pt x="395" y="121"/>
                    <a:pt x="394" y="120"/>
                    <a:pt x="393" y="120"/>
                  </a:cubicBezTo>
                  <a:cubicBezTo>
                    <a:pt x="392" y="120"/>
                    <a:pt x="393" y="120"/>
                    <a:pt x="393" y="119"/>
                  </a:cubicBezTo>
                  <a:cubicBezTo>
                    <a:pt x="394" y="119"/>
                    <a:pt x="394" y="118"/>
                    <a:pt x="395" y="118"/>
                  </a:cubicBezTo>
                  <a:cubicBezTo>
                    <a:pt x="395" y="117"/>
                    <a:pt x="395" y="118"/>
                    <a:pt x="396" y="118"/>
                  </a:cubicBezTo>
                  <a:cubicBezTo>
                    <a:pt x="396" y="118"/>
                    <a:pt x="397" y="119"/>
                    <a:pt x="397" y="118"/>
                  </a:cubicBezTo>
                  <a:cubicBezTo>
                    <a:pt x="397" y="118"/>
                    <a:pt x="397" y="117"/>
                    <a:pt x="397" y="117"/>
                  </a:cubicBezTo>
                  <a:cubicBezTo>
                    <a:pt x="398" y="116"/>
                    <a:pt x="398" y="115"/>
                    <a:pt x="397" y="115"/>
                  </a:cubicBezTo>
                  <a:cubicBezTo>
                    <a:pt x="397" y="115"/>
                    <a:pt x="395" y="115"/>
                    <a:pt x="396" y="114"/>
                  </a:cubicBezTo>
                  <a:cubicBezTo>
                    <a:pt x="396" y="113"/>
                    <a:pt x="396" y="112"/>
                    <a:pt x="396" y="111"/>
                  </a:cubicBezTo>
                  <a:cubicBezTo>
                    <a:pt x="395" y="110"/>
                    <a:pt x="395" y="110"/>
                    <a:pt x="394" y="110"/>
                  </a:cubicBezTo>
                  <a:cubicBezTo>
                    <a:pt x="393" y="109"/>
                    <a:pt x="394" y="110"/>
                    <a:pt x="395" y="109"/>
                  </a:cubicBezTo>
                  <a:cubicBezTo>
                    <a:pt x="396" y="108"/>
                    <a:pt x="397" y="108"/>
                    <a:pt x="396" y="108"/>
                  </a:cubicBezTo>
                  <a:cubicBezTo>
                    <a:pt x="395" y="107"/>
                    <a:pt x="395" y="106"/>
                    <a:pt x="395" y="106"/>
                  </a:cubicBezTo>
                  <a:cubicBezTo>
                    <a:pt x="395" y="105"/>
                    <a:pt x="396" y="104"/>
                    <a:pt x="396" y="104"/>
                  </a:cubicBezTo>
                  <a:cubicBezTo>
                    <a:pt x="397" y="103"/>
                    <a:pt x="397" y="102"/>
                    <a:pt x="397" y="101"/>
                  </a:cubicBezTo>
                  <a:cubicBezTo>
                    <a:pt x="396" y="101"/>
                    <a:pt x="395" y="102"/>
                    <a:pt x="394" y="102"/>
                  </a:cubicBezTo>
                  <a:cubicBezTo>
                    <a:pt x="394" y="102"/>
                    <a:pt x="394" y="102"/>
                    <a:pt x="393" y="101"/>
                  </a:cubicBezTo>
                  <a:cubicBezTo>
                    <a:pt x="391" y="101"/>
                    <a:pt x="387" y="101"/>
                    <a:pt x="386" y="99"/>
                  </a:cubicBezTo>
                  <a:cubicBezTo>
                    <a:pt x="384" y="98"/>
                    <a:pt x="385" y="97"/>
                    <a:pt x="384" y="96"/>
                  </a:cubicBezTo>
                  <a:cubicBezTo>
                    <a:pt x="383" y="96"/>
                    <a:pt x="383" y="96"/>
                    <a:pt x="382" y="96"/>
                  </a:cubicBezTo>
                  <a:cubicBezTo>
                    <a:pt x="381" y="95"/>
                    <a:pt x="381" y="94"/>
                    <a:pt x="381" y="94"/>
                  </a:cubicBezTo>
                  <a:cubicBezTo>
                    <a:pt x="381" y="94"/>
                    <a:pt x="380" y="94"/>
                    <a:pt x="379" y="94"/>
                  </a:cubicBezTo>
                  <a:cubicBezTo>
                    <a:pt x="378" y="94"/>
                    <a:pt x="379" y="95"/>
                    <a:pt x="379" y="94"/>
                  </a:cubicBezTo>
                  <a:cubicBezTo>
                    <a:pt x="379" y="93"/>
                    <a:pt x="379" y="93"/>
                    <a:pt x="378" y="92"/>
                  </a:cubicBezTo>
                  <a:cubicBezTo>
                    <a:pt x="377" y="91"/>
                    <a:pt x="377" y="91"/>
                    <a:pt x="376" y="91"/>
                  </a:cubicBezTo>
                  <a:cubicBezTo>
                    <a:pt x="375" y="90"/>
                    <a:pt x="375" y="88"/>
                    <a:pt x="373" y="89"/>
                  </a:cubicBezTo>
                  <a:cubicBezTo>
                    <a:pt x="371" y="90"/>
                    <a:pt x="370" y="92"/>
                    <a:pt x="368" y="91"/>
                  </a:cubicBezTo>
                  <a:cubicBezTo>
                    <a:pt x="366" y="91"/>
                    <a:pt x="366" y="90"/>
                    <a:pt x="364" y="90"/>
                  </a:cubicBezTo>
                  <a:cubicBezTo>
                    <a:pt x="363" y="91"/>
                    <a:pt x="363" y="92"/>
                    <a:pt x="362" y="91"/>
                  </a:cubicBezTo>
                  <a:cubicBezTo>
                    <a:pt x="360" y="90"/>
                    <a:pt x="360" y="89"/>
                    <a:pt x="358" y="89"/>
                  </a:cubicBezTo>
                  <a:cubicBezTo>
                    <a:pt x="356" y="89"/>
                    <a:pt x="355" y="88"/>
                    <a:pt x="353" y="88"/>
                  </a:cubicBezTo>
                  <a:cubicBezTo>
                    <a:pt x="351" y="89"/>
                    <a:pt x="348" y="90"/>
                    <a:pt x="349" y="92"/>
                  </a:cubicBezTo>
                  <a:cubicBezTo>
                    <a:pt x="350" y="95"/>
                    <a:pt x="352" y="95"/>
                    <a:pt x="351" y="97"/>
                  </a:cubicBezTo>
                  <a:cubicBezTo>
                    <a:pt x="350" y="99"/>
                    <a:pt x="351" y="99"/>
                    <a:pt x="350" y="101"/>
                  </a:cubicBezTo>
                  <a:cubicBezTo>
                    <a:pt x="350" y="102"/>
                    <a:pt x="349" y="101"/>
                    <a:pt x="349" y="102"/>
                  </a:cubicBezTo>
                  <a:cubicBezTo>
                    <a:pt x="350" y="103"/>
                    <a:pt x="351" y="103"/>
                    <a:pt x="351" y="105"/>
                  </a:cubicBezTo>
                  <a:cubicBezTo>
                    <a:pt x="352" y="106"/>
                    <a:pt x="351" y="106"/>
                    <a:pt x="352" y="107"/>
                  </a:cubicBezTo>
                  <a:cubicBezTo>
                    <a:pt x="352" y="108"/>
                    <a:pt x="352" y="109"/>
                    <a:pt x="352" y="109"/>
                  </a:cubicBezTo>
                  <a:cubicBezTo>
                    <a:pt x="352" y="110"/>
                    <a:pt x="352" y="112"/>
                    <a:pt x="352" y="113"/>
                  </a:cubicBezTo>
                  <a:cubicBezTo>
                    <a:pt x="351" y="113"/>
                    <a:pt x="351" y="112"/>
                    <a:pt x="350" y="113"/>
                  </a:cubicBezTo>
                  <a:cubicBezTo>
                    <a:pt x="350" y="115"/>
                    <a:pt x="349" y="116"/>
                    <a:pt x="348" y="118"/>
                  </a:cubicBezTo>
                  <a:cubicBezTo>
                    <a:pt x="347" y="119"/>
                    <a:pt x="346" y="121"/>
                    <a:pt x="347" y="121"/>
                  </a:cubicBezTo>
                  <a:cubicBezTo>
                    <a:pt x="348" y="122"/>
                    <a:pt x="357" y="127"/>
                    <a:pt x="357" y="132"/>
                  </a:cubicBezTo>
                  <a:cubicBezTo>
                    <a:pt x="357" y="136"/>
                    <a:pt x="360" y="140"/>
                    <a:pt x="354" y="145"/>
                  </a:cubicBezTo>
                  <a:cubicBezTo>
                    <a:pt x="348" y="149"/>
                    <a:pt x="344" y="151"/>
                    <a:pt x="343" y="151"/>
                  </a:cubicBezTo>
                  <a:cubicBezTo>
                    <a:pt x="341" y="151"/>
                    <a:pt x="340" y="153"/>
                    <a:pt x="342" y="156"/>
                  </a:cubicBezTo>
                  <a:cubicBezTo>
                    <a:pt x="344" y="159"/>
                    <a:pt x="343" y="159"/>
                    <a:pt x="343" y="160"/>
                  </a:cubicBezTo>
                  <a:cubicBezTo>
                    <a:pt x="343" y="161"/>
                    <a:pt x="344" y="161"/>
                    <a:pt x="344" y="162"/>
                  </a:cubicBezTo>
                  <a:cubicBezTo>
                    <a:pt x="344" y="162"/>
                    <a:pt x="343" y="164"/>
                    <a:pt x="345" y="166"/>
                  </a:cubicBezTo>
                  <a:cubicBezTo>
                    <a:pt x="346" y="169"/>
                    <a:pt x="346" y="172"/>
                    <a:pt x="345" y="172"/>
                  </a:cubicBezTo>
                  <a:cubicBezTo>
                    <a:pt x="345" y="173"/>
                    <a:pt x="343" y="174"/>
                    <a:pt x="344" y="174"/>
                  </a:cubicBezTo>
                  <a:cubicBezTo>
                    <a:pt x="345" y="175"/>
                    <a:pt x="345" y="177"/>
                    <a:pt x="345" y="178"/>
                  </a:cubicBezTo>
                  <a:cubicBezTo>
                    <a:pt x="344" y="179"/>
                    <a:pt x="344" y="178"/>
                    <a:pt x="344" y="177"/>
                  </a:cubicBezTo>
                  <a:cubicBezTo>
                    <a:pt x="343" y="176"/>
                    <a:pt x="343" y="176"/>
                    <a:pt x="342" y="176"/>
                  </a:cubicBezTo>
                  <a:cubicBezTo>
                    <a:pt x="341" y="176"/>
                    <a:pt x="340" y="178"/>
                    <a:pt x="340" y="179"/>
                  </a:cubicBezTo>
                  <a:cubicBezTo>
                    <a:pt x="341" y="180"/>
                    <a:pt x="343" y="183"/>
                    <a:pt x="342" y="182"/>
                  </a:cubicBezTo>
                  <a:cubicBezTo>
                    <a:pt x="341" y="181"/>
                    <a:pt x="337" y="177"/>
                    <a:pt x="336" y="177"/>
                  </a:cubicBezTo>
                  <a:cubicBezTo>
                    <a:pt x="335" y="177"/>
                    <a:pt x="331" y="180"/>
                    <a:pt x="333" y="179"/>
                  </a:cubicBezTo>
                  <a:cubicBezTo>
                    <a:pt x="334" y="178"/>
                    <a:pt x="335" y="176"/>
                    <a:pt x="334" y="174"/>
                  </a:cubicBezTo>
                  <a:cubicBezTo>
                    <a:pt x="333" y="173"/>
                    <a:pt x="331" y="171"/>
                    <a:pt x="329" y="171"/>
                  </a:cubicBezTo>
                  <a:cubicBezTo>
                    <a:pt x="328" y="171"/>
                    <a:pt x="328" y="171"/>
                    <a:pt x="329" y="170"/>
                  </a:cubicBezTo>
                  <a:cubicBezTo>
                    <a:pt x="329" y="169"/>
                    <a:pt x="327" y="168"/>
                    <a:pt x="327" y="166"/>
                  </a:cubicBezTo>
                  <a:cubicBezTo>
                    <a:pt x="326" y="165"/>
                    <a:pt x="325" y="164"/>
                    <a:pt x="326" y="162"/>
                  </a:cubicBezTo>
                  <a:cubicBezTo>
                    <a:pt x="327" y="161"/>
                    <a:pt x="326" y="159"/>
                    <a:pt x="326" y="158"/>
                  </a:cubicBezTo>
                  <a:cubicBezTo>
                    <a:pt x="325" y="157"/>
                    <a:pt x="324" y="156"/>
                    <a:pt x="324" y="155"/>
                  </a:cubicBezTo>
                  <a:cubicBezTo>
                    <a:pt x="325" y="154"/>
                    <a:pt x="326" y="152"/>
                    <a:pt x="326" y="151"/>
                  </a:cubicBezTo>
                  <a:cubicBezTo>
                    <a:pt x="325" y="149"/>
                    <a:pt x="324" y="148"/>
                    <a:pt x="322" y="148"/>
                  </a:cubicBezTo>
                  <a:cubicBezTo>
                    <a:pt x="320" y="148"/>
                    <a:pt x="312" y="147"/>
                    <a:pt x="311" y="148"/>
                  </a:cubicBezTo>
                  <a:cubicBezTo>
                    <a:pt x="310" y="148"/>
                    <a:pt x="308" y="151"/>
                    <a:pt x="309" y="149"/>
                  </a:cubicBezTo>
                  <a:cubicBezTo>
                    <a:pt x="309" y="147"/>
                    <a:pt x="309" y="147"/>
                    <a:pt x="307" y="146"/>
                  </a:cubicBezTo>
                  <a:cubicBezTo>
                    <a:pt x="305" y="144"/>
                    <a:pt x="298" y="143"/>
                    <a:pt x="297" y="142"/>
                  </a:cubicBezTo>
                  <a:cubicBezTo>
                    <a:pt x="296" y="141"/>
                    <a:pt x="296" y="140"/>
                    <a:pt x="295" y="139"/>
                  </a:cubicBezTo>
                  <a:cubicBezTo>
                    <a:pt x="294" y="138"/>
                    <a:pt x="293" y="138"/>
                    <a:pt x="291" y="137"/>
                  </a:cubicBezTo>
                  <a:cubicBezTo>
                    <a:pt x="290" y="136"/>
                    <a:pt x="290" y="136"/>
                    <a:pt x="288" y="135"/>
                  </a:cubicBezTo>
                  <a:cubicBezTo>
                    <a:pt x="287" y="134"/>
                    <a:pt x="284" y="134"/>
                    <a:pt x="283" y="134"/>
                  </a:cubicBezTo>
                  <a:cubicBezTo>
                    <a:pt x="282" y="134"/>
                    <a:pt x="281" y="132"/>
                    <a:pt x="279" y="132"/>
                  </a:cubicBezTo>
                  <a:cubicBezTo>
                    <a:pt x="276" y="132"/>
                    <a:pt x="275" y="133"/>
                    <a:pt x="273" y="133"/>
                  </a:cubicBezTo>
                  <a:cubicBezTo>
                    <a:pt x="271" y="134"/>
                    <a:pt x="266" y="135"/>
                    <a:pt x="268" y="134"/>
                  </a:cubicBezTo>
                  <a:cubicBezTo>
                    <a:pt x="269" y="133"/>
                    <a:pt x="270" y="133"/>
                    <a:pt x="269" y="131"/>
                  </a:cubicBezTo>
                  <a:cubicBezTo>
                    <a:pt x="269" y="129"/>
                    <a:pt x="266" y="122"/>
                    <a:pt x="265" y="121"/>
                  </a:cubicBezTo>
                  <a:cubicBezTo>
                    <a:pt x="265" y="120"/>
                    <a:pt x="262" y="120"/>
                    <a:pt x="261" y="120"/>
                  </a:cubicBezTo>
                  <a:cubicBezTo>
                    <a:pt x="260" y="120"/>
                    <a:pt x="257" y="120"/>
                    <a:pt x="256" y="119"/>
                  </a:cubicBezTo>
                  <a:cubicBezTo>
                    <a:pt x="256" y="117"/>
                    <a:pt x="257" y="117"/>
                    <a:pt x="257" y="116"/>
                  </a:cubicBezTo>
                  <a:cubicBezTo>
                    <a:pt x="257" y="116"/>
                    <a:pt x="256" y="110"/>
                    <a:pt x="257" y="107"/>
                  </a:cubicBezTo>
                  <a:cubicBezTo>
                    <a:pt x="258" y="104"/>
                    <a:pt x="261" y="99"/>
                    <a:pt x="262" y="98"/>
                  </a:cubicBezTo>
                  <a:cubicBezTo>
                    <a:pt x="262" y="97"/>
                    <a:pt x="262" y="96"/>
                    <a:pt x="264" y="96"/>
                  </a:cubicBezTo>
                  <a:cubicBezTo>
                    <a:pt x="265" y="96"/>
                    <a:pt x="265" y="96"/>
                    <a:pt x="265" y="95"/>
                  </a:cubicBezTo>
                  <a:cubicBezTo>
                    <a:pt x="264" y="94"/>
                    <a:pt x="265" y="92"/>
                    <a:pt x="267" y="91"/>
                  </a:cubicBezTo>
                  <a:cubicBezTo>
                    <a:pt x="268" y="91"/>
                    <a:pt x="269" y="91"/>
                    <a:pt x="267" y="91"/>
                  </a:cubicBezTo>
                  <a:cubicBezTo>
                    <a:pt x="266" y="90"/>
                    <a:pt x="267" y="90"/>
                    <a:pt x="268" y="90"/>
                  </a:cubicBezTo>
                  <a:cubicBezTo>
                    <a:pt x="269" y="90"/>
                    <a:pt x="267" y="89"/>
                    <a:pt x="269" y="88"/>
                  </a:cubicBezTo>
                  <a:cubicBezTo>
                    <a:pt x="270" y="88"/>
                    <a:pt x="270" y="89"/>
                    <a:pt x="271" y="89"/>
                  </a:cubicBezTo>
                  <a:cubicBezTo>
                    <a:pt x="272" y="89"/>
                    <a:pt x="273" y="86"/>
                    <a:pt x="272" y="86"/>
                  </a:cubicBezTo>
                  <a:cubicBezTo>
                    <a:pt x="271" y="86"/>
                    <a:pt x="269" y="86"/>
                    <a:pt x="270" y="86"/>
                  </a:cubicBezTo>
                  <a:cubicBezTo>
                    <a:pt x="271" y="85"/>
                    <a:pt x="272" y="84"/>
                    <a:pt x="274" y="85"/>
                  </a:cubicBezTo>
                  <a:cubicBezTo>
                    <a:pt x="275" y="86"/>
                    <a:pt x="276" y="87"/>
                    <a:pt x="277" y="87"/>
                  </a:cubicBezTo>
                  <a:cubicBezTo>
                    <a:pt x="277" y="86"/>
                    <a:pt x="277" y="85"/>
                    <a:pt x="278" y="85"/>
                  </a:cubicBezTo>
                  <a:cubicBezTo>
                    <a:pt x="279" y="84"/>
                    <a:pt x="280" y="83"/>
                    <a:pt x="279" y="82"/>
                  </a:cubicBezTo>
                  <a:cubicBezTo>
                    <a:pt x="277" y="80"/>
                    <a:pt x="276" y="79"/>
                    <a:pt x="274" y="79"/>
                  </a:cubicBezTo>
                  <a:cubicBezTo>
                    <a:pt x="273" y="79"/>
                    <a:pt x="270" y="79"/>
                    <a:pt x="269" y="79"/>
                  </a:cubicBezTo>
                  <a:cubicBezTo>
                    <a:pt x="268" y="80"/>
                    <a:pt x="269" y="78"/>
                    <a:pt x="270" y="78"/>
                  </a:cubicBezTo>
                  <a:cubicBezTo>
                    <a:pt x="270" y="77"/>
                    <a:pt x="267" y="76"/>
                    <a:pt x="266" y="76"/>
                  </a:cubicBezTo>
                  <a:cubicBezTo>
                    <a:pt x="265" y="76"/>
                    <a:pt x="265" y="76"/>
                    <a:pt x="264" y="76"/>
                  </a:cubicBezTo>
                  <a:cubicBezTo>
                    <a:pt x="264" y="76"/>
                    <a:pt x="263" y="76"/>
                    <a:pt x="262" y="75"/>
                  </a:cubicBezTo>
                  <a:cubicBezTo>
                    <a:pt x="261" y="75"/>
                    <a:pt x="262" y="75"/>
                    <a:pt x="262" y="75"/>
                  </a:cubicBezTo>
                  <a:cubicBezTo>
                    <a:pt x="263" y="75"/>
                    <a:pt x="263" y="74"/>
                    <a:pt x="264" y="74"/>
                  </a:cubicBezTo>
                  <a:cubicBezTo>
                    <a:pt x="264" y="74"/>
                    <a:pt x="265" y="74"/>
                    <a:pt x="265" y="74"/>
                  </a:cubicBezTo>
                  <a:cubicBezTo>
                    <a:pt x="265" y="75"/>
                    <a:pt x="265" y="75"/>
                    <a:pt x="266" y="75"/>
                  </a:cubicBezTo>
                  <a:cubicBezTo>
                    <a:pt x="267" y="75"/>
                    <a:pt x="269" y="75"/>
                    <a:pt x="270" y="76"/>
                  </a:cubicBezTo>
                  <a:cubicBezTo>
                    <a:pt x="271" y="76"/>
                    <a:pt x="273" y="77"/>
                    <a:pt x="273" y="77"/>
                  </a:cubicBezTo>
                  <a:cubicBezTo>
                    <a:pt x="274" y="77"/>
                    <a:pt x="273" y="78"/>
                    <a:pt x="274" y="78"/>
                  </a:cubicBezTo>
                  <a:cubicBezTo>
                    <a:pt x="274" y="78"/>
                    <a:pt x="274" y="77"/>
                    <a:pt x="275" y="78"/>
                  </a:cubicBezTo>
                  <a:cubicBezTo>
                    <a:pt x="277" y="78"/>
                    <a:pt x="278" y="80"/>
                    <a:pt x="279" y="79"/>
                  </a:cubicBezTo>
                  <a:cubicBezTo>
                    <a:pt x="280" y="79"/>
                    <a:pt x="279" y="78"/>
                    <a:pt x="280" y="78"/>
                  </a:cubicBezTo>
                  <a:cubicBezTo>
                    <a:pt x="282" y="78"/>
                    <a:pt x="284" y="79"/>
                    <a:pt x="283" y="78"/>
                  </a:cubicBezTo>
                  <a:cubicBezTo>
                    <a:pt x="283" y="77"/>
                    <a:pt x="282" y="77"/>
                    <a:pt x="283" y="76"/>
                  </a:cubicBezTo>
                  <a:cubicBezTo>
                    <a:pt x="283" y="75"/>
                    <a:pt x="285" y="73"/>
                    <a:pt x="284" y="74"/>
                  </a:cubicBezTo>
                  <a:cubicBezTo>
                    <a:pt x="284" y="74"/>
                    <a:pt x="288" y="76"/>
                    <a:pt x="290" y="75"/>
                  </a:cubicBezTo>
                  <a:cubicBezTo>
                    <a:pt x="292" y="75"/>
                    <a:pt x="294" y="74"/>
                    <a:pt x="294" y="72"/>
                  </a:cubicBezTo>
                  <a:cubicBezTo>
                    <a:pt x="295" y="71"/>
                    <a:pt x="298" y="69"/>
                    <a:pt x="299" y="67"/>
                  </a:cubicBezTo>
                  <a:cubicBezTo>
                    <a:pt x="299" y="66"/>
                    <a:pt x="299" y="65"/>
                    <a:pt x="298" y="64"/>
                  </a:cubicBezTo>
                  <a:cubicBezTo>
                    <a:pt x="297" y="63"/>
                    <a:pt x="295" y="64"/>
                    <a:pt x="292" y="64"/>
                  </a:cubicBezTo>
                  <a:cubicBezTo>
                    <a:pt x="289" y="64"/>
                    <a:pt x="286" y="61"/>
                    <a:pt x="285" y="60"/>
                  </a:cubicBezTo>
                  <a:cubicBezTo>
                    <a:pt x="284" y="59"/>
                    <a:pt x="283" y="59"/>
                    <a:pt x="281" y="59"/>
                  </a:cubicBezTo>
                  <a:cubicBezTo>
                    <a:pt x="279" y="58"/>
                    <a:pt x="275" y="59"/>
                    <a:pt x="276" y="58"/>
                  </a:cubicBezTo>
                  <a:cubicBezTo>
                    <a:pt x="277" y="57"/>
                    <a:pt x="280" y="58"/>
                    <a:pt x="282" y="58"/>
                  </a:cubicBezTo>
                  <a:cubicBezTo>
                    <a:pt x="283" y="58"/>
                    <a:pt x="282" y="58"/>
                    <a:pt x="284" y="58"/>
                  </a:cubicBezTo>
                  <a:cubicBezTo>
                    <a:pt x="286" y="58"/>
                    <a:pt x="285" y="57"/>
                    <a:pt x="287" y="58"/>
                  </a:cubicBezTo>
                  <a:cubicBezTo>
                    <a:pt x="288" y="59"/>
                    <a:pt x="292" y="62"/>
                    <a:pt x="294" y="62"/>
                  </a:cubicBezTo>
                  <a:cubicBezTo>
                    <a:pt x="295" y="63"/>
                    <a:pt x="297" y="64"/>
                    <a:pt x="299" y="62"/>
                  </a:cubicBezTo>
                  <a:cubicBezTo>
                    <a:pt x="301" y="61"/>
                    <a:pt x="303" y="59"/>
                    <a:pt x="303" y="58"/>
                  </a:cubicBezTo>
                  <a:cubicBezTo>
                    <a:pt x="303" y="57"/>
                    <a:pt x="305" y="57"/>
                    <a:pt x="305" y="56"/>
                  </a:cubicBezTo>
                  <a:cubicBezTo>
                    <a:pt x="304" y="55"/>
                    <a:pt x="302" y="55"/>
                    <a:pt x="301" y="54"/>
                  </a:cubicBezTo>
                  <a:cubicBezTo>
                    <a:pt x="301" y="53"/>
                    <a:pt x="302" y="52"/>
                    <a:pt x="303" y="52"/>
                  </a:cubicBezTo>
                  <a:cubicBezTo>
                    <a:pt x="304" y="52"/>
                    <a:pt x="308" y="52"/>
                    <a:pt x="310" y="53"/>
                  </a:cubicBezTo>
                  <a:cubicBezTo>
                    <a:pt x="312" y="55"/>
                    <a:pt x="312" y="55"/>
                    <a:pt x="314" y="54"/>
                  </a:cubicBezTo>
                  <a:cubicBezTo>
                    <a:pt x="315" y="53"/>
                    <a:pt x="314" y="53"/>
                    <a:pt x="315" y="54"/>
                  </a:cubicBezTo>
                  <a:cubicBezTo>
                    <a:pt x="315" y="54"/>
                    <a:pt x="317" y="54"/>
                    <a:pt x="317" y="53"/>
                  </a:cubicBezTo>
                  <a:cubicBezTo>
                    <a:pt x="316" y="53"/>
                    <a:pt x="316" y="52"/>
                    <a:pt x="315" y="51"/>
                  </a:cubicBezTo>
                  <a:cubicBezTo>
                    <a:pt x="313" y="50"/>
                    <a:pt x="311" y="49"/>
                    <a:pt x="310" y="49"/>
                  </a:cubicBezTo>
                  <a:cubicBezTo>
                    <a:pt x="309" y="49"/>
                    <a:pt x="311" y="48"/>
                    <a:pt x="312" y="48"/>
                  </a:cubicBezTo>
                  <a:cubicBezTo>
                    <a:pt x="312" y="48"/>
                    <a:pt x="314" y="49"/>
                    <a:pt x="315" y="50"/>
                  </a:cubicBezTo>
                  <a:cubicBezTo>
                    <a:pt x="316" y="50"/>
                    <a:pt x="317" y="49"/>
                    <a:pt x="317" y="51"/>
                  </a:cubicBezTo>
                  <a:cubicBezTo>
                    <a:pt x="317" y="52"/>
                    <a:pt x="318" y="52"/>
                    <a:pt x="319" y="53"/>
                  </a:cubicBezTo>
                  <a:cubicBezTo>
                    <a:pt x="320" y="54"/>
                    <a:pt x="322" y="55"/>
                    <a:pt x="322" y="54"/>
                  </a:cubicBezTo>
                  <a:cubicBezTo>
                    <a:pt x="321" y="53"/>
                    <a:pt x="320" y="54"/>
                    <a:pt x="322" y="52"/>
                  </a:cubicBezTo>
                  <a:cubicBezTo>
                    <a:pt x="324" y="51"/>
                    <a:pt x="327" y="50"/>
                    <a:pt x="327" y="49"/>
                  </a:cubicBezTo>
                  <a:cubicBezTo>
                    <a:pt x="328" y="48"/>
                    <a:pt x="329" y="47"/>
                    <a:pt x="330" y="46"/>
                  </a:cubicBezTo>
                  <a:cubicBezTo>
                    <a:pt x="331" y="45"/>
                    <a:pt x="331" y="42"/>
                    <a:pt x="330" y="42"/>
                  </a:cubicBezTo>
                  <a:cubicBezTo>
                    <a:pt x="329" y="42"/>
                    <a:pt x="327" y="40"/>
                    <a:pt x="326" y="38"/>
                  </a:cubicBezTo>
                  <a:cubicBezTo>
                    <a:pt x="326" y="37"/>
                    <a:pt x="325" y="36"/>
                    <a:pt x="324" y="35"/>
                  </a:cubicBezTo>
                  <a:cubicBezTo>
                    <a:pt x="323" y="34"/>
                    <a:pt x="323" y="34"/>
                    <a:pt x="324" y="34"/>
                  </a:cubicBezTo>
                  <a:cubicBezTo>
                    <a:pt x="325" y="34"/>
                    <a:pt x="330" y="33"/>
                    <a:pt x="331" y="32"/>
                  </a:cubicBezTo>
                  <a:cubicBezTo>
                    <a:pt x="331" y="31"/>
                    <a:pt x="331" y="31"/>
                    <a:pt x="329" y="30"/>
                  </a:cubicBezTo>
                  <a:cubicBezTo>
                    <a:pt x="327" y="30"/>
                    <a:pt x="327" y="30"/>
                    <a:pt x="328" y="29"/>
                  </a:cubicBezTo>
                  <a:cubicBezTo>
                    <a:pt x="330" y="28"/>
                    <a:pt x="331" y="28"/>
                    <a:pt x="330" y="27"/>
                  </a:cubicBezTo>
                  <a:cubicBezTo>
                    <a:pt x="329" y="27"/>
                    <a:pt x="328" y="27"/>
                    <a:pt x="326" y="27"/>
                  </a:cubicBezTo>
                  <a:cubicBezTo>
                    <a:pt x="325" y="26"/>
                    <a:pt x="325" y="25"/>
                    <a:pt x="323" y="24"/>
                  </a:cubicBezTo>
                  <a:cubicBezTo>
                    <a:pt x="321" y="24"/>
                    <a:pt x="319" y="23"/>
                    <a:pt x="321" y="23"/>
                  </a:cubicBezTo>
                  <a:cubicBezTo>
                    <a:pt x="323" y="22"/>
                    <a:pt x="326" y="22"/>
                    <a:pt x="323" y="22"/>
                  </a:cubicBezTo>
                  <a:cubicBezTo>
                    <a:pt x="320" y="22"/>
                    <a:pt x="317" y="22"/>
                    <a:pt x="315" y="21"/>
                  </a:cubicBezTo>
                  <a:cubicBezTo>
                    <a:pt x="313" y="20"/>
                    <a:pt x="310" y="21"/>
                    <a:pt x="310" y="21"/>
                  </a:cubicBezTo>
                  <a:cubicBezTo>
                    <a:pt x="309" y="21"/>
                    <a:pt x="309" y="20"/>
                    <a:pt x="308" y="20"/>
                  </a:cubicBezTo>
                  <a:cubicBezTo>
                    <a:pt x="307" y="20"/>
                    <a:pt x="308" y="20"/>
                    <a:pt x="308" y="21"/>
                  </a:cubicBezTo>
                  <a:cubicBezTo>
                    <a:pt x="308" y="22"/>
                    <a:pt x="307" y="24"/>
                    <a:pt x="308" y="25"/>
                  </a:cubicBezTo>
                  <a:cubicBezTo>
                    <a:pt x="308" y="26"/>
                    <a:pt x="309" y="26"/>
                    <a:pt x="311" y="27"/>
                  </a:cubicBezTo>
                  <a:cubicBezTo>
                    <a:pt x="313" y="29"/>
                    <a:pt x="313" y="29"/>
                    <a:pt x="312" y="29"/>
                  </a:cubicBezTo>
                  <a:cubicBezTo>
                    <a:pt x="311" y="29"/>
                    <a:pt x="309" y="30"/>
                    <a:pt x="310" y="30"/>
                  </a:cubicBezTo>
                  <a:cubicBezTo>
                    <a:pt x="310" y="30"/>
                    <a:pt x="313" y="31"/>
                    <a:pt x="311" y="31"/>
                  </a:cubicBezTo>
                  <a:cubicBezTo>
                    <a:pt x="309" y="31"/>
                    <a:pt x="308" y="31"/>
                    <a:pt x="307" y="33"/>
                  </a:cubicBezTo>
                  <a:cubicBezTo>
                    <a:pt x="306" y="35"/>
                    <a:pt x="306" y="38"/>
                    <a:pt x="305" y="39"/>
                  </a:cubicBezTo>
                  <a:cubicBezTo>
                    <a:pt x="304" y="41"/>
                    <a:pt x="303" y="42"/>
                    <a:pt x="303" y="43"/>
                  </a:cubicBezTo>
                  <a:cubicBezTo>
                    <a:pt x="303" y="45"/>
                    <a:pt x="302" y="44"/>
                    <a:pt x="300" y="45"/>
                  </a:cubicBezTo>
                  <a:cubicBezTo>
                    <a:pt x="299" y="46"/>
                    <a:pt x="298" y="47"/>
                    <a:pt x="298" y="47"/>
                  </a:cubicBezTo>
                  <a:cubicBezTo>
                    <a:pt x="297" y="46"/>
                    <a:pt x="297" y="45"/>
                    <a:pt x="296" y="43"/>
                  </a:cubicBezTo>
                  <a:cubicBezTo>
                    <a:pt x="295" y="42"/>
                    <a:pt x="292" y="41"/>
                    <a:pt x="292" y="39"/>
                  </a:cubicBezTo>
                  <a:cubicBezTo>
                    <a:pt x="292" y="37"/>
                    <a:pt x="292" y="35"/>
                    <a:pt x="293" y="35"/>
                  </a:cubicBezTo>
                  <a:cubicBezTo>
                    <a:pt x="294" y="35"/>
                    <a:pt x="296" y="36"/>
                    <a:pt x="295" y="34"/>
                  </a:cubicBezTo>
                  <a:cubicBezTo>
                    <a:pt x="295" y="33"/>
                    <a:pt x="295" y="32"/>
                    <a:pt x="294" y="31"/>
                  </a:cubicBezTo>
                  <a:cubicBezTo>
                    <a:pt x="294" y="30"/>
                    <a:pt x="290" y="27"/>
                    <a:pt x="288" y="26"/>
                  </a:cubicBezTo>
                  <a:cubicBezTo>
                    <a:pt x="287" y="26"/>
                    <a:pt x="286" y="27"/>
                    <a:pt x="285" y="28"/>
                  </a:cubicBezTo>
                  <a:cubicBezTo>
                    <a:pt x="284" y="29"/>
                    <a:pt x="285" y="33"/>
                    <a:pt x="284" y="33"/>
                  </a:cubicBezTo>
                  <a:cubicBezTo>
                    <a:pt x="283" y="34"/>
                    <a:pt x="280" y="34"/>
                    <a:pt x="280" y="33"/>
                  </a:cubicBezTo>
                  <a:cubicBezTo>
                    <a:pt x="280" y="32"/>
                    <a:pt x="279" y="28"/>
                    <a:pt x="279" y="28"/>
                  </a:cubicBezTo>
                  <a:cubicBezTo>
                    <a:pt x="278" y="27"/>
                    <a:pt x="276" y="26"/>
                    <a:pt x="277" y="26"/>
                  </a:cubicBezTo>
                  <a:cubicBezTo>
                    <a:pt x="278" y="25"/>
                    <a:pt x="278" y="26"/>
                    <a:pt x="279" y="26"/>
                  </a:cubicBezTo>
                  <a:cubicBezTo>
                    <a:pt x="279" y="26"/>
                    <a:pt x="280" y="27"/>
                    <a:pt x="280" y="26"/>
                  </a:cubicBezTo>
                  <a:cubicBezTo>
                    <a:pt x="281" y="26"/>
                    <a:pt x="282" y="26"/>
                    <a:pt x="281" y="25"/>
                  </a:cubicBezTo>
                  <a:cubicBezTo>
                    <a:pt x="280" y="24"/>
                    <a:pt x="281" y="23"/>
                    <a:pt x="280" y="23"/>
                  </a:cubicBezTo>
                  <a:cubicBezTo>
                    <a:pt x="279" y="24"/>
                    <a:pt x="279" y="25"/>
                    <a:pt x="278" y="24"/>
                  </a:cubicBezTo>
                  <a:cubicBezTo>
                    <a:pt x="277" y="23"/>
                    <a:pt x="276" y="23"/>
                    <a:pt x="275" y="23"/>
                  </a:cubicBezTo>
                  <a:cubicBezTo>
                    <a:pt x="275" y="23"/>
                    <a:pt x="274" y="24"/>
                    <a:pt x="273" y="23"/>
                  </a:cubicBezTo>
                  <a:cubicBezTo>
                    <a:pt x="272" y="22"/>
                    <a:pt x="271" y="22"/>
                    <a:pt x="270" y="22"/>
                  </a:cubicBezTo>
                  <a:cubicBezTo>
                    <a:pt x="269" y="22"/>
                    <a:pt x="271" y="20"/>
                    <a:pt x="271" y="20"/>
                  </a:cubicBezTo>
                  <a:cubicBezTo>
                    <a:pt x="270" y="19"/>
                    <a:pt x="271" y="20"/>
                    <a:pt x="272" y="19"/>
                  </a:cubicBezTo>
                  <a:cubicBezTo>
                    <a:pt x="272" y="19"/>
                    <a:pt x="272" y="18"/>
                    <a:pt x="272" y="18"/>
                  </a:cubicBezTo>
                  <a:cubicBezTo>
                    <a:pt x="273" y="17"/>
                    <a:pt x="274" y="18"/>
                    <a:pt x="274" y="17"/>
                  </a:cubicBezTo>
                  <a:cubicBezTo>
                    <a:pt x="274" y="17"/>
                    <a:pt x="273" y="16"/>
                    <a:pt x="272" y="16"/>
                  </a:cubicBezTo>
                  <a:cubicBezTo>
                    <a:pt x="272" y="15"/>
                    <a:pt x="272" y="13"/>
                    <a:pt x="271" y="13"/>
                  </a:cubicBezTo>
                  <a:cubicBezTo>
                    <a:pt x="271" y="12"/>
                    <a:pt x="271" y="12"/>
                    <a:pt x="270" y="12"/>
                  </a:cubicBezTo>
                  <a:cubicBezTo>
                    <a:pt x="269" y="12"/>
                    <a:pt x="268" y="11"/>
                    <a:pt x="268" y="10"/>
                  </a:cubicBezTo>
                  <a:cubicBezTo>
                    <a:pt x="267" y="10"/>
                    <a:pt x="267" y="8"/>
                    <a:pt x="267" y="7"/>
                  </a:cubicBezTo>
                  <a:cubicBezTo>
                    <a:pt x="266" y="5"/>
                    <a:pt x="265" y="5"/>
                    <a:pt x="264" y="4"/>
                  </a:cubicBezTo>
                  <a:cubicBezTo>
                    <a:pt x="264" y="3"/>
                    <a:pt x="264" y="2"/>
                    <a:pt x="262" y="1"/>
                  </a:cubicBezTo>
                  <a:cubicBezTo>
                    <a:pt x="260" y="1"/>
                    <a:pt x="258" y="1"/>
                    <a:pt x="258" y="1"/>
                  </a:cubicBezTo>
                  <a:cubicBezTo>
                    <a:pt x="258" y="0"/>
                    <a:pt x="258" y="0"/>
                    <a:pt x="257" y="0"/>
                  </a:cubicBezTo>
                  <a:cubicBezTo>
                    <a:pt x="256" y="0"/>
                    <a:pt x="254" y="0"/>
                    <a:pt x="254" y="1"/>
                  </a:cubicBezTo>
                  <a:cubicBezTo>
                    <a:pt x="254" y="2"/>
                    <a:pt x="254" y="2"/>
                    <a:pt x="253" y="2"/>
                  </a:cubicBezTo>
                  <a:cubicBezTo>
                    <a:pt x="252" y="2"/>
                    <a:pt x="250" y="3"/>
                    <a:pt x="252" y="3"/>
                  </a:cubicBezTo>
                  <a:cubicBezTo>
                    <a:pt x="254" y="3"/>
                    <a:pt x="255" y="4"/>
                    <a:pt x="254" y="4"/>
                  </a:cubicBezTo>
                  <a:cubicBezTo>
                    <a:pt x="253" y="4"/>
                    <a:pt x="254" y="4"/>
                    <a:pt x="253" y="5"/>
                  </a:cubicBezTo>
                  <a:cubicBezTo>
                    <a:pt x="253" y="5"/>
                    <a:pt x="252" y="6"/>
                    <a:pt x="251" y="5"/>
                  </a:cubicBezTo>
                  <a:cubicBezTo>
                    <a:pt x="250" y="5"/>
                    <a:pt x="250" y="4"/>
                    <a:pt x="248" y="6"/>
                  </a:cubicBezTo>
                  <a:cubicBezTo>
                    <a:pt x="247" y="8"/>
                    <a:pt x="246" y="10"/>
                    <a:pt x="247" y="10"/>
                  </a:cubicBezTo>
                  <a:cubicBezTo>
                    <a:pt x="248" y="11"/>
                    <a:pt x="250" y="12"/>
                    <a:pt x="250" y="12"/>
                  </a:cubicBezTo>
                  <a:cubicBezTo>
                    <a:pt x="251" y="12"/>
                    <a:pt x="251" y="12"/>
                    <a:pt x="249" y="13"/>
                  </a:cubicBezTo>
                  <a:cubicBezTo>
                    <a:pt x="248" y="13"/>
                    <a:pt x="247" y="15"/>
                    <a:pt x="247" y="16"/>
                  </a:cubicBezTo>
                  <a:cubicBezTo>
                    <a:pt x="247" y="17"/>
                    <a:pt x="251" y="21"/>
                    <a:pt x="252" y="21"/>
                  </a:cubicBezTo>
                  <a:cubicBezTo>
                    <a:pt x="253" y="21"/>
                    <a:pt x="254" y="23"/>
                    <a:pt x="255" y="23"/>
                  </a:cubicBezTo>
                  <a:cubicBezTo>
                    <a:pt x="257" y="22"/>
                    <a:pt x="257" y="21"/>
                    <a:pt x="258" y="22"/>
                  </a:cubicBezTo>
                  <a:cubicBezTo>
                    <a:pt x="259" y="23"/>
                    <a:pt x="260" y="24"/>
                    <a:pt x="261" y="24"/>
                  </a:cubicBezTo>
                  <a:cubicBezTo>
                    <a:pt x="262" y="25"/>
                    <a:pt x="263" y="25"/>
                    <a:pt x="261" y="25"/>
                  </a:cubicBezTo>
                  <a:cubicBezTo>
                    <a:pt x="260" y="25"/>
                    <a:pt x="260" y="25"/>
                    <a:pt x="260" y="27"/>
                  </a:cubicBezTo>
                  <a:cubicBezTo>
                    <a:pt x="260" y="28"/>
                    <a:pt x="260" y="28"/>
                    <a:pt x="259" y="29"/>
                  </a:cubicBezTo>
                  <a:cubicBezTo>
                    <a:pt x="258" y="29"/>
                    <a:pt x="258" y="32"/>
                    <a:pt x="259" y="32"/>
                  </a:cubicBezTo>
                  <a:cubicBezTo>
                    <a:pt x="260" y="31"/>
                    <a:pt x="262" y="31"/>
                    <a:pt x="262" y="30"/>
                  </a:cubicBezTo>
                  <a:cubicBezTo>
                    <a:pt x="261" y="29"/>
                    <a:pt x="263" y="28"/>
                    <a:pt x="263" y="29"/>
                  </a:cubicBezTo>
                  <a:cubicBezTo>
                    <a:pt x="264" y="30"/>
                    <a:pt x="264" y="33"/>
                    <a:pt x="263" y="33"/>
                  </a:cubicBezTo>
                  <a:cubicBezTo>
                    <a:pt x="261" y="34"/>
                    <a:pt x="260" y="35"/>
                    <a:pt x="260" y="35"/>
                  </a:cubicBezTo>
                  <a:cubicBezTo>
                    <a:pt x="259" y="36"/>
                    <a:pt x="259" y="37"/>
                    <a:pt x="257" y="37"/>
                  </a:cubicBezTo>
                  <a:cubicBezTo>
                    <a:pt x="256" y="38"/>
                    <a:pt x="253" y="38"/>
                    <a:pt x="253" y="39"/>
                  </a:cubicBezTo>
                  <a:cubicBezTo>
                    <a:pt x="253" y="41"/>
                    <a:pt x="252" y="40"/>
                    <a:pt x="252" y="41"/>
                  </a:cubicBezTo>
                  <a:cubicBezTo>
                    <a:pt x="253" y="42"/>
                    <a:pt x="254" y="43"/>
                    <a:pt x="254" y="44"/>
                  </a:cubicBezTo>
                  <a:cubicBezTo>
                    <a:pt x="254" y="45"/>
                    <a:pt x="254" y="46"/>
                    <a:pt x="253" y="45"/>
                  </a:cubicBezTo>
                  <a:cubicBezTo>
                    <a:pt x="252" y="45"/>
                    <a:pt x="252" y="44"/>
                    <a:pt x="251" y="44"/>
                  </a:cubicBezTo>
                  <a:cubicBezTo>
                    <a:pt x="250" y="45"/>
                    <a:pt x="250" y="45"/>
                    <a:pt x="249" y="45"/>
                  </a:cubicBezTo>
                  <a:cubicBezTo>
                    <a:pt x="248" y="44"/>
                    <a:pt x="247" y="43"/>
                    <a:pt x="248" y="42"/>
                  </a:cubicBezTo>
                  <a:cubicBezTo>
                    <a:pt x="249" y="41"/>
                    <a:pt x="249" y="40"/>
                    <a:pt x="249" y="39"/>
                  </a:cubicBezTo>
                  <a:cubicBezTo>
                    <a:pt x="249" y="38"/>
                    <a:pt x="250" y="37"/>
                    <a:pt x="250" y="37"/>
                  </a:cubicBezTo>
                  <a:cubicBezTo>
                    <a:pt x="250" y="36"/>
                    <a:pt x="250" y="36"/>
                    <a:pt x="249" y="37"/>
                  </a:cubicBezTo>
                  <a:cubicBezTo>
                    <a:pt x="248" y="37"/>
                    <a:pt x="247" y="38"/>
                    <a:pt x="247" y="37"/>
                  </a:cubicBezTo>
                  <a:cubicBezTo>
                    <a:pt x="246" y="36"/>
                    <a:pt x="245" y="36"/>
                    <a:pt x="244" y="35"/>
                  </a:cubicBezTo>
                  <a:cubicBezTo>
                    <a:pt x="243" y="35"/>
                    <a:pt x="242" y="33"/>
                    <a:pt x="241" y="33"/>
                  </a:cubicBezTo>
                  <a:cubicBezTo>
                    <a:pt x="240" y="33"/>
                    <a:pt x="240" y="35"/>
                    <a:pt x="239" y="35"/>
                  </a:cubicBezTo>
                  <a:cubicBezTo>
                    <a:pt x="238" y="35"/>
                    <a:pt x="237" y="35"/>
                    <a:pt x="237" y="34"/>
                  </a:cubicBezTo>
                  <a:cubicBezTo>
                    <a:pt x="236" y="34"/>
                    <a:pt x="236" y="34"/>
                    <a:pt x="236" y="35"/>
                  </a:cubicBezTo>
                  <a:cubicBezTo>
                    <a:pt x="236" y="36"/>
                    <a:pt x="237" y="36"/>
                    <a:pt x="237" y="37"/>
                  </a:cubicBezTo>
                  <a:cubicBezTo>
                    <a:pt x="237" y="38"/>
                    <a:pt x="238" y="39"/>
                    <a:pt x="240" y="38"/>
                  </a:cubicBezTo>
                  <a:cubicBezTo>
                    <a:pt x="241" y="38"/>
                    <a:pt x="243" y="39"/>
                    <a:pt x="244" y="40"/>
                  </a:cubicBezTo>
                  <a:cubicBezTo>
                    <a:pt x="244" y="41"/>
                    <a:pt x="245" y="42"/>
                    <a:pt x="243" y="42"/>
                  </a:cubicBezTo>
                  <a:cubicBezTo>
                    <a:pt x="241" y="42"/>
                    <a:pt x="239" y="40"/>
                    <a:pt x="238" y="39"/>
                  </a:cubicBezTo>
                  <a:cubicBezTo>
                    <a:pt x="237" y="39"/>
                    <a:pt x="236" y="39"/>
                    <a:pt x="235" y="40"/>
                  </a:cubicBezTo>
                  <a:cubicBezTo>
                    <a:pt x="234" y="41"/>
                    <a:pt x="233" y="40"/>
                    <a:pt x="231" y="40"/>
                  </a:cubicBezTo>
                  <a:cubicBezTo>
                    <a:pt x="228" y="40"/>
                    <a:pt x="223" y="41"/>
                    <a:pt x="221" y="41"/>
                  </a:cubicBezTo>
                  <a:cubicBezTo>
                    <a:pt x="219" y="41"/>
                    <a:pt x="217" y="41"/>
                    <a:pt x="213" y="40"/>
                  </a:cubicBezTo>
                  <a:cubicBezTo>
                    <a:pt x="210" y="38"/>
                    <a:pt x="206" y="38"/>
                    <a:pt x="205" y="37"/>
                  </a:cubicBezTo>
                  <a:cubicBezTo>
                    <a:pt x="203" y="37"/>
                    <a:pt x="200" y="36"/>
                    <a:pt x="199" y="35"/>
                  </a:cubicBezTo>
                  <a:cubicBezTo>
                    <a:pt x="198" y="33"/>
                    <a:pt x="198" y="30"/>
                    <a:pt x="196" y="30"/>
                  </a:cubicBezTo>
                  <a:cubicBezTo>
                    <a:pt x="193" y="30"/>
                    <a:pt x="189" y="31"/>
                    <a:pt x="187" y="32"/>
                  </a:cubicBezTo>
                  <a:cubicBezTo>
                    <a:pt x="185" y="32"/>
                    <a:pt x="183" y="32"/>
                    <a:pt x="182" y="33"/>
                  </a:cubicBezTo>
                  <a:cubicBezTo>
                    <a:pt x="181" y="34"/>
                    <a:pt x="180" y="35"/>
                    <a:pt x="180" y="36"/>
                  </a:cubicBezTo>
                  <a:cubicBezTo>
                    <a:pt x="180" y="36"/>
                    <a:pt x="182" y="36"/>
                    <a:pt x="183" y="36"/>
                  </a:cubicBezTo>
                  <a:cubicBezTo>
                    <a:pt x="185" y="37"/>
                    <a:pt x="185" y="38"/>
                    <a:pt x="185" y="37"/>
                  </a:cubicBezTo>
                  <a:cubicBezTo>
                    <a:pt x="185" y="36"/>
                    <a:pt x="185" y="35"/>
                    <a:pt x="186" y="35"/>
                  </a:cubicBezTo>
                  <a:cubicBezTo>
                    <a:pt x="187" y="35"/>
                    <a:pt x="187" y="36"/>
                    <a:pt x="189" y="36"/>
                  </a:cubicBezTo>
                  <a:cubicBezTo>
                    <a:pt x="190" y="35"/>
                    <a:pt x="191" y="34"/>
                    <a:pt x="193" y="33"/>
                  </a:cubicBezTo>
                  <a:cubicBezTo>
                    <a:pt x="195" y="32"/>
                    <a:pt x="197" y="32"/>
                    <a:pt x="196" y="33"/>
                  </a:cubicBezTo>
                  <a:cubicBezTo>
                    <a:pt x="195" y="34"/>
                    <a:pt x="193" y="35"/>
                    <a:pt x="192" y="36"/>
                  </a:cubicBezTo>
                  <a:cubicBezTo>
                    <a:pt x="191" y="37"/>
                    <a:pt x="190" y="37"/>
                    <a:pt x="189" y="38"/>
                  </a:cubicBezTo>
                  <a:cubicBezTo>
                    <a:pt x="188" y="38"/>
                    <a:pt x="186" y="38"/>
                    <a:pt x="186" y="38"/>
                  </a:cubicBezTo>
                  <a:cubicBezTo>
                    <a:pt x="185" y="39"/>
                    <a:pt x="184" y="40"/>
                    <a:pt x="184" y="41"/>
                  </a:cubicBezTo>
                  <a:cubicBezTo>
                    <a:pt x="185" y="42"/>
                    <a:pt x="186" y="41"/>
                    <a:pt x="186" y="42"/>
                  </a:cubicBezTo>
                  <a:cubicBezTo>
                    <a:pt x="186" y="44"/>
                    <a:pt x="185" y="45"/>
                    <a:pt x="187" y="46"/>
                  </a:cubicBezTo>
                  <a:cubicBezTo>
                    <a:pt x="188" y="47"/>
                    <a:pt x="188" y="46"/>
                    <a:pt x="188" y="48"/>
                  </a:cubicBezTo>
                  <a:cubicBezTo>
                    <a:pt x="189" y="49"/>
                    <a:pt x="189" y="50"/>
                    <a:pt x="187" y="49"/>
                  </a:cubicBezTo>
                  <a:cubicBezTo>
                    <a:pt x="186" y="49"/>
                    <a:pt x="186" y="48"/>
                    <a:pt x="186" y="48"/>
                  </a:cubicBezTo>
                  <a:cubicBezTo>
                    <a:pt x="186" y="49"/>
                    <a:pt x="186" y="50"/>
                    <a:pt x="186" y="50"/>
                  </a:cubicBezTo>
                  <a:cubicBezTo>
                    <a:pt x="185" y="51"/>
                    <a:pt x="184" y="49"/>
                    <a:pt x="183" y="49"/>
                  </a:cubicBezTo>
                  <a:cubicBezTo>
                    <a:pt x="183" y="48"/>
                    <a:pt x="182" y="48"/>
                    <a:pt x="182" y="48"/>
                  </a:cubicBezTo>
                  <a:cubicBezTo>
                    <a:pt x="181" y="47"/>
                    <a:pt x="181" y="47"/>
                    <a:pt x="182" y="47"/>
                  </a:cubicBezTo>
                  <a:cubicBezTo>
                    <a:pt x="183" y="47"/>
                    <a:pt x="185" y="47"/>
                    <a:pt x="184" y="46"/>
                  </a:cubicBezTo>
                  <a:cubicBezTo>
                    <a:pt x="183" y="45"/>
                    <a:pt x="182" y="45"/>
                    <a:pt x="183" y="45"/>
                  </a:cubicBezTo>
                  <a:cubicBezTo>
                    <a:pt x="184" y="44"/>
                    <a:pt x="185" y="44"/>
                    <a:pt x="184" y="44"/>
                  </a:cubicBezTo>
                  <a:cubicBezTo>
                    <a:pt x="184" y="43"/>
                    <a:pt x="183" y="42"/>
                    <a:pt x="183" y="43"/>
                  </a:cubicBezTo>
                  <a:cubicBezTo>
                    <a:pt x="183" y="43"/>
                    <a:pt x="184" y="44"/>
                    <a:pt x="183" y="44"/>
                  </a:cubicBezTo>
                  <a:cubicBezTo>
                    <a:pt x="182" y="44"/>
                    <a:pt x="180" y="44"/>
                    <a:pt x="181" y="44"/>
                  </a:cubicBezTo>
                  <a:cubicBezTo>
                    <a:pt x="181" y="43"/>
                    <a:pt x="183" y="42"/>
                    <a:pt x="182" y="42"/>
                  </a:cubicBezTo>
                  <a:cubicBezTo>
                    <a:pt x="181" y="42"/>
                    <a:pt x="181" y="43"/>
                    <a:pt x="180" y="43"/>
                  </a:cubicBezTo>
                  <a:cubicBezTo>
                    <a:pt x="179" y="43"/>
                    <a:pt x="178" y="44"/>
                    <a:pt x="178" y="43"/>
                  </a:cubicBezTo>
                  <a:cubicBezTo>
                    <a:pt x="178" y="42"/>
                    <a:pt x="178" y="41"/>
                    <a:pt x="177" y="41"/>
                  </a:cubicBezTo>
                  <a:cubicBezTo>
                    <a:pt x="177" y="41"/>
                    <a:pt x="175" y="41"/>
                    <a:pt x="174" y="41"/>
                  </a:cubicBezTo>
                  <a:cubicBezTo>
                    <a:pt x="174" y="40"/>
                    <a:pt x="173" y="38"/>
                    <a:pt x="172" y="38"/>
                  </a:cubicBezTo>
                  <a:cubicBezTo>
                    <a:pt x="171" y="38"/>
                    <a:pt x="169" y="41"/>
                    <a:pt x="168" y="41"/>
                  </a:cubicBezTo>
                  <a:cubicBezTo>
                    <a:pt x="167" y="41"/>
                    <a:pt x="151" y="42"/>
                    <a:pt x="148" y="41"/>
                  </a:cubicBezTo>
                  <a:cubicBezTo>
                    <a:pt x="145" y="40"/>
                    <a:pt x="141" y="41"/>
                    <a:pt x="143" y="39"/>
                  </a:cubicBezTo>
                  <a:cubicBezTo>
                    <a:pt x="146" y="38"/>
                    <a:pt x="147" y="36"/>
                    <a:pt x="148" y="36"/>
                  </a:cubicBezTo>
                  <a:cubicBezTo>
                    <a:pt x="150" y="36"/>
                    <a:pt x="153" y="36"/>
                    <a:pt x="150" y="34"/>
                  </a:cubicBezTo>
                  <a:cubicBezTo>
                    <a:pt x="148" y="32"/>
                    <a:pt x="147" y="30"/>
                    <a:pt x="144" y="30"/>
                  </a:cubicBezTo>
                  <a:cubicBezTo>
                    <a:pt x="142" y="30"/>
                    <a:pt x="141" y="29"/>
                    <a:pt x="140" y="30"/>
                  </a:cubicBezTo>
                  <a:cubicBezTo>
                    <a:pt x="139" y="30"/>
                    <a:pt x="140" y="31"/>
                    <a:pt x="138" y="31"/>
                  </a:cubicBezTo>
                  <a:cubicBezTo>
                    <a:pt x="136" y="31"/>
                    <a:pt x="136" y="30"/>
                    <a:pt x="135" y="30"/>
                  </a:cubicBezTo>
                  <a:cubicBezTo>
                    <a:pt x="133" y="30"/>
                    <a:pt x="127" y="28"/>
                    <a:pt x="125" y="27"/>
                  </a:cubicBezTo>
                  <a:cubicBezTo>
                    <a:pt x="123" y="26"/>
                    <a:pt x="120" y="27"/>
                    <a:pt x="118" y="26"/>
                  </a:cubicBezTo>
                  <a:cubicBezTo>
                    <a:pt x="116" y="25"/>
                    <a:pt x="112" y="22"/>
                    <a:pt x="110" y="22"/>
                  </a:cubicBezTo>
                  <a:cubicBezTo>
                    <a:pt x="108" y="21"/>
                    <a:pt x="102" y="21"/>
                    <a:pt x="101" y="21"/>
                  </a:cubicBezTo>
                  <a:cubicBezTo>
                    <a:pt x="100" y="22"/>
                    <a:pt x="98" y="25"/>
                    <a:pt x="98" y="25"/>
                  </a:cubicBezTo>
                  <a:cubicBezTo>
                    <a:pt x="97" y="26"/>
                    <a:pt x="93" y="26"/>
                    <a:pt x="93" y="25"/>
                  </a:cubicBezTo>
                  <a:cubicBezTo>
                    <a:pt x="93" y="24"/>
                    <a:pt x="96" y="22"/>
                    <a:pt x="95" y="22"/>
                  </a:cubicBezTo>
                  <a:cubicBezTo>
                    <a:pt x="94" y="22"/>
                    <a:pt x="92" y="22"/>
                    <a:pt x="92" y="22"/>
                  </a:cubicBezTo>
                  <a:cubicBezTo>
                    <a:pt x="93" y="21"/>
                    <a:pt x="93" y="17"/>
                    <a:pt x="92" y="18"/>
                  </a:cubicBezTo>
                  <a:cubicBezTo>
                    <a:pt x="91" y="18"/>
                    <a:pt x="90" y="19"/>
                    <a:pt x="90" y="19"/>
                  </a:cubicBezTo>
                  <a:cubicBezTo>
                    <a:pt x="89" y="19"/>
                    <a:pt x="88" y="19"/>
                    <a:pt x="88" y="20"/>
                  </a:cubicBezTo>
                  <a:cubicBezTo>
                    <a:pt x="88" y="20"/>
                    <a:pt x="88" y="19"/>
                    <a:pt x="89" y="19"/>
                  </a:cubicBezTo>
                  <a:cubicBezTo>
                    <a:pt x="90" y="19"/>
                    <a:pt x="91" y="19"/>
                    <a:pt x="90" y="20"/>
                  </a:cubicBezTo>
                  <a:cubicBezTo>
                    <a:pt x="90" y="20"/>
                    <a:pt x="88" y="21"/>
                    <a:pt x="89" y="22"/>
                  </a:cubicBezTo>
                  <a:cubicBezTo>
                    <a:pt x="89" y="22"/>
                    <a:pt x="91" y="22"/>
                    <a:pt x="90" y="22"/>
                  </a:cubicBezTo>
                  <a:cubicBezTo>
                    <a:pt x="90" y="22"/>
                    <a:pt x="88" y="22"/>
                    <a:pt x="88" y="23"/>
                  </a:cubicBezTo>
                  <a:cubicBezTo>
                    <a:pt x="88" y="24"/>
                    <a:pt x="87" y="26"/>
                    <a:pt x="86" y="26"/>
                  </a:cubicBezTo>
                  <a:cubicBezTo>
                    <a:pt x="86" y="26"/>
                    <a:pt x="81" y="24"/>
                    <a:pt x="81" y="22"/>
                  </a:cubicBezTo>
                  <a:cubicBezTo>
                    <a:pt x="80" y="21"/>
                    <a:pt x="79" y="18"/>
                    <a:pt x="78" y="17"/>
                  </a:cubicBezTo>
                  <a:cubicBezTo>
                    <a:pt x="77" y="16"/>
                    <a:pt x="72" y="13"/>
                    <a:pt x="72" y="13"/>
                  </a:cubicBezTo>
                  <a:cubicBezTo>
                    <a:pt x="71" y="13"/>
                    <a:pt x="71" y="14"/>
                    <a:pt x="72" y="15"/>
                  </a:cubicBezTo>
                  <a:cubicBezTo>
                    <a:pt x="73" y="16"/>
                    <a:pt x="75" y="17"/>
                    <a:pt x="75" y="17"/>
                  </a:cubicBezTo>
                  <a:cubicBezTo>
                    <a:pt x="75" y="17"/>
                    <a:pt x="73" y="17"/>
                    <a:pt x="73" y="17"/>
                  </a:cubicBezTo>
                  <a:cubicBezTo>
                    <a:pt x="72" y="17"/>
                    <a:pt x="71" y="18"/>
                    <a:pt x="70" y="18"/>
                  </a:cubicBezTo>
                  <a:cubicBezTo>
                    <a:pt x="70" y="19"/>
                    <a:pt x="71" y="20"/>
                    <a:pt x="70" y="20"/>
                  </a:cubicBezTo>
                  <a:cubicBezTo>
                    <a:pt x="69" y="21"/>
                    <a:pt x="67" y="23"/>
                    <a:pt x="67" y="22"/>
                  </a:cubicBezTo>
                  <a:cubicBezTo>
                    <a:pt x="66" y="22"/>
                    <a:pt x="67" y="20"/>
                    <a:pt x="66" y="21"/>
                  </a:cubicBezTo>
                  <a:cubicBezTo>
                    <a:pt x="66" y="21"/>
                    <a:pt x="63" y="21"/>
                    <a:pt x="62" y="22"/>
                  </a:cubicBezTo>
                  <a:cubicBezTo>
                    <a:pt x="61" y="22"/>
                    <a:pt x="59" y="25"/>
                    <a:pt x="58" y="26"/>
                  </a:cubicBezTo>
                  <a:cubicBezTo>
                    <a:pt x="57" y="27"/>
                    <a:pt x="56" y="27"/>
                    <a:pt x="56" y="26"/>
                  </a:cubicBezTo>
                  <a:cubicBezTo>
                    <a:pt x="56" y="26"/>
                    <a:pt x="56" y="25"/>
                    <a:pt x="56" y="25"/>
                  </a:cubicBezTo>
                  <a:cubicBezTo>
                    <a:pt x="55" y="25"/>
                    <a:pt x="55" y="24"/>
                    <a:pt x="55" y="25"/>
                  </a:cubicBezTo>
                  <a:cubicBezTo>
                    <a:pt x="55" y="26"/>
                    <a:pt x="52" y="25"/>
                    <a:pt x="51" y="26"/>
                  </a:cubicBezTo>
                  <a:cubicBezTo>
                    <a:pt x="50" y="26"/>
                    <a:pt x="50" y="27"/>
                    <a:pt x="49" y="27"/>
                  </a:cubicBezTo>
                  <a:cubicBezTo>
                    <a:pt x="48" y="27"/>
                    <a:pt x="47" y="29"/>
                    <a:pt x="46" y="29"/>
                  </a:cubicBezTo>
                  <a:cubicBezTo>
                    <a:pt x="45" y="30"/>
                    <a:pt x="47" y="30"/>
                    <a:pt x="47" y="31"/>
                  </a:cubicBezTo>
                  <a:cubicBezTo>
                    <a:pt x="47" y="31"/>
                    <a:pt x="46" y="32"/>
                    <a:pt x="45" y="32"/>
                  </a:cubicBezTo>
                  <a:cubicBezTo>
                    <a:pt x="43" y="32"/>
                    <a:pt x="41" y="32"/>
                    <a:pt x="42" y="30"/>
                  </a:cubicBezTo>
                  <a:cubicBezTo>
                    <a:pt x="44" y="29"/>
                    <a:pt x="45" y="29"/>
                    <a:pt x="46" y="28"/>
                  </a:cubicBezTo>
                  <a:cubicBezTo>
                    <a:pt x="46" y="27"/>
                    <a:pt x="48" y="28"/>
                    <a:pt x="48" y="26"/>
                  </a:cubicBezTo>
                  <a:cubicBezTo>
                    <a:pt x="49" y="25"/>
                    <a:pt x="50" y="24"/>
                    <a:pt x="52" y="24"/>
                  </a:cubicBezTo>
                  <a:cubicBezTo>
                    <a:pt x="53" y="23"/>
                    <a:pt x="55" y="23"/>
                    <a:pt x="55" y="24"/>
                  </a:cubicBezTo>
                  <a:cubicBezTo>
                    <a:pt x="55" y="24"/>
                    <a:pt x="55" y="24"/>
                    <a:pt x="56" y="23"/>
                  </a:cubicBezTo>
                  <a:cubicBezTo>
                    <a:pt x="57" y="22"/>
                    <a:pt x="60" y="21"/>
                    <a:pt x="61" y="20"/>
                  </a:cubicBezTo>
                  <a:cubicBezTo>
                    <a:pt x="62" y="20"/>
                    <a:pt x="64" y="20"/>
                    <a:pt x="64" y="19"/>
                  </a:cubicBezTo>
                  <a:cubicBezTo>
                    <a:pt x="64" y="18"/>
                    <a:pt x="65" y="17"/>
                    <a:pt x="64" y="17"/>
                  </a:cubicBezTo>
                  <a:cubicBezTo>
                    <a:pt x="63" y="18"/>
                    <a:pt x="62" y="18"/>
                    <a:pt x="60" y="18"/>
                  </a:cubicBezTo>
                  <a:cubicBezTo>
                    <a:pt x="58" y="18"/>
                    <a:pt x="57" y="18"/>
                    <a:pt x="56" y="19"/>
                  </a:cubicBezTo>
                  <a:cubicBezTo>
                    <a:pt x="55" y="20"/>
                    <a:pt x="55" y="21"/>
                    <a:pt x="53" y="21"/>
                  </a:cubicBezTo>
                  <a:cubicBezTo>
                    <a:pt x="52" y="21"/>
                    <a:pt x="50" y="22"/>
                    <a:pt x="49" y="22"/>
                  </a:cubicBezTo>
                  <a:cubicBezTo>
                    <a:pt x="48" y="22"/>
                    <a:pt x="46" y="22"/>
                    <a:pt x="45" y="23"/>
                  </a:cubicBezTo>
                  <a:cubicBezTo>
                    <a:pt x="45" y="25"/>
                    <a:pt x="42" y="25"/>
                    <a:pt x="41" y="26"/>
                  </a:cubicBezTo>
                  <a:cubicBezTo>
                    <a:pt x="41" y="26"/>
                    <a:pt x="39" y="27"/>
                    <a:pt x="39" y="26"/>
                  </a:cubicBezTo>
                  <a:cubicBezTo>
                    <a:pt x="40" y="25"/>
                    <a:pt x="42" y="24"/>
                    <a:pt x="41" y="24"/>
                  </a:cubicBezTo>
                  <a:cubicBezTo>
                    <a:pt x="39" y="24"/>
                    <a:pt x="38" y="23"/>
                    <a:pt x="37" y="23"/>
                  </a:cubicBezTo>
                  <a:cubicBezTo>
                    <a:pt x="37" y="22"/>
                    <a:pt x="37" y="24"/>
                    <a:pt x="37" y="24"/>
                  </a:cubicBezTo>
                  <a:cubicBezTo>
                    <a:pt x="36" y="24"/>
                    <a:pt x="35" y="25"/>
                    <a:pt x="34" y="25"/>
                  </a:cubicBezTo>
                  <a:cubicBezTo>
                    <a:pt x="32" y="25"/>
                    <a:pt x="31" y="26"/>
                    <a:pt x="31" y="26"/>
                  </a:cubicBezTo>
                  <a:cubicBezTo>
                    <a:pt x="30" y="27"/>
                    <a:pt x="28" y="27"/>
                    <a:pt x="29" y="28"/>
                  </a:cubicBezTo>
                  <a:cubicBezTo>
                    <a:pt x="29" y="28"/>
                    <a:pt x="30" y="28"/>
                    <a:pt x="30" y="29"/>
                  </a:cubicBezTo>
                  <a:cubicBezTo>
                    <a:pt x="30" y="29"/>
                    <a:pt x="29" y="30"/>
                    <a:pt x="30" y="30"/>
                  </a:cubicBezTo>
                  <a:cubicBezTo>
                    <a:pt x="31" y="30"/>
                    <a:pt x="34" y="30"/>
                    <a:pt x="35" y="29"/>
                  </a:cubicBezTo>
                  <a:cubicBezTo>
                    <a:pt x="36" y="28"/>
                    <a:pt x="39" y="26"/>
                    <a:pt x="38" y="27"/>
                  </a:cubicBezTo>
                  <a:cubicBezTo>
                    <a:pt x="37" y="27"/>
                    <a:pt x="36" y="29"/>
                    <a:pt x="36" y="30"/>
                  </a:cubicBezTo>
                  <a:cubicBezTo>
                    <a:pt x="36" y="30"/>
                    <a:pt x="38" y="33"/>
                    <a:pt x="37" y="32"/>
                  </a:cubicBezTo>
                  <a:cubicBezTo>
                    <a:pt x="36" y="31"/>
                    <a:pt x="37" y="31"/>
                    <a:pt x="35" y="31"/>
                  </a:cubicBezTo>
                  <a:cubicBezTo>
                    <a:pt x="33" y="30"/>
                    <a:pt x="32" y="32"/>
                    <a:pt x="31" y="32"/>
                  </a:cubicBezTo>
                  <a:cubicBezTo>
                    <a:pt x="31" y="32"/>
                    <a:pt x="29" y="31"/>
                    <a:pt x="28" y="31"/>
                  </a:cubicBezTo>
                  <a:cubicBezTo>
                    <a:pt x="27" y="30"/>
                    <a:pt x="23" y="31"/>
                    <a:pt x="21" y="30"/>
                  </a:cubicBezTo>
                  <a:cubicBezTo>
                    <a:pt x="19" y="29"/>
                    <a:pt x="14" y="26"/>
                    <a:pt x="12" y="26"/>
                  </a:cubicBezTo>
                  <a:cubicBezTo>
                    <a:pt x="11" y="25"/>
                    <a:pt x="11" y="24"/>
                    <a:pt x="11" y="24"/>
                  </a:cubicBezTo>
                  <a:cubicBezTo>
                    <a:pt x="12" y="24"/>
                    <a:pt x="11" y="23"/>
                    <a:pt x="10" y="23"/>
                  </a:cubicBezTo>
                  <a:cubicBezTo>
                    <a:pt x="9" y="23"/>
                    <a:pt x="3" y="24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8"/>
                    <a:pt x="2" y="109"/>
                    <a:pt x="2" y="108"/>
                  </a:cubicBezTo>
                  <a:cubicBezTo>
                    <a:pt x="3" y="108"/>
                    <a:pt x="3" y="107"/>
                    <a:pt x="4" y="108"/>
                  </a:cubicBezTo>
                  <a:cubicBezTo>
                    <a:pt x="5" y="108"/>
                    <a:pt x="5" y="109"/>
                    <a:pt x="6" y="109"/>
                  </a:cubicBezTo>
                  <a:cubicBezTo>
                    <a:pt x="7" y="108"/>
                    <a:pt x="8" y="107"/>
                    <a:pt x="10" y="108"/>
                  </a:cubicBezTo>
                  <a:cubicBezTo>
                    <a:pt x="11" y="108"/>
                    <a:pt x="11" y="109"/>
                    <a:pt x="12" y="110"/>
                  </a:cubicBezTo>
                  <a:cubicBezTo>
                    <a:pt x="12" y="111"/>
                    <a:pt x="12" y="110"/>
                    <a:pt x="14" y="112"/>
                  </a:cubicBezTo>
                  <a:cubicBezTo>
                    <a:pt x="16" y="114"/>
                    <a:pt x="20" y="118"/>
                    <a:pt x="21" y="118"/>
                  </a:cubicBezTo>
                  <a:cubicBezTo>
                    <a:pt x="22" y="118"/>
                    <a:pt x="26" y="117"/>
                    <a:pt x="26" y="115"/>
                  </a:cubicBezTo>
                  <a:cubicBezTo>
                    <a:pt x="27" y="114"/>
                    <a:pt x="25" y="114"/>
                    <a:pt x="26" y="114"/>
                  </a:cubicBezTo>
                  <a:cubicBezTo>
                    <a:pt x="28" y="113"/>
                    <a:pt x="29" y="114"/>
                    <a:pt x="30" y="113"/>
                  </a:cubicBezTo>
                  <a:cubicBezTo>
                    <a:pt x="31" y="112"/>
                    <a:pt x="31" y="112"/>
                    <a:pt x="32" y="112"/>
                  </a:cubicBezTo>
                  <a:cubicBezTo>
                    <a:pt x="33" y="113"/>
                    <a:pt x="33" y="115"/>
                    <a:pt x="34" y="116"/>
                  </a:cubicBezTo>
                  <a:cubicBezTo>
                    <a:pt x="35" y="117"/>
                    <a:pt x="36" y="117"/>
                    <a:pt x="38" y="119"/>
                  </a:cubicBezTo>
                  <a:cubicBezTo>
                    <a:pt x="39" y="120"/>
                    <a:pt x="42" y="122"/>
                    <a:pt x="43" y="124"/>
                  </a:cubicBezTo>
                  <a:cubicBezTo>
                    <a:pt x="44" y="125"/>
                    <a:pt x="50" y="136"/>
                    <a:pt x="51" y="137"/>
                  </a:cubicBezTo>
                  <a:cubicBezTo>
                    <a:pt x="53" y="138"/>
                    <a:pt x="62" y="142"/>
                    <a:pt x="62" y="143"/>
                  </a:cubicBezTo>
                  <a:cubicBezTo>
                    <a:pt x="62" y="143"/>
                    <a:pt x="61" y="144"/>
                    <a:pt x="61" y="145"/>
                  </a:cubicBezTo>
                  <a:cubicBezTo>
                    <a:pt x="61" y="146"/>
                    <a:pt x="62" y="147"/>
                    <a:pt x="63" y="147"/>
                  </a:cubicBezTo>
                  <a:cubicBezTo>
                    <a:pt x="63" y="147"/>
                    <a:pt x="62" y="148"/>
                    <a:pt x="62" y="149"/>
                  </a:cubicBezTo>
                  <a:cubicBezTo>
                    <a:pt x="62" y="149"/>
                    <a:pt x="63" y="150"/>
                    <a:pt x="63" y="150"/>
                  </a:cubicBezTo>
                  <a:cubicBezTo>
                    <a:pt x="64" y="150"/>
                    <a:pt x="62" y="150"/>
                    <a:pt x="61" y="151"/>
                  </a:cubicBezTo>
                  <a:cubicBezTo>
                    <a:pt x="61" y="152"/>
                    <a:pt x="59" y="153"/>
                    <a:pt x="60" y="154"/>
                  </a:cubicBezTo>
                  <a:cubicBezTo>
                    <a:pt x="60" y="155"/>
                    <a:pt x="62" y="157"/>
                    <a:pt x="62" y="157"/>
                  </a:cubicBezTo>
                  <a:cubicBezTo>
                    <a:pt x="63" y="157"/>
                    <a:pt x="63" y="157"/>
                    <a:pt x="62" y="157"/>
                  </a:cubicBezTo>
                  <a:cubicBezTo>
                    <a:pt x="62" y="158"/>
                    <a:pt x="61" y="159"/>
                    <a:pt x="61" y="158"/>
                  </a:cubicBezTo>
                  <a:cubicBezTo>
                    <a:pt x="60" y="158"/>
                    <a:pt x="60" y="156"/>
                    <a:pt x="59" y="157"/>
                  </a:cubicBezTo>
                  <a:cubicBezTo>
                    <a:pt x="59" y="158"/>
                    <a:pt x="60" y="158"/>
                    <a:pt x="60" y="159"/>
                  </a:cubicBezTo>
                  <a:cubicBezTo>
                    <a:pt x="61" y="159"/>
                    <a:pt x="60" y="160"/>
                    <a:pt x="60" y="161"/>
                  </a:cubicBezTo>
                  <a:cubicBezTo>
                    <a:pt x="60" y="161"/>
                    <a:pt x="61" y="163"/>
                    <a:pt x="62" y="164"/>
                  </a:cubicBezTo>
                  <a:cubicBezTo>
                    <a:pt x="63" y="164"/>
                    <a:pt x="63" y="163"/>
                    <a:pt x="64" y="163"/>
                  </a:cubicBezTo>
                  <a:cubicBezTo>
                    <a:pt x="64" y="163"/>
                    <a:pt x="66" y="163"/>
                    <a:pt x="66" y="162"/>
                  </a:cubicBezTo>
                  <a:cubicBezTo>
                    <a:pt x="66" y="162"/>
                    <a:pt x="67" y="160"/>
                    <a:pt x="67" y="161"/>
                  </a:cubicBezTo>
                  <a:cubicBezTo>
                    <a:pt x="67" y="162"/>
                    <a:pt x="68" y="162"/>
                    <a:pt x="68" y="163"/>
                  </a:cubicBezTo>
                  <a:cubicBezTo>
                    <a:pt x="69" y="164"/>
                    <a:pt x="68" y="163"/>
                    <a:pt x="68" y="164"/>
                  </a:cubicBezTo>
                  <a:cubicBezTo>
                    <a:pt x="67" y="165"/>
                    <a:pt x="67" y="166"/>
                    <a:pt x="67" y="167"/>
                  </a:cubicBezTo>
                  <a:cubicBezTo>
                    <a:pt x="66" y="168"/>
                    <a:pt x="67" y="168"/>
                    <a:pt x="68" y="168"/>
                  </a:cubicBezTo>
                  <a:cubicBezTo>
                    <a:pt x="68" y="167"/>
                    <a:pt x="69" y="167"/>
                    <a:pt x="70" y="167"/>
                  </a:cubicBezTo>
                  <a:cubicBezTo>
                    <a:pt x="70" y="167"/>
                    <a:pt x="70" y="166"/>
                    <a:pt x="70" y="166"/>
                  </a:cubicBezTo>
                  <a:cubicBezTo>
                    <a:pt x="70" y="165"/>
                    <a:pt x="70" y="164"/>
                    <a:pt x="71" y="165"/>
                  </a:cubicBezTo>
                  <a:cubicBezTo>
                    <a:pt x="71" y="166"/>
                    <a:pt x="72" y="166"/>
                    <a:pt x="72" y="167"/>
                  </a:cubicBezTo>
                  <a:cubicBezTo>
                    <a:pt x="73" y="167"/>
                    <a:pt x="71" y="167"/>
                    <a:pt x="72" y="168"/>
                  </a:cubicBezTo>
                  <a:cubicBezTo>
                    <a:pt x="73" y="170"/>
                    <a:pt x="73" y="170"/>
                    <a:pt x="73" y="170"/>
                  </a:cubicBezTo>
                  <a:cubicBezTo>
                    <a:pt x="74" y="171"/>
                    <a:pt x="76" y="170"/>
                    <a:pt x="77" y="169"/>
                  </a:cubicBezTo>
                  <a:cubicBezTo>
                    <a:pt x="78" y="168"/>
                    <a:pt x="78" y="169"/>
                    <a:pt x="77" y="170"/>
                  </a:cubicBezTo>
                  <a:cubicBezTo>
                    <a:pt x="76" y="171"/>
                    <a:pt x="77" y="170"/>
                    <a:pt x="78" y="170"/>
                  </a:cubicBezTo>
                  <a:cubicBezTo>
                    <a:pt x="79" y="170"/>
                    <a:pt x="79" y="171"/>
                    <a:pt x="78" y="171"/>
                  </a:cubicBezTo>
                  <a:cubicBezTo>
                    <a:pt x="76" y="171"/>
                    <a:pt x="76" y="171"/>
                    <a:pt x="75" y="172"/>
                  </a:cubicBezTo>
                  <a:cubicBezTo>
                    <a:pt x="74" y="173"/>
                    <a:pt x="73" y="173"/>
                    <a:pt x="74" y="175"/>
                  </a:cubicBezTo>
                  <a:cubicBezTo>
                    <a:pt x="74" y="176"/>
                    <a:pt x="76" y="175"/>
                    <a:pt x="76" y="175"/>
                  </a:cubicBezTo>
                  <a:cubicBezTo>
                    <a:pt x="77" y="174"/>
                    <a:pt x="78" y="175"/>
                    <a:pt x="79" y="175"/>
                  </a:cubicBezTo>
                  <a:cubicBezTo>
                    <a:pt x="80" y="175"/>
                    <a:pt x="81" y="175"/>
                    <a:pt x="79" y="175"/>
                  </a:cubicBezTo>
                  <a:cubicBezTo>
                    <a:pt x="78" y="175"/>
                    <a:pt x="77" y="175"/>
                    <a:pt x="76" y="176"/>
                  </a:cubicBezTo>
                  <a:cubicBezTo>
                    <a:pt x="75" y="177"/>
                    <a:pt x="74" y="178"/>
                    <a:pt x="76" y="178"/>
                  </a:cubicBezTo>
                  <a:cubicBezTo>
                    <a:pt x="77" y="178"/>
                    <a:pt x="78" y="178"/>
                    <a:pt x="77" y="178"/>
                  </a:cubicBezTo>
                  <a:cubicBezTo>
                    <a:pt x="75" y="178"/>
                    <a:pt x="75" y="180"/>
                    <a:pt x="77" y="180"/>
                  </a:cubicBezTo>
                  <a:cubicBezTo>
                    <a:pt x="79" y="181"/>
                    <a:pt x="80" y="181"/>
                    <a:pt x="81" y="181"/>
                  </a:cubicBezTo>
                  <a:cubicBezTo>
                    <a:pt x="83" y="181"/>
                    <a:pt x="82" y="182"/>
                    <a:pt x="84" y="182"/>
                  </a:cubicBezTo>
                  <a:cubicBezTo>
                    <a:pt x="85" y="183"/>
                    <a:pt x="86" y="181"/>
                    <a:pt x="86" y="180"/>
                  </a:cubicBezTo>
                  <a:cubicBezTo>
                    <a:pt x="87" y="179"/>
                    <a:pt x="87" y="180"/>
                    <a:pt x="87" y="181"/>
                  </a:cubicBezTo>
                  <a:cubicBezTo>
                    <a:pt x="87" y="181"/>
                    <a:pt x="86" y="182"/>
                    <a:pt x="85" y="183"/>
                  </a:cubicBezTo>
                  <a:cubicBezTo>
                    <a:pt x="85" y="183"/>
                    <a:pt x="86" y="184"/>
                    <a:pt x="87" y="184"/>
                  </a:cubicBezTo>
                  <a:cubicBezTo>
                    <a:pt x="87" y="184"/>
                    <a:pt x="90" y="184"/>
                    <a:pt x="90" y="183"/>
                  </a:cubicBezTo>
                  <a:cubicBezTo>
                    <a:pt x="90" y="181"/>
                    <a:pt x="91" y="180"/>
                    <a:pt x="91" y="181"/>
                  </a:cubicBezTo>
                  <a:cubicBezTo>
                    <a:pt x="91" y="182"/>
                    <a:pt x="90" y="183"/>
                    <a:pt x="90" y="184"/>
                  </a:cubicBezTo>
                  <a:cubicBezTo>
                    <a:pt x="90" y="185"/>
                    <a:pt x="91" y="185"/>
                    <a:pt x="92" y="184"/>
                  </a:cubicBezTo>
                  <a:cubicBezTo>
                    <a:pt x="93" y="184"/>
                    <a:pt x="93" y="184"/>
                    <a:pt x="92" y="184"/>
                  </a:cubicBezTo>
                  <a:cubicBezTo>
                    <a:pt x="91" y="185"/>
                    <a:pt x="91" y="186"/>
                    <a:pt x="92" y="187"/>
                  </a:cubicBezTo>
                  <a:cubicBezTo>
                    <a:pt x="92" y="189"/>
                    <a:pt x="95" y="191"/>
                    <a:pt x="95" y="188"/>
                  </a:cubicBezTo>
                  <a:cubicBezTo>
                    <a:pt x="95" y="186"/>
                    <a:pt x="96" y="185"/>
                    <a:pt x="96" y="187"/>
                  </a:cubicBezTo>
                  <a:cubicBezTo>
                    <a:pt x="96" y="188"/>
                    <a:pt x="97" y="189"/>
                    <a:pt x="97" y="189"/>
                  </a:cubicBezTo>
                  <a:cubicBezTo>
                    <a:pt x="97" y="190"/>
                    <a:pt x="96" y="190"/>
                    <a:pt x="95" y="190"/>
                  </a:cubicBezTo>
                  <a:cubicBezTo>
                    <a:pt x="95" y="191"/>
                    <a:pt x="96" y="191"/>
                    <a:pt x="97" y="191"/>
                  </a:cubicBezTo>
                  <a:cubicBezTo>
                    <a:pt x="98" y="191"/>
                    <a:pt x="100" y="191"/>
                    <a:pt x="100" y="191"/>
                  </a:cubicBezTo>
                  <a:cubicBezTo>
                    <a:pt x="100" y="190"/>
                    <a:pt x="100" y="190"/>
                    <a:pt x="100" y="191"/>
                  </a:cubicBezTo>
                  <a:cubicBezTo>
                    <a:pt x="101" y="192"/>
                    <a:pt x="101" y="192"/>
                    <a:pt x="101" y="193"/>
                  </a:cubicBezTo>
                  <a:cubicBezTo>
                    <a:pt x="102" y="194"/>
                    <a:pt x="102" y="194"/>
                    <a:pt x="103" y="195"/>
                  </a:cubicBezTo>
                  <a:cubicBezTo>
                    <a:pt x="254" y="195"/>
                    <a:pt x="254" y="195"/>
                    <a:pt x="254" y="195"/>
                  </a:cubicBezTo>
                  <a:cubicBezTo>
                    <a:pt x="254" y="195"/>
                    <a:pt x="255" y="194"/>
                    <a:pt x="255" y="193"/>
                  </a:cubicBezTo>
                  <a:close/>
                  <a:moveTo>
                    <a:pt x="125" y="60"/>
                  </a:moveTo>
                  <a:cubicBezTo>
                    <a:pt x="123" y="60"/>
                    <a:pt x="123" y="59"/>
                    <a:pt x="121" y="59"/>
                  </a:cubicBezTo>
                  <a:cubicBezTo>
                    <a:pt x="119" y="59"/>
                    <a:pt x="119" y="60"/>
                    <a:pt x="118" y="61"/>
                  </a:cubicBezTo>
                  <a:cubicBezTo>
                    <a:pt x="117" y="62"/>
                    <a:pt x="119" y="62"/>
                    <a:pt x="120" y="63"/>
                  </a:cubicBezTo>
                  <a:cubicBezTo>
                    <a:pt x="121" y="64"/>
                    <a:pt x="120" y="63"/>
                    <a:pt x="118" y="63"/>
                  </a:cubicBezTo>
                  <a:cubicBezTo>
                    <a:pt x="117" y="63"/>
                    <a:pt x="114" y="65"/>
                    <a:pt x="113" y="66"/>
                  </a:cubicBezTo>
                  <a:cubicBezTo>
                    <a:pt x="111" y="68"/>
                    <a:pt x="111" y="66"/>
                    <a:pt x="112" y="66"/>
                  </a:cubicBezTo>
                  <a:cubicBezTo>
                    <a:pt x="113" y="65"/>
                    <a:pt x="115" y="62"/>
                    <a:pt x="115" y="61"/>
                  </a:cubicBezTo>
                  <a:cubicBezTo>
                    <a:pt x="114" y="60"/>
                    <a:pt x="111" y="62"/>
                    <a:pt x="109" y="62"/>
                  </a:cubicBezTo>
                  <a:cubicBezTo>
                    <a:pt x="107" y="63"/>
                    <a:pt x="108" y="65"/>
                    <a:pt x="108" y="66"/>
                  </a:cubicBezTo>
                  <a:cubicBezTo>
                    <a:pt x="107" y="67"/>
                    <a:pt x="103" y="66"/>
                    <a:pt x="100" y="65"/>
                  </a:cubicBezTo>
                  <a:cubicBezTo>
                    <a:pt x="98" y="65"/>
                    <a:pt x="99" y="64"/>
                    <a:pt x="101" y="65"/>
                  </a:cubicBezTo>
                  <a:cubicBezTo>
                    <a:pt x="102" y="65"/>
                    <a:pt x="103" y="64"/>
                    <a:pt x="103" y="63"/>
                  </a:cubicBezTo>
                  <a:cubicBezTo>
                    <a:pt x="103" y="62"/>
                    <a:pt x="104" y="61"/>
                    <a:pt x="105" y="60"/>
                  </a:cubicBezTo>
                  <a:cubicBezTo>
                    <a:pt x="106" y="59"/>
                    <a:pt x="104" y="58"/>
                    <a:pt x="104" y="57"/>
                  </a:cubicBezTo>
                  <a:cubicBezTo>
                    <a:pt x="103" y="57"/>
                    <a:pt x="108" y="58"/>
                    <a:pt x="109" y="58"/>
                  </a:cubicBezTo>
                  <a:cubicBezTo>
                    <a:pt x="111" y="58"/>
                    <a:pt x="108" y="56"/>
                    <a:pt x="106" y="56"/>
                  </a:cubicBezTo>
                  <a:cubicBezTo>
                    <a:pt x="103" y="55"/>
                    <a:pt x="103" y="55"/>
                    <a:pt x="101" y="56"/>
                  </a:cubicBezTo>
                  <a:cubicBezTo>
                    <a:pt x="99" y="57"/>
                    <a:pt x="95" y="56"/>
                    <a:pt x="93" y="56"/>
                  </a:cubicBezTo>
                  <a:cubicBezTo>
                    <a:pt x="91" y="56"/>
                    <a:pt x="92" y="57"/>
                    <a:pt x="90" y="57"/>
                  </a:cubicBezTo>
                  <a:cubicBezTo>
                    <a:pt x="89" y="58"/>
                    <a:pt x="90" y="56"/>
                    <a:pt x="90" y="55"/>
                  </a:cubicBezTo>
                  <a:cubicBezTo>
                    <a:pt x="91" y="55"/>
                    <a:pt x="92" y="55"/>
                    <a:pt x="94" y="55"/>
                  </a:cubicBezTo>
                  <a:cubicBezTo>
                    <a:pt x="97" y="55"/>
                    <a:pt x="97" y="53"/>
                    <a:pt x="100" y="53"/>
                  </a:cubicBezTo>
                  <a:cubicBezTo>
                    <a:pt x="102" y="52"/>
                    <a:pt x="103" y="52"/>
                    <a:pt x="105" y="51"/>
                  </a:cubicBezTo>
                  <a:cubicBezTo>
                    <a:pt x="107" y="51"/>
                    <a:pt x="113" y="50"/>
                    <a:pt x="115" y="49"/>
                  </a:cubicBezTo>
                  <a:cubicBezTo>
                    <a:pt x="118" y="48"/>
                    <a:pt x="120" y="48"/>
                    <a:pt x="121" y="49"/>
                  </a:cubicBezTo>
                  <a:cubicBezTo>
                    <a:pt x="122" y="50"/>
                    <a:pt x="120" y="51"/>
                    <a:pt x="118" y="52"/>
                  </a:cubicBezTo>
                  <a:cubicBezTo>
                    <a:pt x="116" y="53"/>
                    <a:pt x="117" y="52"/>
                    <a:pt x="117" y="54"/>
                  </a:cubicBezTo>
                  <a:cubicBezTo>
                    <a:pt x="116" y="55"/>
                    <a:pt x="126" y="54"/>
                    <a:pt x="126" y="54"/>
                  </a:cubicBezTo>
                  <a:cubicBezTo>
                    <a:pt x="127" y="54"/>
                    <a:pt x="129" y="50"/>
                    <a:pt x="131" y="52"/>
                  </a:cubicBezTo>
                  <a:cubicBezTo>
                    <a:pt x="131" y="53"/>
                    <a:pt x="127" y="59"/>
                    <a:pt x="125" y="60"/>
                  </a:cubicBezTo>
                  <a:close/>
                  <a:moveTo>
                    <a:pt x="176" y="86"/>
                  </a:moveTo>
                  <a:cubicBezTo>
                    <a:pt x="175" y="86"/>
                    <a:pt x="172" y="86"/>
                    <a:pt x="171" y="86"/>
                  </a:cubicBezTo>
                  <a:cubicBezTo>
                    <a:pt x="170" y="87"/>
                    <a:pt x="174" y="87"/>
                    <a:pt x="174" y="87"/>
                  </a:cubicBezTo>
                  <a:cubicBezTo>
                    <a:pt x="174" y="88"/>
                    <a:pt x="171" y="89"/>
                    <a:pt x="169" y="89"/>
                  </a:cubicBezTo>
                  <a:cubicBezTo>
                    <a:pt x="166" y="89"/>
                    <a:pt x="165" y="91"/>
                    <a:pt x="164" y="91"/>
                  </a:cubicBezTo>
                  <a:cubicBezTo>
                    <a:pt x="163" y="92"/>
                    <a:pt x="163" y="93"/>
                    <a:pt x="161" y="93"/>
                  </a:cubicBezTo>
                  <a:cubicBezTo>
                    <a:pt x="160" y="94"/>
                    <a:pt x="160" y="93"/>
                    <a:pt x="159" y="94"/>
                  </a:cubicBezTo>
                  <a:cubicBezTo>
                    <a:pt x="158" y="94"/>
                    <a:pt x="158" y="95"/>
                    <a:pt x="159" y="95"/>
                  </a:cubicBezTo>
                  <a:cubicBezTo>
                    <a:pt x="159" y="95"/>
                    <a:pt x="162" y="95"/>
                    <a:pt x="160" y="97"/>
                  </a:cubicBezTo>
                  <a:cubicBezTo>
                    <a:pt x="159" y="98"/>
                    <a:pt x="157" y="98"/>
                    <a:pt x="154" y="98"/>
                  </a:cubicBezTo>
                  <a:cubicBezTo>
                    <a:pt x="152" y="99"/>
                    <a:pt x="153" y="99"/>
                    <a:pt x="153" y="100"/>
                  </a:cubicBezTo>
                  <a:cubicBezTo>
                    <a:pt x="153" y="101"/>
                    <a:pt x="150" y="102"/>
                    <a:pt x="147" y="103"/>
                  </a:cubicBezTo>
                  <a:cubicBezTo>
                    <a:pt x="143" y="103"/>
                    <a:pt x="139" y="103"/>
                    <a:pt x="137" y="102"/>
                  </a:cubicBezTo>
                  <a:cubicBezTo>
                    <a:pt x="135" y="100"/>
                    <a:pt x="134" y="99"/>
                    <a:pt x="135" y="99"/>
                  </a:cubicBezTo>
                  <a:cubicBezTo>
                    <a:pt x="136" y="100"/>
                    <a:pt x="137" y="98"/>
                    <a:pt x="139" y="99"/>
                  </a:cubicBezTo>
                  <a:cubicBezTo>
                    <a:pt x="142" y="100"/>
                    <a:pt x="141" y="97"/>
                    <a:pt x="142" y="96"/>
                  </a:cubicBezTo>
                  <a:cubicBezTo>
                    <a:pt x="143" y="94"/>
                    <a:pt x="145" y="95"/>
                    <a:pt x="147" y="94"/>
                  </a:cubicBezTo>
                  <a:cubicBezTo>
                    <a:pt x="148" y="94"/>
                    <a:pt x="146" y="92"/>
                    <a:pt x="144" y="92"/>
                  </a:cubicBezTo>
                  <a:cubicBezTo>
                    <a:pt x="143" y="91"/>
                    <a:pt x="143" y="91"/>
                    <a:pt x="143" y="89"/>
                  </a:cubicBezTo>
                  <a:cubicBezTo>
                    <a:pt x="143" y="88"/>
                    <a:pt x="143" y="89"/>
                    <a:pt x="142" y="89"/>
                  </a:cubicBezTo>
                  <a:cubicBezTo>
                    <a:pt x="140" y="88"/>
                    <a:pt x="140" y="87"/>
                    <a:pt x="142" y="87"/>
                  </a:cubicBezTo>
                  <a:cubicBezTo>
                    <a:pt x="144" y="88"/>
                    <a:pt x="148" y="89"/>
                    <a:pt x="149" y="90"/>
                  </a:cubicBezTo>
                  <a:cubicBezTo>
                    <a:pt x="151" y="90"/>
                    <a:pt x="152" y="91"/>
                    <a:pt x="153" y="92"/>
                  </a:cubicBezTo>
                  <a:cubicBezTo>
                    <a:pt x="154" y="93"/>
                    <a:pt x="159" y="92"/>
                    <a:pt x="160" y="91"/>
                  </a:cubicBezTo>
                  <a:cubicBezTo>
                    <a:pt x="162" y="90"/>
                    <a:pt x="163" y="90"/>
                    <a:pt x="164" y="88"/>
                  </a:cubicBezTo>
                  <a:cubicBezTo>
                    <a:pt x="166" y="86"/>
                    <a:pt x="168" y="85"/>
                    <a:pt x="171" y="85"/>
                  </a:cubicBezTo>
                  <a:cubicBezTo>
                    <a:pt x="173" y="84"/>
                    <a:pt x="177" y="85"/>
                    <a:pt x="179" y="86"/>
                  </a:cubicBezTo>
                  <a:cubicBezTo>
                    <a:pt x="180" y="86"/>
                    <a:pt x="177" y="86"/>
                    <a:pt x="176" y="86"/>
                  </a:cubicBezTo>
                  <a:close/>
                  <a:moveTo>
                    <a:pt x="247" y="183"/>
                  </a:moveTo>
                  <a:cubicBezTo>
                    <a:pt x="246" y="185"/>
                    <a:pt x="246" y="183"/>
                    <a:pt x="245" y="181"/>
                  </a:cubicBezTo>
                  <a:cubicBezTo>
                    <a:pt x="244" y="179"/>
                    <a:pt x="246" y="177"/>
                    <a:pt x="246" y="176"/>
                  </a:cubicBezTo>
                  <a:cubicBezTo>
                    <a:pt x="246" y="174"/>
                    <a:pt x="246" y="174"/>
                    <a:pt x="245" y="175"/>
                  </a:cubicBezTo>
                  <a:cubicBezTo>
                    <a:pt x="244" y="175"/>
                    <a:pt x="244" y="176"/>
                    <a:pt x="244" y="174"/>
                  </a:cubicBezTo>
                  <a:cubicBezTo>
                    <a:pt x="244" y="172"/>
                    <a:pt x="243" y="172"/>
                    <a:pt x="242" y="171"/>
                  </a:cubicBezTo>
                  <a:cubicBezTo>
                    <a:pt x="240" y="170"/>
                    <a:pt x="241" y="172"/>
                    <a:pt x="241" y="173"/>
                  </a:cubicBezTo>
                  <a:cubicBezTo>
                    <a:pt x="240" y="173"/>
                    <a:pt x="237" y="169"/>
                    <a:pt x="235" y="167"/>
                  </a:cubicBezTo>
                  <a:cubicBezTo>
                    <a:pt x="233" y="165"/>
                    <a:pt x="235" y="165"/>
                    <a:pt x="236" y="165"/>
                  </a:cubicBezTo>
                  <a:cubicBezTo>
                    <a:pt x="237" y="164"/>
                    <a:pt x="235" y="164"/>
                    <a:pt x="234" y="164"/>
                  </a:cubicBezTo>
                  <a:cubicBezTo>
                    <a:pt x="233" y="164"/>
                    <a:pt x="233" y="162"/>
                    <a:pt x="234" y="161"/>
                  </a:cubicBezTo>
                  <a:cubicBezTo>
                    <a:pt x="234" y="160"/>
                    <a:pt x="234" y="159"/>
                    <a:pt x="235" y="158"/>
                  </a:cubicBezTo>
                  <a:cubicBezTo>
                    <a:pt x="235" y="157"/>
                    <a:pt x="237" y="158"/>
                    <a:pt x="239" y="160"/>
                  </a:cubicBezTo>
                  <a:cubicBezTo>
                    <a:pt x="241" y="161"/>
                    <a:pt x="241" y="162"/>
                    <a:pt x="242" y="163"/>
                  </a:cubicBezTo>
                  <a:cubicBezTo>
                    <a:pt x="242" y="163"/>
                    <a:pt x="242" y="166"/>
                    <a:pt x="243" y="167"/>
                  </a:cubicBezTo>
                  <a:cubicBezTo>
                    <a:pt x="244" y="168"/>
                    <a:pt x="245" y="169"/>
                    <a:pt x="245" y="171"/>
                  </a:cubicBezTo>
                  <a:cubicBezTo>
                    <a:pt x="244" y="173"/>
                    <a:pt x="246" y="172"/>
                    <a:pt x="246" y="174"/>
                  </a:cubicBezTo>
                  <a:cubicBezTo>
                    <a:pt x="247" y="177"/>
                    <a:pt x="247" y="175"/>
                    <a:pt x="248" y="177"/>
                  </a:cubicBezTo>
                  <a:cubicBezTo>
                    <a:pt x="249" y="180"/>
                    <a:pt x="248" y="182"/>
                    <a:pt x="247" y="183"/>
                  </a:cubicBezTo>
                  <a:close/>
                </a:path>
              </a:pathLst>
            </a:custGeom>
            <a:solidFill>
              <a:srgbClr val="212E3E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  <p:sp>
          <p:nvSpPr>
            <p:cNvPr id="862" name="Freeform 778">
              <a:extLst>
                <a:ext uri="{FF2B5EF4-FFF2-40B4-BE49-F238E27FC236}">
                  <a16:creationId xmlns:a16="http://schemas.microsoft.com/office/drawing/2014/main" id="{C2B6F7F0-7EB8-2282-7302-901549C90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991" y="2851951"/>
              <a:ext cx="36326" cy="38747"/>
            </a:xfrm>
            <a:custGeom>
              <a:avLst/>
              <a:gdLst>
                <a:gd name="T0" fmla="*/ 10 w 11"/>
                <a:gd name="T1" fmla="*/ 11 h 12"/>
                <a:gd name="T2" fmla="*/ 9 w 11"/>
                <a:gd name="T3" fmla="*/ 6 h 12"/>
                <a:gd name="T4" fmla="*/ 6 w 11"/>
                <a:gd name="T5" fmla="*/ 1 h 12"/>
                <a:gd name="T6" fmla="*/ 4 w 11"/>
                <a:gd name="T7" fmla="*/ 0 h 12"/>
                <a:gd name="T8" fmla="*/ 3 w 11"/>
                <a:gd name="T9" fmla="*/ 1 h 12"/>
                <a:gd name="T10" fmla="*/ 2 w 11"/>
                <a:gd name="T11" fmla="*/ 2 h 12"/>
                <a:gd name="T12" fmla="*/ 5 w 11"/>
                <a:gd name="T13" fmla="*/ 4 h 12"/>
                <a:gd name="T14" fmla="*/ 5 w 11"/>
                <a:gd name="T15" fmla="*/ 7 h 12"/>
                <a:gd name="T16" fmla="*/ 6 w 11"/>
                <a:gd name="T17" fmla="*/ 7 h 12"/>
                <a:gd name="T18" fmla="*/ 5 w 11"/>
                <a:gd name="T19" fmla="*/ 9 h 12"/>
                <a:gd name="T20" fmla="*/ 7 w 11"/>
                <a:gd name="T21" fmla="*/ 11 h 12"/>
                <a:gd name="T22" fmla="*/ 6 w 11"/>
                <a:gd name="T23" fmla="*/ 8 h 12"/>
                <a:gd name="T24" fmla="*/ 9 w 11"/>
                <a:gd name="T25" fmla="*/ 10 h 12"/>
                <a:gd name="T26" fmla="*/ 10 w 11"/>
                <a:gd name="T2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2">
                  <a:moveTo>
                    <a:pt x="10" y="11"/>
                  </a:moveTo>
                  <a:cubicBezTo>
                    <a:pt x="10" y="9"/>
                    <a:pt x="10" y="8"/>
                    <a:pt x="9" y="6"/>
                  </a:cubicBezTo>
                  <a:cubicBezTo>
                    <a:pt x="9" y="5"/>
                    <a:pt x="7" y="2"/>
                    <a:pt x="6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4" y="1"/>
                    <a:pt x="3" y="1"/>
                  </a:cubicBezTo>
                  <a:cubicBezTo>
                    <a:pt x="2" y="1"/>
                    <a:pt x="0" y="1"/>
                    <a:pt x="2" y="2"/>
                  </a:cubicBezTo>
                  <a:cubicBezTo>
                    <a:pt x="3" y="3"/>
                    <a:pt x="5" y="3"/>
                    <a:pt x="5" y="4"/>
                  </a:cubicBezTo>
                  <a:cubicBezTo>
                    <a:pt x="5" y="6"/>
                    <a:pt x="4" y="7"/>
                    <a:pt x="5" y="7"/>
                  </a:cubicBezTo>
                  <a:cubicBezTo>
                    <a:pt x="5" y="6"/>
                    <a:pt x="6" y="7"/>
                    <a:pt x="6" y="7"/>
                  </a:cubicBezTo>
                  <a:cubicBezTo>
                    <a:pt x="5" y="8"/>
                    <a:pt x="4" y="7"/>
                    <a:pt x="5" y="9"/>
                  </a:cubicBezTo>
                  <a:cubicBezTo>
                    <a:pt x="6" y="10"/>
                    <a:pt x="7" y="12"/>
                    <a:pt x="7" y="11"/>
                  </a:cubicBezTo>
                  <a:cubicBezTo>
                    <a:pt x="6" y="9"/>
                    <a:pt x="5" y="8"/>
                    <a:pt x="6" y="8"/>
                  </a:cubicBezTo>
                  <a:cubicBezTo>
                    <a:pt x="8" y="8"/>
                    <a:pt x="8" y="9"/>
                    <a:pt x="9" y="10"/>
                  </a:cubicBezTo>
                  <a:cubicBezTo>
                    <a:pt x="9" y="11"/>
                    <a:pt x="11" y="12"/>
                    <a:pt x="10" y="1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  <a:sym typeface="FT Base Book" pitchFamily="2" charset="0"/>
              </a:endParaRPr>
            </a:p>
          </p:txBody>
        </p:sp>
      </p:grpSp>
      <p:cxnSp>
        <p:nvCxnSpPr>
          <p:cNvPr id="893" name="Conector reto 892">
            <a:extLst>
              <a:ext uri="{FF2B5EF4-FFF2-40B4-BE49-F238E27FC236}">
                <a16:creationId xmlns:a16="http://schemas.microsoft.com/office/drawing/2014/main" id="{B2512ED0-679B-7334-37D3-8ED915E4724F}"/>
              </a:ext>
            </a:extLst>
          </p:cNvPr>
          <p:cNvCxnSpPr/>
          <p:nvPr/>
        </p:nvCxnSpPr>
        <p:spPr>
          <a:xfrm>
            <a:off x="544033" y="1600381"/>
            <a:ext cx="5364480" cy="0"/>
          </a:xfrm>
          <a:prstGeom prst="line">
            <a:avLst/>
          </a:prstGeom>
          <a:ln w="38100" cap="rnd">
            <a:solidFill>
              <a:srgbClr val="6D32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5" name="TextBox 1051">
            <a:extLst>
              <a:ext uri="{FF2B5EF4-FFF2-40B4-BE49-F238E27FC236}">
                <a16:creationId xmlns:a16="http://schemas.microsoft.com/office/drawing/2014/main" id="{1570E9A4-3866-2E2C-3E6E-593195584FE9}"/>
              </a:ext>
            </a:extLst>
          </p:cNvPr>
          <p:cNvSpPr txBox="1">
            <a:spLocks/>
          </p:cNvSpPr>
          <p:nvPr/>
        </p:nvSpPr>
        <p:spPr>
          <a:xfrm>
            <a:off x="550613" y="1299594"/>
            <a:ext cx="5233368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Presença global da ED, metas e compromisso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897" name="TextBox 1051">
            <a:extLst>
              <a:ext uri="{FF2B5EF4-FFF2-40B4-BE49-F238E27FC236}">
                <a16:creationId xmlns:a16="http://schemas.microsoft.com/office/drawing/2014/main" id="{AC7FA1F0-7BC6-B752-ED94-7C7B09B18975}"/>
              </a:ext>
            </a:extLst>
          </p:cNvPr>
          <p:cNvSpPr txBox="1">
            <a:spLocks/>
          </p:cNvSpPr>
          <p:nvPr/>
        </p:nvSpPr>
        <p:spPr>
          <a:xfrm>
            <a:off x="544033" y="1778218"/>
            <a:ext cx="1653808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América do Nort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898" name="TextBox 1051">
            <a:extLst>
              <a:ext uri="{FF2B5EF4-FFF2-40B4-BE49-F238E27FC236}">
                <a16:creationId xmlns:a16="http://schemas.microsoft.com/office/drawing/2014/main" id="{1B760910-EDFE-11B1-718C-1AA9F917EF13}"/>
              </a:ext>
            </a:extLst>
          </p:cNvPr>
          <p:cNvSpPr txBox="1">
            <a:spLocks/>
          </p:cNvSpPr>
          <p:nvPr/>
        </p:nvSpPr>
        <p:spPr>
          <a:xfrm>
            <a:off x="2530948" y="1778218"/>
            <a:ext cx="1390650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Europ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899" name="TextBox 1051">
            <a:extLst>
              <a:ext uri="{FF2B5EF4-FFF2-40B4-BE49-F238E27FC236}">
                <a16:creationId xmlns:a16="http://schemas.microsoft.com/office/drawing/2014/main" id="{6778B446-47C3-8F30-EF53-EF26C85F7089}"/>
              </a:ext>
            </a:extLst>
          </p:cNvPr>
          <p:cNvSpPr txBox="1">
            <a:spLocks/>
          </p:cNvSpPr>
          <p:nvPr/>
        </p:nvSpPr>
        <p:spPr>
          <a:xfrm>
            <a:off x="4340698" y="1778218"/>
            <a:ext cx="1594779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Ásia-Pacífic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cxnSp>
        <p:nvCxnSpPr>
          <p:cNvPr id="900" name="Conector reto 899">
            <a:extLst>
              <a:ext uri="{FF2B5EF4-FFF2-40B4-BE49-F238E27FC236}">
                <a16:creationId xmlns:a16="http://schemas.microsoft.com/office/drawing/2014/main" id="{E92E8E7A-7856-7376-EEF8-32F6E16D2CBB}"/>
              </a:ext>
            </a:extLst>
          </p:cNvPr>
          <p:cNvCxnSpPr>
            <a:cxnSpLocks/>
          </p:cNvCxnSpPr>
          <p:nvPr/>
        </p:nvCxnSpPr>
        <p:spPr>
          <a:xfrm>
            <a:off x="499583" y="2024139"/>
            <a:ext cx="1701800" cy="0"/>
          </a:xfrm>
          <a:prstGeom prst="line">
            <a:avLst/>
          </a:prstGeom>
          <a:ln w="19050">
            <a:solidFill>
              <a:srgbClr val="71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1" name="Conector reto 900">
            <a:extLst>
              <a:ext uri="{FF2B5EF4-FFF2-40B4-BE49-F238E27FC236}">
                <a16:creationId xmlns:a16="http://schemas.microsoft.com/office/drawing/2014/main" id="{74A7543F-F016-11F1-5625-9EAAF9F1AC3E}"/>
              </a:ext>
            </a:extLst>
          </p:cNvPr>
          <p:cNvCxnSpPr>
            <a:cxnSpLocks/>
          </p:cNvCxnSpPr>
          <p:nvPr/>
        </p:nvCxnSpPr>
        <p:spPr>
          <a:xfrm>
            <a:off x="2530948" y="2024139"/>
            <a:ext cx="1464310" cy="0"/>
          </a:xfrm>
          <a:prstGeom prst="line">
            <a:avLst/>
          </a:prstGeom>
          <a:ln w="19050">
            <a:solidFill>
              <a:srgbClr val="71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2" name="Conector reto 901">
            <a:extLst>
              <a:ext uri="{FF2B5EF4-FFF2-40B4-BE49-F238E27FC236}">
                <a16:creationId xmlns:a16="http://schemas.microsoft.com/office/drawing/2014/main" id="{0B8B4900-59A6-718A-9B66-D0B90D564DBC}"/>
              </a:ext>
            </a:extLst>
          </p:cNvPr>
          <p:cNvCxnSpPr>
            <a:cxnSpLocks/>
          </p:cNvCxnSpPr>
          <p:nvPr/>
        </p:nvCxnSpPr>
        <p:spPr>
          <a:xfrm>
            <a:off x="4340698" y="2024139"/>
            <a:ext cx="1613535" cy="0"/>
          </a:xfrm>
          <a:prstGeom prst="line">
            <a:avLst/>
          </a:prstGeom>
          <a:ln w="19050">
            <a:solidFill>
              <a:srgbClr val="71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3" name="Conector reto 902">
            <a:extLst>
              <a:ext uri="{FF2B5EF4-FFF2-40B4-BE49-F238E27FC236}">
                <a16:creationId xmlns:a16="http://schemas.microsoft.com/office/drawing/2014/main" id="{61F23923-B2D2-B2B9-A473-E493D02FFA8E}"/>
              </a:ext>
            </a:extLst>
          </p:cNvPr>
          <p:cNvCxnSpPr>
            <a:cxnSpLocks/>
          </p:cNvCxnSpPr>
          <p:nvPr/>
        </p:nvCxnSpPr>
        <p:spPr>
          <a:xfrm>
            <a:off x="499583" y="3954539"/>
            <a:ext cx="1701800" cy="0"/>
          </a:xfrm>
          <a:prstGeom prst="line">
            <a:avLst/>
          </a:prstGeom>
          <a:ln w="19050">
            <a:solidFill>
              <a:srgbClr val="71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4" name="TextBox 1051">
            <a:extLst>
              <a:ext uri="{FF2B5EF4-FFF2-40B4-BE49-F238E27FC236}">
                <a16:creationId xmlns:a16="http://schemas.microsoft.com/office/drawing/2014/main" id="{4D24E73E-2C0F-5199-B531-30A467512B44}"/>
              </a:ext>
            </a:extLst>
          </p:cNvPr>
          <p:cNvSpPr txBox="1">
            <a:spLocks/>
          </p:cNvSpPr>
          <p:nvPr/>
        </p:nvSpPr>
        <p:spPr>
          <a:xfrm>
            <a:off x="543862" y="3701502"/>
            <a:ext cx="1390650" cy="23009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latin typeface="Mulish Regular Roman" pitchFamily="2" charset="0"/>
                <a:cs typeface="Arial" panose="020B0604020202020204" pitchFamily="34" charset="0"/>
                <a:sym typeface="Mulish" pitchFamily="2" charset="0"/>
              </a:defRPr>
            </a:lvl1pPr>
            <a:lvl2pPr marL="228600" lvl="1" indent="-230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>
                <a:latin typeface="Mulish Regular Roman" pitchFamily="2" charset="0"/>
                <a:sym typeface="Mulish" pitchFamily="2" charset="0"/>
              </a:defRPr>
            </a:lvl2pPr>
            <a:lvl3pPr marL="439200" lvl="2" indent="-208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>
                <a:latin typeface="Mulish Regular Roman" pitchFamily="2" charset="0"/>
                <a:sym typeface="Mulish" pitchFamily="2" charset="0"/>
              </a:defRPr>
            </a:lvl3pPr>
            <a:lvl4pPr marL="604800" lvl="3" indent="-1548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>
                <a:latin typeface="Mulish Regular Roman" pitchFamily="2" charset="0"/>
                <a:sym typeface="Mulish" pitchFamily="2" charset="0"/>
              </a:defRPr>
            </a:lvl4pPr>
            <a:lvl5pPr marL="813600" lvl="4" indent="-147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>
                <a:latin typeface="Mulish Regular Roman" pitchFamily="2" charset="0"/>
                <a:sym typeface="Mulish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 pitchFamily="2" charset="0"/>
                <a:ea typeface="+mn-ea"/>
                <a:cs typeface="Arial" panose="020B0604020202020204" pitchFamily="34" charset="0"/>
                <a:sym typeface="FT Base Book" pitchFamily="2" charset="0"/>
              </a:rPr>
              <a:t>América do Sul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T Base Book" pitchFamily="2" charset="0"/>
              <a:ea typeface="+mn-ea"/>
              <a:cs typeface="Arial" panose="020B0604020202020204" pitchFamily="34" charset="0"/>
              <a:sym typeface="FT Base Book" pitchFamily="2" charset="0"/>
            </a:endParaRPr>
          </a:p>
        </p:txBody>
      </p:sp>
      <p:sp>
        <p:nvSpPr>
          <p:cNvPr id="909" name="Retângulo 908">
            <a:extLst>
              <a:ext uri="{FF2B5EF4-FFF2-40B4-BE49-F238E27FC236}">
                <a16:creationId xmlns:a16="http://schemas.microsoft.com/office/drawing/2014/main" id="{C4E7B5F0-BC73-FAB2-0959-459C41A9EBB9}"/>
              </a:ext>
            </a:extLst>
          </p:cNvPr>
          <p:cNvSpPr/>
          <p:nvPr/>
        </p:nvSpPr>
        <p:spPr>
          <a:xfrm>
            <a:off x="6401908" y="1251526"/>
            <a:ext cx="5074943" cy="4696336"/>
          </a:xfrm>
          <a:prstGeom prst="rect">
            <a:avLst/>
          </a:prstGeom>
          <a:solidFill>
            <a:srgbClr val="212E3E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0" name="CaixaDeTexto 909">
            <a:extLst>
              <a:ext uri="{FF2B5EF4-FFF2-40B4-BE49-F238E27FC236}">
                <a16:creationId xmlns:a16="http://schemas.microsoft.com/office/drawing/2014/main" id="{EA56651B-5720-BEC8-140C-60C8799B6FEA}"/>
              </a:ext>
            </a:extLst>
          </p:cNvPr>
          <p:cNvSpPr txBox="1"/>
          <p:nvPr/>
        </p:nvSpPr>
        <p:spPr>
          <a:xfrm>
            <a:off x="6541609" y="1255771"/>
            <a:ext cx="1186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"/>
                <a:ea typeface="+mn-ea"/>
                <a:cs typeface="+mn-cs"/>
              </a:rPr>
              <a:t>Até 2025</a:t>
            </a:r>
          </a:p>
        </p:txBody>
      </p:sp>
      <p:sp>
        <p:nvSpPr>
          <p:cNvPr id="911" name="CaixaDeTexto 910">
            <a:extLst>
              <a:ext uri="{FF2B5EF4-FFF2-40B4-BE49-F238E27FC236}">
                <a16:creationId xmlns:a16="http://schemas.microsoft.com/office/drawing/2014/main" id="{0509B1DD-8F60-BAC0-F3EB-BFAE4339D98E}"/>
              </a:ext>
            </a:extLst>
          </p:cNvPr>
          <p:cNvSpPr txBox="1"/>
          <p:nvPr/>
        </p:nvSpPr>
        <p:spPr>
          <a:xfrm>
            <a:off x="8992709" y="1255771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"/>
                <a:ea typeface="+mn-ea"/>
                <a:cs typeface="+mn-cs"/>
              </a:rPr>
              <a:t>Até 2040</a:t>
            </a:r>
          </a:p>
        </p:txBody>
      </p:sp>
      <p:sp>
        <p:nvSpPr>
          <p:cNvPr id="912" name="CaixaDeTexto 911">
            <a:extLst>
              <a:ext uri="{FF2B5EF4-FFF2-40B4-BE49-F238E27FC236}">
                <a16:creationId xmlns:a16="http://schemas.microsoft.com/office/drawing/2014/main" id="{1CD4A60B-7C3F-1C5D-FB3D-D44148B9B7E6}"/>
              </a:ext>
            </a:extLst>
          </p:cNvPr>
          <p:cNvSpPr txBox="1"/>
          <p:nvPr/>
        </p:nvSpPr>
        <p:spPr>
          <a:xfrm>
            <a:off x="6548593" y="1695239"/>
            <a:ext cx="146706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€</a:t>
            </a:r>
            <a:r>
              <a:rPr kumimoji="0" lang="pt-BR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24</a:t>
            </a: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 </a:t>
            </a:r>
            <a:r>
              <a: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Bi</a:t>
            </a:r>
          </a:p>
        </p:txBody>
      </p:sp>
      <p:sp>
        <p:nvSpPr>
          <p:cNvPr id="913" name="CaixaDeTexto 912">
            <a:extLst>
              <a:ext uri="{FF2B5EF4-FFF2-40B4-BE49-F238E27FC236}">
                <a16:creationId xmlns:a16="http://schemas.microsoft.com/office/drawing/2014/main" id="{D4A595CF-9FD6-9809-F424-5617F87A968C}"/>
              </a:ext>
            </a:extLst>
          </p:cNvPr>
          <p:cNvSpPr txBox="1"/>
          <p:nvPr/>
        </p:nvSpPr>
        <p:spPr>
          <a:xfrm>
            <a:off x="8992709" y="1687619"/>
            <a:ext cx="17107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&gt;</a:t>
            </a:r>
            <a:r>
              <a:rPr kumimoji="0" lang="pt-BR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50</a:t>
            </a:r>
            <a:r>
              <a:rPr kumimoji="0" lang="pt-BR" sz="2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 </a:t>
            </a:r>
            <a:r>
              <a:rPr kumimoji="0" lang="pt-BR" sz="27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GW</a:t>
            </a:r>
          </a:p>
        </p:txBody>
      </p:sp>
      <p:sp>
        <p:nvSpPr>
          <p:cNvPr id="914" name="CaixaDeTexto 913">
            <a:extLst>
              <a:ext uri="{FF2B5EF4-FFF2-40B4-BE49-F238E27FC236}">
                <a16:creationId xmlns:a16="http://schemas.microsoft.com/office/drawing/2014/main" id="{A9D75772-7084-D35E-3E24-418ACF11DCA2}"/>
              </a:ext>
            </a:extLst>
          </p:cNvPr>
          <p:cNvSpPr txBox="1"/>
          <p:nvPr/>
        </p:nvSpPr>
        <p:spPr>
          <a:xfrm>
            <a:off x="6534288" y="2264502"/>
            <a:ext cx="17031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"/>
                <a:ea typeface="+mn-ea"/>
                <a:cs typeface="+mn-cs"/>
              </a:rPr>
              <a:t>CAPEX em Transição Energética</a:t>
            </a:r>
          </a:p>
        </p:txBody>
      </p:sp>
      <p:sp>
        <p:nvSpPr>
          <p:cNvPr id="916" name="CaixaDeTexto 915">
            <a:extLst>
              <a:ext uri="{FF2B5EF4-FFF2-40B4-BE49-F238E27FC236}">
                <a16:creationId xmlns:a16="http://schemas.microsoft.com/office/drawing/2014/main" id="{F8B78A03-7252-E3E2-8D87-BD9C26F41051}"/>
              </a:ext>
            </a:extLst>
          </p:cNvPr>
          <p:cNvSpPr txBox="1"/>
          <p:nvPr/>
        </p:nvSpPr>
        <p:spPr>
          <a:xfrm>
            <a:off x="6548593" y="2622278"/>
            <a:ext cx="184858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4</a:t>
            </a:r>
            <a:r>
              <a:rPr kumimoji="0" lang="pt-BR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  </a:t>
            </a:r>
            <a:r>
              <a:rPr kumimoji="0" lang="pt-BR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GW/ano</a:t>
            </a: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917" name="CaixaDeTexto 916">
            <a:extLst>
              <a:ext uri="{FF2B5EF4-FFF2-40B4-BE49-F238E27FC236}">
                <a16:creationId xmlns:a16="http://schemas.microsoft.com/office/drawing/2014/main" id="{743BF0CF-B5A3-8EBA-34CD-6A82AB283D7B}"/>
              </a:ext>
            </a:extLst>
          </p:cNvPr>
          <p:cNvSpPr txBox="1"/>
          <p:nvPr/>
        </p:nvSpPr>
        <p:spPr>
          <a:xfrm>
            <a:off x="6534288" y="3168655"/>
            <a:ext cx="18133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"/>
                <a:ea typeface="+mn-ea"/>
                <a:cs typeface="+mn-cs"/>
              </a:rPr>
              <a:t>renováveis implantada</a:t>
            </a:r>
          </a:p>
        </p:txBody>
      </p:sp>
      <p:sp>
        <p:nvSpPr>
          <p:cNvPr id="918" name="CaixaDeTexto 917">
            <a:extLst>
              <a:ext uri="{FF2B5EF4-FFF2-40B4-BE49-F238E27FC236}">
                <a16:creationId xmlns:a16="http://schemas.microsoft.com/office/drawing/2014/main" id="{0751C6A4-7E0B-142D-7003-8006A2A3E5A2}"/>
              </a:ext>
            </a:extLst>
          </p:cNvPr>
          <p:cNvSpPr txBox="1"/>
          <p:nvPr/>
        </p:nvSpPr>
        <p:spPr>
          <a:xfrm>
            <a:off x="6548593" y="3549911"/>
            <a:ext cx="13195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Dobro</a:t>
            </a:r>
            <a:endParaRPr kumimoji="0" lang="pt-BR" sz="2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919" name="CaixaDeTexto 918">
            <a:extLst>
              <a:ext uri="{FF2B5EF4-FFF2-40B4-BE49-F238E27FC236}">
                <a16:creationId xmlns:a16="http://schemas.microsoft.com/office/drawing/2014/main" id="{B00B81FA-935B-FEA2-66FB-FD4CA53CAFEE}"/>
              </a:ext>
            </a:extLst>
          </p:cNvPr>
          <p:cNvSpPr txBox="1"/>
          <p:nvPr/>
        </p:nvSpPr>
        <p:spPr>
          <a:xfrm>
            <a:off x="6534288" y="4070058"/>
            <a:ext cx="22589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lish"/>
                <a:ea typeface="+mn-ea"/>
                <a:cs typeface="+mn-cs"/>
              </a:rPr>
              <a:t>capac. instalada solar+eólica</a:t>
            </a:r>
          </a:p>
        </p:txBody>
      </p:sp>
      <p:sp>
        <p:nvSpPr>
          <p:cNvPr id="922" name="CaixaDeTexto 921">
            <a:extLst>
              <a:ext uri="{FF2B5EF4-FFF2-40B4-BE49-F238E27FC236}">
                <a16:creationId xmlns:a16="http://schemas.microsoft.com/office/drawing/2014/main" id="{D0610BDF-27A4-358B-A276-C9E40004B9C3}"/>
              </a:ext>
            </a:extLst>
          </p:cNvPr>
          <p:cNvSpPr txBox="1"/>
          <p:nvPr/>
        </p:nvSpPr>
        <p:spPr>
          <a:xfrm>
            <a:off x="8980920" y="2241616"/>
            <a:ext cx="15359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"/>
                <a:ea typeface="+mn-ea"/>
                <a:cs typeface="+mn-cs"/>
              </a:rPr>
              <a:t>adições renováveis</a:t>
            </a:r>
          </a:p>
        </p:txBody>
      </p:sp>
      <p:sp>
        <p:nvSpPr>
          <p:cNvPr id="923" name="CaixaDeTexto 922">
            <a:extLst>
              <a:ext uri="{FF2B5EF4-FFF2-40B4-BE49-F238E27FC236}">
                <a16:creationId xmlns:a16="http://schemas.microsoft.com/office/drawing/2014/main" id="{22ADB00D-11D1-D34A-0A3B-F4769DFC811B}"/>
              </a:ext>
            </a:extLst>
          </p:cNvPr>
          <p:cNvSpPr txBox="1"/>
          <p:nvPr/>
        </p:nvSpPr>
        <p:spPr>
          <a:xfrm>
            <a:off x="8948529" y="2645434"/>
            <a:ext cx="12298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100</a:t>
            </a:r>
            <a:r>
              <a:rPr kumimoji="0" lang="pt-BR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%</a:t>
            </a: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924" name="CaixaDeTexto 923">
            <a:extLst>
              <a:ext uri="{FF2B5EF4-FFF2-40B4-BE49-F238E27FC236}">
                <a16:creationId xmlns:a16="http://schemas.microsoft.com/office/drawing/2014/main" id="{A61CCFCB-D00D-9ADC-B6A1-AA567111ED4A}"/>
              </a:ext>
            </a:extLst>
          </p:cNvPr>
          <p:cNvSpPr txBox="1"/>
          <p:nvPr/>
        </p:nvSpPr>
        <p:spPr>
          <a:xfrm>
            <a:off x="8980920" y="3168655"/>
            <a:ext cx="14814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"/>
                <a:ea typeface="+mn-ea"/>
                <a:cs typeface="+mn-cs"/>
              </a:rPr>
              <a:t>geração renovável</a:t>
            </a:r>
          </a:p>
        </p:txBody>
      </p:sp>
      <p:sp>
        <p:nvSpPr>
          <p:cNvPr id="927" name="CaixaDeTexto 926">
            <a:extLst>
              <a:ext uri="{FF2B5EF4-FFF2-40B4-BE49-F238E27FC236}">
                <a16:creationId xmlns:a16="http://schemas.microsoft.com/office/drawing/2014/main" id="{A9EB2D75-A80A-8F8D-CF8F-724DE7BC59E3}"/>
              </a:ext>
            </a:extLst>
          </p:cNvPr>
          <p:cNvSpPr txBox="1"/>
          <p:nvPr/>
        </p:nvSpPr>
        <p:spPr>
          <a:xfrm>
            <a:off x="8956360" y="3531582"/>
            <a:ext cx="12298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100</a:t>
            </a:r>
            <a:r>
              <a:rPr kumimoji="0" lang="pt-BR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 Book"/>
                <a:ea typeface="+mn-ea"/>
                <a:cs typeface="+mn-cs"/>
              </a:rPr>
              <a:t>%</a:t>
            </a:r>
            <a:endParaRPr kumimoji="0" lang="pt-BR" sz="2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T Base Book"/>
              <a:ea typeface="+mn-ea"/>
              <a:cs typeface="+mn-cs"/>
            </a:endParaRPr>
          </a:p>
        </p:txBody>
      </p:sp>
      <p:sp>
        <p:nvSpPr>
          <p:cNvPr id="928" name="CaixaDeTexto 927">
            <a:extLst>
              <a:ext uri="{FF2B5EF4-FFF2-40B4-BE49-F238E27FC236}">
                <a16:creationId xmlns:a16="http://schemas.microsoft.com/office/drawing/2014/main" id="{7798D695-B38C-5C93-BA5B-09A793341FC7}"/>
              </a:ext>
            </a:extLst>
          </p:cNvPr>
          <p:cNvSpPr txBox="1"/>
          <p:nvPr/>
        </p:nvSpPr>
        <p:spPr>
          <a:xfrm>
            <a:off x="8991926" y="4072851"/>
            <a:ext cx="21900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T Base"/>
                <a:ea typeface="+mn-ea"/>
                <a:cs typeface="+mn-cs"/>
              </a:rPr>
              <a:t>transição energética EBITDA</a:t>
            </a:r>
          </a:p>
        </p:txBody>
      </p:sp>
      <p:pic>
        <p:nvPicPr>
          <p:cNvPr id="931" name="Imagem 930">
            <a:extLst>
              <a:ext uri="{FF2B5EF4-FFF2-40B4-BE49-F238E27FC236}">
                <a16:creationId xmlns:a16="http://schemas.microsoft.com/office/drawing/2014/main" id="{554F4CAE-02F8-6860-D777-A054838FACB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390" t="60121" r="56973" b="17160"/>
          <a:stretch/>
        </p:blipFill>
        <p:spPr>
          <a:xfrm>
            <a:off x="3715836" y="4375092"/>
            <a:ext cx="1540602" cy="1556888"/>
          </a:xfrm>
          <a:prstGeom prst="ellipse">
            <a:avLst/>
          </a:prstGeom>
          <a:ln>
            <a:noFill/>
          </a:ln>
        </p:spPr>
      </p:pic>
      <p:sp>
        <p:nvSpPr>
          <p:cNvPr id="932" name="CaixaDeTexto 931">
            <a:extLst>
              <a:ext uri="{FF2B5EF4-FFF2-40B4-BE49-F238E27FC236}">
                <a16:creationId xmlns:a16="http://schemas.microsoft.com/office/drawing/2014/main" id="{60F7D7D2-E430-0544-3925-E16834075C60}"/>
              </a:ext>
            </a:extLst>
          </p:cNvPr>
          <p:cNvSpPr txBox="1"/>
          <p:nvPr/>
        </p:nvSpPr>
        <p:spPr>
          <a:xfrm>
            <a:off x="3793265" y="4106407"/>
            <a:ext cx="6117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"/>
                <a:ea typeface="+mn-ea"/>
                <a:cs typeface="+mn-cs"/>
              </a:rPr>
              <a:t>Outros</a:t>
            </a:r>
          </a:p>
        </p:txBody>
      </p:sp>
      <p:sp>
        <p:nvSpPr>
          <p:cNvPr id="933" name="CaixaDeTexto 932">
            <a:extLst>
              <a:ext uri="{FF2B5EF4-FFF2-40B4-BE49-F238E27FC236}">
                <a16:creationId xmlns:a16="http://schemas.microsoft.com/office/drawing/2014/main" id="{7BCB6152-5554-6621-4817-86FFD1CB21DA}"/>
              </a:ext>
            </a:extLst>
          </p:cNvPr>
          <p:cNvSpPr txBox="1"/>
          <p:nvPr/>
        </p:nvSpPr>
        <p:spPr>
          <a:xfrm>
            <a:off x="2574184" y="4533172"/>
            <a:ext cx="12942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"/>
                <a:ea typeface="+mn-ea"/>
                <a:cs typeface="+mn-cs"/>
              </a:rPr>
              <a:t>América do Norte</a:t>
            </a:r>
          </a:p>
        </p:txBody>
      </p:sp>
      <p:sp>
        <p:nvSpPr>
          <p:cNvPr id="934" name="CaixaDeTexto 933">
            <a:extLst>
              <a:ext uri="{FF2B5EF4-FFF2-40B4-BE49-F238E27FC236}">
                <a16:creationId xmlns:a16="http://schemas.microsoft.com/office/drawing/2014/main" id="{52C4D44D-B351-FBAB-36E1-A3A9C7908032}"/>
              </a:ext>
            </a:extLst>
          </p:cNvPr>
          <p:cNvSpPr txBox="1"/>
          <p:nvPr/>
        </p:nvSpPr>
        <p:spPr>
          <a:xfrm>
            <a:off x="3274671" y="5449720"/>
            <a:ext cx="5229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"/>
                <a:ea typeface="+mn-ea"/>
                <a:cs typeface="+mn-cs"/>
              </a:rPr>
              <a:t>Brasil</a:t>
            </a:r>
          </a:p>
        </p:txBody>
      </p:sp>
      <p:sp>
        <p:nvSpPr>
          <p:cNvPr id="935" name="CaixaDeTexto 934">
            <a:extLst>
              <a:ext uri="{FF2B5EF4-FFF2-40B4-BE49-F238E27FC236}">
                <a16:creationId xmlns:a16="http://schemas.microsoft.com/office/drawing/2014/main" id="{1C74D30D-3765-4122-4161-CAD011FB3BA0}"/>
              </a:ext>
            </a:extLst>
          </p:cNvPr>
          <p:cNvSpPr txBox="1"/>
          <p:nvPr/>
        </p:nvSpPr>
        <p:spPr>
          <a:xfrm>
            <a:off x="5286340" y="4895718"/>
            <a:ext cx="8195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"/>
                <a:ea typeface="+mn-ea"/>
                <a:cs typeface="+mn-cs"/>
              </a:rPr>
              <a:t>Penínsu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T Base"/>
                <a:ea typeface="+mn-ea"/>
                <a:cs typeface="+mn-cs"/>
              </a:rPr>
              <a:t>Ibérica</a:t>
            </a:r>
          </a:p>
        </p:txBody>
      </p:sp>
      <p:pic>
        <p:nvPicPr>
          <p:cNvPr id="3" name="Picture 28" descr="Logo&#10;&#10;Description automatically generated">
            <a:extLst>
              <a:ext uri="{FF2B5EF4-FFF2-40B4-BE49-F238E27FC236}">
                <a16:creationId xmlns:a16="http://schemas.microsoft.com/office/drawing/2014/main" id="{F1050903-76FF-F750-FDE9-7BC0D74AC8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70093" y="176458"/>
            <a:ext cx="936107" cy="349168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1CEBC4B0-FFC0-873F-B895-07DAEEB311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4878" y="4452297"/>
            <a:ext cx="5107501" cy="1462134"/>
          </a:xfrm>
          <a:prstGeom prst="rect">
            <a:avLst/>
          </a:prstGeom>
        </p:spPr>
      </p:pic>
      <p:pic>
        <p:nvPicPr>
          <p:cNvPr id="30" name="Imagem 29">
            <a:extLst>
              <a:ext uri="{FF2B5EF4-FFF2-40B4-BE49-F238E27FC236}">
                <a16:creationId xmlns:a16="http://schemas.microsoft.com/office/drawing/2014/main" id="{B0A2E49D-B14D-6765-0E3E-779FFC50F9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9479" y="5838281"/>
            <a:ext cx="5072900" cy="857164"/>
          </a:xfrm>
          <a:prstGeom prst="rect">
            <a:avLst/>
          </a:prstGeom>
        </p:spPr>
      </p:pic>
      <p:sp>
        <p:nvSpPr>
          <p:cNvPr id="31" name="CaixaDeTexto 30">
            <a:extLst>
              <a:ext uri="{FF2B5EF4-FFF2-40B4-BE49-F238E27FC236}">
                <a16:creationId xmlns:a16="http://schemas.microsoft.com/office/drawing/2014/main" id="{98933A54-40A8-6928-9234-A16B581028E3}"/>
              </a:ext>
            </a:extLst>
          </p:cNvPr>
          <p:cNvSpPr txBox="1"/>
          <p:nvPr/>
        </p:nvSpPr>
        <p:spPr>
          <a:xfrm>
            <a:off x="0" y="6431187"/>
            <a:ext cx="63950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FT Base Book" pitchFamily="2" charset="0"/>
              </a:rPr>
              <a:t>* Considerando 3% de emissões residuais que poderiam ser compensadas por não haver forma de mitiga-las </a:t>
            </a:r>
          </a:p>
        </p:txBody>
      </p:sp>
    </p:spTree>
    <p:extLst>
      <p:ext uri="{BB962C8B-B14F-4D97-AF65-F5344CB8AC3E}">
        <p14:creationId xmlns:p14="http://schemas.microsoft.com/office/powerpoint/2010/main" val="287400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>
            <a:extLst>
              <a:ext uri="{FF2B5EF4-FFF2-40B4-BE49-F238E27FC236}">
                <a16:creationId xmlns:a16="http://schemas.microsoft.com/office/drawing/2014/main" id="{B9B972B7-6464-4CFD-8C7D-F6A0882B4545}"/>
              </a:ext>
            </a:extLst>
          </p:cNvPr>
          <p:cNvSpPr txBox="1">
            <a:spLocks/>
          </p:cNvSpPr>
          <p:nvPr/>
        </p:nvSpPr>
        <p:spPr>
          <a:xfrm>
            <a:off x="542203" y="200630"/>
            <a:ext cx="10956324" cy="482955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ctr" defTabSz="91442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Mulish Regular Roman" pitchFamily="2" charset="77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28FF52"/>
                </a:solidFill>
                <a:effectLst/>
                <a:uLnTx/>
                <a:uFillTx/>
                <a:latin typeface="+mn-lt"/>
                <a:ea typeface="Roboto"/>
                <a:cs typeface="Arial"/>
              </a:rPr>
              <a:t>Desafios do </a:t>
            </a:r>
            <a:r>
              <a:rPr lang="pt-BR" b="1" dirty="0">
                <a:solidFill>
                  <a:srgbClr val="28FF52"/>
                </a:solidFill>
                <a:latin typeface="+mn-lt"/>
                <a:ea typeface="Roboto"/>
                <a:cs typeface="Arial"/>
              </a:rPr>
              <a:t>setor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28FF52"/>
                </a:solidFill>
                <a:effectLst/>
                <a:uLnTx/>
                <a:uFillTx/>
                <a:latin typeface="+mn-lt"/>
                <a:ea typeface="Roboto"/>
                <a:cs typeface="Arial"/>
              </a:rPr>
              <a:t> </a:t>
            </a:r>
            <a:r>
              <a:rPr lang="pt-BR" b="1" dirty="0">
                <a:solidFill>
                  <a:srgbClr val="28FF52"/>
                </a:solidFill>
                <a:latin typeface="+mn-lt"/>
                <a:ea typeface="Roboto"/>
                <a:cs typeface="Arial"/>
              </a:rPr>
              <a:t>elétrico</a:t>
            </a: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rgbClr val="28FF52"/>
              </a:solidFill>
              <a:effectLst/>
              <a:uLnTx/>
              <a:uFillTx/>
              <a:latin typeface="+mn-lt"/>
              <a:ea typeface="Roboto"/>
              <a:cs typeface="Arial"/>
            </a:endParaRPr>
          </a:p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Visão estratégica de futuro da EDP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593E5297-3AF6-421C-879C-07A5956F0BEC}"/>
              </a:ext>
            </a:extLst>
          </p:cNvPr>
          <p:cNvSpPr/>
          <p:nvPr/>
        </p:nvSpPr>
        <p:spPr>
          <a:xfrm rot="10800000">
            <a:off x="942974" y="4791074"/>
            <a:ext cx="10436225" cy="1638300"/>
          </a:xfrm>
          <a:custGeom>
            <a:avLst/>
            <a:gdLst>
              <a:gd name="connsiteX0" fmla="*/ 0 w 10436225"/>
              <a:gd name="connsiteY0" fmla="*/ 0 h 1266825"/>
              <a:gd name="connsiteX1" fmla="*/ 10436225 w 10436225"/>
              <a:gd name="connsiteY1" fmla="*/ 0 h 1266825"/>
              <a:gd name="connsiteX2" fmla="*/ 10436225 w 10436225"/>
              <a:gd name="connsiteY2" fmla="*/ 1266825 h 1266825"/>
              <a:gd name="connsiteX3" fmla="*/ 0 w 10436225"/>
              <a:gd name="connsiteY3" fmla="*/ 1266825 h 1266825"/>
              <a:gd name="connsiteX4" fmla="*/ 0 w 10436225"/>
              <a:gd name="connsiteY4" fmla="*/ 0 h 1266825"/>
              <a:gd name="connsiteX0" fmla="*/ 0 w 10436225"/>
              <a:gd name="connsiteY0" fmla="*/ 0 h 1266825"/>
              <a:gd name="connsiteX1" fmla="*/ 10436225 w 10436225"/>
              <a:gd name="connsiteY1" fmla="*/ 0 h 1266825"/>
              <a:gd name="connsiteX2" fmla="*/ 10436225 w 10436225"/>
              <a:gd name="connsiteY2" fmla="*/ 1266825 h 1266825"/>
              <a:gd name="connsiteX3" fmla="*/ 10248900 w 10436225"/>
              <a:gd name="connsiteY3" fmla="*/ 1257300 h 1266825"/>
              <a:gd name="connsiteX4" fmla="*/ 0 w 10436225"/>
              <a:gd name="connsiteY4" fmla="*/ 1266825 h 1266825"/>
              <a:gd name="connsiteX5" fmla="*/ 0 w 10436225"/>
              <a:gd name="connsiteY5" fmla="*/ 0 h 1266825"/>
              <a:gd name="connsiteX0" fmla="*/ 0 w 10436225"/>
              <a:gd name="connsiteY0" fmla="*/ 0 h 1266825"/>
              <a:gd name="connsiteX1" fmla="*/ 10436225 w 10436225"/>
              <a:gd name="connsiteY1" fmla="*/ 0 h 1266825"/>
              <a:gd name="connsiteX2" fmla="*/ 10436225 w 10436225"/>
              <a:gd name="connsiteY2" fmla="*/ 1266825 h 1266825"/>
              <a:gd name="connsiteX3" fmla="*/ 10248900 w 10436225"/>
              <a:gd name="connsiteY3" fmla="*/ 1257300 h 1266825"/>
              <a:gd name="connsiteX4" fmla="*/ 10058400 w 10436225"/>
              <a:gd name="connsiteY4" fmla="*/ 1266825 h 1266825"/>
              <a:gd name="connsiteX5" fmla="*/ 0 w 10436225"/>
              <a:gd name="connsiteY5" fmla="*/ 1266825 h 1266825"/>
              <a:gd name="connsiteX6" fmla="*/ 0 w 10436225"/>
              <a:gd name="connsiteY6" fmla="*/ 0 h 1266825"/>
              <a:gd name="connsiteX0" fmla="*/ 10248900 w 10436225"/>
              <a:gd name="connsiteY0" fmla="*/ 1257300 h 1348740"/>
              <a:gd name="connsiteX1" fmla="*/ 10058400 w 10436225"/>
              <a:gd name="connsiteY1" fmla="*/ 1266825 h 1348740"/>
              <a:gd name="connsiteX2" fmla="*/ 0 w 10436225"/>
              <a:gd name="connsiteY2" fmla="*/ 1266825 h 1348740"/>
              <a:gd name="connsiteX3" fmla="*/ 0 w 10436225"/>
              <a:gd name="connsiteY3" fmla="*/ 0 h 1348740"/>
              <a:gd name="connsiteX4" fmla="*/ 10436225 w 10436225"/>
              <a:gd name="connsiteY4" fmla="*/ 0 h 1348740"/>
              <a:gd name="connsiteX5" fmla="*/ 10436225 w 10436225"/>
              <a:gd name="connsiteY5" fmla="*/ 1266825 h 1348740"/>
              <a:gd name="connsiteX6" fmla="*/ 10340340 w 10436225"/>
              <a:gd name="connsiteY6" fmla="*/ 1348740 h 1348740"/>
              <a:gd name="connsiteX0" fmla="*/ 10248900 w 10436225"/>
              <a:gd name="connsiteY0" fmla="*/ 1257300 h 1266825"/>
              <a:gd name="connsiteX1" fmla="*/ 10058400 w 10436225"/>
              <a:gd name="connsiteY1" fmla="*/ 1266825 h 1266825"/>
              <a:gd name="connsiteX2" fmla="*/ 0 w 10436225"/>
              <a:gd name="connsiteY2" fmla="*/ 1266825 h 1266825"/>
              <a:gd name="connsiteX3" fmla="*/ 0 w 10436225"/>
              <a:gd name="connsiteY3" fmla="*/ 0 h 1266825"/>
              <a:gd name="connsiteX4" fmla="*/ 10436225 w 10436225"/>
              <a:gd name="connsiteY4" fmla="*/ 0 h 1266825"/>
              <a:gd name="connsiteX5" fmla="*/ 10436225 w 10436225"/>
              <a:gd name="connsiteY5" fmla="*/ 1266825 h 1266825"/>
              <a:gd name="connsiteX0" fmla="*/ 10058400 w 10436225"/>
              <a:gd name="connsiteY0" fmla="*/ 1266825 h 1266825"/>
              <a:gd name="connsiteX1" fmla="*/ 0 w 10436225"/>
              <a:gd name="connsiteY1" fmla="*/ 1266825 h 1266825"/>
              <a:gd name="connsiteX2" fmla="*/ 0 w 10436225"/>
              <a:gd name="connsiteY2" fmla="*/ 0 h 1266825"/>
              <a:gd name="connsiteX3" fmla="*/ 10436225 w 10436225"/>
              <a:gd name="connsiteY3" fmla="*/ 0 h 1266825"/>
              <a:gd name="connsiteX4" fmla="*/ 10436225 w 10436225"/>
              <a:gd name="connsiteY4" fmla="*/ 1266825 h 1266825"/>
              <a:gd name="connsiteX0" fmla="*/ 0 w 10436225"/>
              <a:gd name="connsiteY0" fmla="*/ 1266825 h 1266825"/>
              <a:gd name="connsiteX1" fmla="*/ 0 w 10436225"/>
              <a:gd name="connsiteY1" fmla="*/ 0 h 1266825"/>
              <a:gd name="connsiteX2" fmla="*/ 10436225 w 10436225"/>
              <a:gd name="connsiteY2" fmla="*/ 0 h 1266825"/>
              <a:gd name="connsiteX3" fmla="*/ 10436225 w 10436225"/>
              <a:gd name="connsiteY3" fmla="*/ 1266825 h 1266825"/>
              <a:gd name="connsiteX0" fmla="*/ 0 w 10436225"/>
              <a:gd name="connsiteY0" fmla="*/ 0 h 1266825"/>
              <a:gd name="connsiteX1" fmla="*/ 10436225 w 10436225"/>
              <a:gd name="connsiteY1" fmla="*/ 0 h 1266825"/>
              <a:gd name="connsiteX2" fmla="*/ 10436225 w 10436225"/>
              <a:gd name="connsiteY2" fmla="*/ 1266825 h 1266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36225" h="1266825">
                <a:moveTo>
                  <a:pt x="0" y="0"/>
                </a:moveTo>
                <a:lnTo>
                  <a:pt x="10436225" y="0"/>
                </a:lnTo>
                <a:lnTo>
                  <a:pt x="10436225" y="1266825"/>
                </a:lnTo>
              </a:path>
            </a:pathLst>
          </a:cu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Retângulo 5">
            <a:extLst>
              <a:ext uri="{FF2B5EF4-FFF2-40B4-BE49-F238E27FC236}">
                <a16:creationId xmlns:a16="http://schemas.microsoft.com/office/drawing/2014/main" id="{371B5F14-51A7-4622-B2B8-572DC1651F4A}"/>
              </a:ext>
            </a:extLst>
          </p:cNvPr>
          <p:cNvSpPr/>
          <p:nvPr/>
        </p:nvSpPr>
        <p:spPr>
          <a:xfrm>
            <a:off x="11139593" y="2066925"/>
            <a:ext cx="1052407" cy="2548649"/>
          </a:xfrm>
          <a:custGeom>
            <a:avLst/>
            <a:gdLst>
              <a:gd name="connsiteX0" fmla="*/ 0 w 3661829"/>
              <a:gd name="connsiteY0" fmla="*/ 0 h 1088504"/>
              <a:gd name="connsiteX1" fmla="*/ 3661829 w 3661829"/>
              <a:gd name="connsiteY1" fmla="*/ 0 h 1088504"/>
              <a:gd name="connsiteX2" fmla="*/ 3661829 w 3661829"/>
              <a:gd name="connsiteY2" fmla="*/ 1088504 h 1088504"/>
              <a:gd name="connsiteX3" fmla="*/ 0 w 3661829"/>
              <a:gd name="connsiteY3" fmla="*/ 1088504 h 1088504"/>
              <a:gd name="connsiteX4" fmla="*/ 0 w 3661829"/>
              <a:gd name="connsiteY4" fmla="*/ 0 h 1088504"/>
              <a:gd name="connsiteX0" fmla="*/ 3661829 w 3753269"/>
              <a:gd name="connsiteY0" fmla="*/ 0 h 1088504"/>
              <a:gd name="connsiteX1" fmla="*/ 3661829 w 3753269"/>
              <a:gd name="connsiteY1" fmla="*/ 1088504 h 1088504"/>
              <a:gd name="connsiteX2" fmla="*/ 0 w 3753269"/>
              <a:gd name="connsiteY2" fmla="*/ 1088504 h 1088504"/>
              <a:gd name="connsiteX3" fmla="*/ 0 w 3753269"/>
              <a:gd name="connsiteY3" fmla="*/ 0 h 1088504"/>
              <a:gd name="connsiteX4" fmla="*/ 3753269 w 3753269"/>
              <a:gd name="connsiteY4" fmla="*/ 91440 h 1088504"/>
              <a:gd name="connsiteX0" fmla="*/ 3661829 w 3661829"/>
              <a:gd name="connsiteY0" fmla="*/ 0 h 1088504"/>
              <a:gd name="connsiteX1" fmla="*/ 3661829 w 3661829"/>
              <a:gd name="connsiteY1" fmla="*/ 1088504 h 1088504"/>
              <a:gd name="connsiteX2" fmla="*/ 0 w 3661829"/>
              <a:gd name="connsiteY2" fmla="*/ 1088504 h 1088504"/>
              <a:gd name="connsiteX3" fmla="*/ 0 w 3661829"/>
              <a:gd name="connsiteY3" fmla="*/ 0 h 1088504"/>
              <a:gd name="connsiteX0" fmla="*/ 3661829 w 3661829"/>
              <a:gd name="connsiteY0" fmla="*/ 1088504 h 1088504"/>
              <a:gd name="connsiteX1" fmla="*/ 0 w 3661829"/>
              <a:gd name="connsiteY1" fmla="*/ 1088504 h 1088504"/>
              <a:gd name="connsiteX2" fmla="*/ 0 w 3661829"/>
              <a:gd name="connsiteY2" fmla="*/ 0 h 1088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1829" h="1088504">
                <a:moveTo>
                  <a:pt x="3661829" y="1088504"/>
                </a:moveTo>
                <a:lnTo>
                  <a:pt x="0" y="1088504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/>
              <a:ea typeface="+mn-ea"/>
              <a:cs typeface="+mn-cs"/>
            </a:endParaRPr>
          </a:p>
        </p:txBody>
      </p:sp>
      <p:sp>
        <p:nvSpPr>
          <p:cNvPr id="8" name="Retângulo 5">
            <a:extLst>
              <a:ext uri="{FF2B5EF4-FFF2-40B4-BE49-F238E27FC236}">
                <a16:creationId xmlns:a16="http://schemas.microsoft.com/office/drawing/2014/main" id="{6EFB56F9-1B79-439D-BA3A-729E1FC3B081}"/>
              </a:ext>
            </a:extLst>
          </p:cNvPr>
          <p:cNvSpPr/>
          <p:nvPr/>
        </p:nvSpPr>
        <p:spPr>
          <a:xfrm flipV="1">
            <a:off x="804862" y="4791072"/>
            <a:ext cx="138112" cy="1052591"/>
          </a:xfrm>
          <a:custGeom>
            <a:avLst/>
            <a:gdLst>
              <a:gd name="connsiteX0" fmla="*/ 0 w 3661829"/>
              <a:gd name="connsiteY0" fmla="*/ 0 h 1088504"/>
              <a:gd name="connsiteX1" fmla="*/ 3661829 w 3661829"/>
              <a:gd name="connsiteY1" fmla="*/ 0 h 1088504"/>
              <a:gd name="connsiteX2" fmla="*/ 3661829 w 3661829"/>
              <a:gd name="connsiteY2" fmla="*/ 1088504 h 1088504"/>
              <a:gd name="connsiteX3" fmla="*/ 0 w 3661829"/>
              <a:gd name="connsiteY3" fmla="*/ 1088504 h 1088504"/>
              <a:gd name="connsiteX4" fmla="*/ 0 w 3661829"/>
              <a:gd name="connsiteY4" fmla="*/ 0 h 1088504"/>
              <a:gd name="connsiteX0" fmla="*/ 3661829 w 3753269"/>
              <a:gd name="connsiteY0" fmla="*/ 0 h 1088504"/>
              <a:gd name="connsiteX1" fmla="*/ 3661829 w 3753269"/>
              <a:gd name="connsiteY1" fmla="*/ 1088504 h 1088504"/>
              <a:gd name="connsiteX2" fmla="*/ 0 w 3753269"/>
              <a:gd name="connsiteY2" fmla="*/ 1088504 h 1088504"/>
              <a:gd name="connsiteX3" fmla="*/ 0 w 3753269"/>
              <a:gd name="connsiteY3" fmla="*/ 0 h 1088504"/>
              <a:gd name="connsiteX4" fmla="*/ 3753269 w 3753269"/>
              <a:gd name="connsiteY4" fmla="*/ 91440 h 1088504"/>
              <a:gd name="connsiteX0" fmla="*/ 3661829 w 3661829"/>
              <a:gd name="connsiteY0" fmla="*/ 0 h 1088504"/>
              <a:gd name="connsiteX1" fmla="*/ 3661829 w 3661829"/>
              <a:gd name="connsiteY1" fmla="*/ 1088504 h 1088504"/>
              <a:gd name="connsiteX2" fmla="*/ 0 w 3661829"/>
              <a:gd name="connsiteY2" fmla="*/ 1088504 h 1088504"/>
              <a:gd name="connsiteX3" fmla="*/ 0 w 3661829"/>
              <a:gd name="connsiteY3" fmla="*/ 0 h 1088504"/>
              <a:gd name="connsiteX0" fmla="*/ 3661829 w 3661829"/>
              <a:gd name="connsiteY0" fmla="*/ 1088504 h 1088504"/>
              <a:gd name="connsiteX1" fmla="*/ 0 w 3661829"/>
              <a:gd name="connsiteY1" fmla="*/ 1088504 h 1088504"/>
              <a:gd name="connsiteX2" fmla="*/ 0 w 3661829"/>
              <a:gd name="connsiteY2" fmla="*/ 0 h 1088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1829" h="1088504">
                <a:moveTo>
                  <a:pt x="3661829" y="1088504"/>
                </a:moveTo>
                <a:lnTo>
                  <a:pt x="0" y="1088504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Retângulo 5">
            <a:extLst>
              <a:ext uri="{FF2B5EF4-FFF2-40B4-BE49-F238E27FC236}">
                <a16:creationId xmlns:a16="http://schemas.microsoft.com/office/drawing/2014/main" id="{8C1D8678-CAB6-4669-982F-993FB363F713}"/>
              </a:ext>
            </a:extLst>
          </p:cNvPr>
          <p:cNvSpPr/>
          <p:nvPr/>
        </p:nvSpPr>
        <p:spPr>
          <a:xfrm rot="16200000">
            <a:off x="6111054" y="2954890"/>
            <a:ext cx="253929" cy="3177280"/>
          </a:xfrm>
          <a:custGeom>
            <a:avLst/>
            <a:gdLst>
              <a:gd name="connsiteX0" fmla="*/ 0 w 3661829"/>
              <a:gd name="connsiteY0" fmla="*/ 0 h 1088504"/>
              <a:gd name="connsiteX1" fmla="*/ 3661829 w 3661829"/>
              <a:gd name="connsiteY1" fmla="*/ 0 h 1088504"/>
              <a:gd name="connsiteX2" fmla="*/ 3661829 w 3661829"/>
              <a:gd name="connsiteY2" fmla="*/ 1088504 h 1088504"/>
              <a:gd name="connsiteX3" fmla="*/ 0 w 3661829"/>
              <a:gd name="connsiteY3" fmla="*/ 1088504 h 1088504"/>
              <a:gd name="connsiteX4" fmla="*/ 0 w 3661829"/>
              <a:gd name="connsiteY4" fmla="*/ 0 h 1088504"/>
              <a:gd name="connsiteX0" fmla="*/ 3661829 w 3753269"/>
              <a:gd name="connsiteY0" fmla="*/ 0 h 1088504"/>
              <a:gd name="connsiteX1" fmla="*/ 3661829 w 3753269"/>
              <a:gd name="connsiteY1" fmla="*/ 1088504 h 1088504"/>
              <a:gd name="connsiteX2" fmla="*/ 0 w 3753269"/>
              <a:gd name="connsiteY2" fmla="*/ 1088504 h 1088504"/>
              <a:gd name="connsiteX3" fmla="*/ 0 w 3753269"/>
              <a:gd name="connsiteY3" fmla="*/ 0 h 1088504"/>
              <a:gd name="connsiteX4" fmla="*/ 3753269 w 3753269"/>
              <a:gd name="connsiteY4" fmla="*/ 91440 h 1088504"/>
              <a:gd name="connsiteX0" fmla="*/ 3661829 w 3661829"/>
              <a:gd name="connsiteY0" fmla="*/ 0 h 1088504"/>
              <a:gd name="connsiteX1" fmla="*/ 3661829 w 3661829"/>
              <a:gd name="connsiteY1" fmla="*/ 1088504 h 1088504"/>
              <a:gd name="connsiteX2" fmla="*/ 0 w 3661829"/>
              <a:gd name="connsiteY2" fmla="*/ 1088504 h 1088504"/>
              <a:gd name="connsiteX3" fmla="*/ 0 w 3661829"/>
              <a:gd name="connsiteY3" fmla="*/ 0 h 1088504"/>
              <a:gd name="connsiteX0" fmla="*/ 3661829 w 3661829"/>
              <a:gd name="connsiteY0" fmla="*/ 1088504 h 1088504"/>
              <a:gd name="connsiteX1" fmla="*/ 0 w 3661829"/>
              <a:gd name="connsiteY1" fmla="*/ 1088504 h 1088504"/>
              <a:gd name="connsiteX2" fmla="*/ 0 w 3661829"/>
              <a:gd name="connsiteY2" fmla="*/ 0 h 1088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1829" h="1088504">
                <a:moveTo>
                  <a:pt x="3661829" y="1088504"/>
                </a:moveTo>
                <a:lnTo>
                  <a:pt x="0" y="1088504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Retângulo 5">
            <a:extLst>
              <a:ext uri="{FF2B5EF4-FFF2-40B4-BE49-F238E27FC236}">
                <a16:creationId xmlns:a16="http://schemas.microsoft.com/office/drawing/2014/main" id="{513B53B7-CABF-4BD4-AB14-A9128A651063}"/>
              </a:ext>
            </a:extLst>
          </p:cNvPr>
          <p:cNvSpPr/>
          <p:nvPr/>
        </p:nvSpPr>
        <p:spPr>
          <a:xfrm rot="16200000" flipV="1">
            <a:off x="3121501" y="2854662"/>
            <a:ext cx="3257048" cy="374616"/>
          </a:xfrm>
          <a:custGeom>
            <a:avLst/>
            <a:gdLst>
              <a:gd name="connsiteX0" fmla="*/ 0 w 3661829"/>
              <a:gd name="connsiteY0" fmla="*/ 0 h 1088504"/>
              <a:gd name="connsiteX1" fmla="*/ 3661829 w 3661829"/>
              <a:gd name="connsiteY1" fmla="*/ 0 h 1088504"/>
              <a:gd name="connsiteX2" fmla="*/ 3661829 w 3661829"/>
              <a:gd name="connsiteY2" fmla="*/ 1088504 h 1088504"/>
              <a:gd name="connsiteX3" fmla="*/ 0 w 3661829"/>
              <a:gd name="connsiteY3" fmla="*/ 1088504 h 1088504"/>
              <a:gd name="connsiteX4" fmla="*/ 0 w 3661829"/>
              <a:gd name="connsiteY4" fmla="*/ 0 h 1088504"/>
              <a:gd name="connsiteX0" fmla="*/ 3661829 w 3753269"/>
              <a:gd name="connsiteY0" fmla="*/ 0 h 1088504"/>
              <a:gd name="connsiteX1" fmla="*/ 3661829 w 3753269"/>
              <a:gd name="connsiteY1" fmla="*/ 1088504 h 1088504"/>
              <a:gd name="connsiteX2" fmla="*/ 0 w 3753269"/>
              <a:gd name="connsiteY2" fmla="*/ 1088504 h 1088504"/>
              <a:gd name="connsiteX3" fmla="*/ 0 w 3753269"/>
              <a:gd name="connsiteY3" fmla="*/ 0 h 1088504"/>
              <a:gd name="connsiteX4" fmla="*/ 3753269 w 3753269"/>
              <a:gd name="connsiteY4" fmla="*/ 91440 h 1088504"/>
              <a:gd name="connsiteX0" fmla="*/ 3661829 w 3661829"/>
              <a:gd name="connsiteY0" fmla="*/ 0 h 1088504"/>
              <a:gd name="connsiteX1" fmla="*/ 3661829 w 3661829"/>
              <a:gd name="connsiteY1" fmla="*/ 1088504 h 1088504"/>
              <a:gd name="connsiteX2" fmla="*/ 0 w 3661829"/>
              <a:gd name="connsiteY2" fmla="*/ 1088504 h 1088504"/>
              <a:gd name="connsiteX3" fmla="*/ 0 w 3661829"/>
              <a:gd name="connsiteY3" fmla="*/ 0 h 1088504"/>
              <a:gd name="connsiteX0" fmla="*/ 3661829 w 3661829"/>
              <a:gd name="connsiteY0" fmla="*/ 1088504 h 1088504"/>
              <a:gd name="connsiteX1" fmla="*/ 0 w 3661829"/>
              <a:gd name="connsiteY1" fmla="*/ 1088504 h 1088504"/>
              <a:gd name="connsiteX2" fmla="*/ 0 w 3661829"/>
              <a:gd name="connsiteY2" fmla="*/ 0 h 1088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1829" h="1088504">
                <a:moveTo>
                  <a:pt x="3661829" y="1088504"/>
                </a:moveTo>
                <a:lnTo>
                  <a:pt x="0" y="1088504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Retângulo 5">
            <a:extLst>
              <a:ext uri="{FF2B5EF4-FFF2-40B4-BE49-F238E27FC236}">
                <a16:creationId xmlns:a16="http://schemas.microsoft.com/office/drawing/2014/main" id="{52F55B25-C112-4803-AFB5-79FA34E8DFD3}"/>
              </a:ext>
            </a:extLst>
          </p:cNvPr>
          <p:cNvSpPr/>
          <p:nvPr/>
        </p:nvSpPr>
        <p:spPr>
          <a:xfrm flipH="1">
            <a:off x="-1" y="5843664"/>
            <a:ext cx="804863" cy="523220"/>
          </a:xfrm>
          <a:custGeom>
            <a:avLst/>
            <a:gdLst>
              <a:gd name="connsiteX0" fmla="*/ 0 w 3661829"/>
              <a:gd name="connsiteY0" fmla="*/ 0 h 1088504"/>
              <a:gd name="connsiteX1" fmla="*/ 3661829 w 3661829"/>
              <a:gd name="connsiteY1" fmla="*/ 0 h 1088504"/>
              <a:gd name="connsiteX2" fmla="*/ 3661829 w 3661829"/>
              <a:gd name="connsiteY2" fmla="*/ 1088504 h 1088504"/>
              <a:gd name="connsiteX3" fmla="*/ 0 w 3661829"/>
              <a:gd name="connsiteY3" fmla="*/ 1088504 h 1088504"/>
              <a:gd name="connsiteX4" fmla="*/ 0 w 3661829"/>
              <a:gd name="connsiteY4" fmla="*/ 0 h 1088504"/>
              <a:gd name="connsiteX0" fmla="*/ 3661829 w 3753269"/>
              <a:gd name="connsiteY0" fmla="*/ 0 h 1088504"/>
              <a:gd name="connsiteX1" fmla="*/ 3661829 w 3753269"/>
              <a:gd name="connsiteY1" fmla="*/ 1088504 h 1088504"/>
              <a:gd name="connsiteX2" fmla="*/ 0 w 3753269"/>
              <a:gd name="connsiteY2" fmla="*/ 1088504 h 1088504"/>
              <a:gd name="connsiteX3" fmla="*/ 0 w 3753269"/>
              <a:gd name="connsiteY3" fmla="*/ 0 h 1088504"/>
              <a:gd name="connsiteX4" fmla="*/ 3753269 w 3753269"/>
              <a:gd name="connsiteY4" fmla="*/ 91440 h 1088504"/>
              <a:gd name="connsiteX0" fmla="*/ 3661829 w 3661829"/>
              <a:gd name="connsiteY0" fmla="*/ 0 h 1088504"/>
              <a:gd name="connsiteX1" fmla="*/ 3661829 w 3661829"/>
              <a:gd name="connsiteY1" fmla="*/ 1088504 h 1088504"/>
              <a:gd name="connsiteX2" fmla="*/ 0 w 3661829"/>
              <a:gd name="connsiteY2" fmla="*/ 1088504 h 1088504"/>
              <a:gd name="connsiteX3" fmla="*/ 0 w 3661829"/>
              <a:gd name="connsiteY3" fmla="*/ 0 h 1088504"/>
              <a:gd name="connsiteX0" fmla="*/ 3661829 w 3661829"/>
              <a:gd name="connsiteY0" fmla="*/ 1088504 h 1088504"/>
              <a:gd name="connsiteX1" fmla="*/ 0 w 3661829"/>
              <a:gd name="connsiteY1" fmla="*/ 1088504 h 1088504"/>
              <a:gd name="connsiteX2" fmla="*/ 0 w 3661829"/>
              <a:gd name="connsiteY2" fmla="*/ 0 h 1088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1829" h="1088504">
                <a:moveTo>
                  <a:pt x="3661829" y="1088504"/>
                </a:moveTo>
                <a:lnTo>
                  <a:pt x="0" y="1088504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ulish"/>
              <a:ea typeface="+mn-ea"/>
              <a:cs typeface="+mn-cs"/>
            </a:endParaRPr>
          </a:p>
        </p:txBody>
      </p:sp>
      <p:sp>
        <p:nvSpPr>
          <p:cNvPr id="18" name="Retângulo 2">
            <a:extLst>
              <a:ext uri="{FF2B5EF4-FFF2-40B4-BE49-F238E27FC236}">
                <a16:creationId xmlns:a16="http://schemas.microsoft.com/office/drawing/2014/main" id="{7577949C-187D-4A48-A883-F39595D965D8}"/>
              </a:ext>
            </a:extLst>
          </p:cNvPr>
          <p:cNvSpPr/>
          <p:nvPr/>
        </p:nvSpPr>
        <p:spPr>
          <a:xfrm>
            <a:off x="1227892" y="4791072"/>
            <a:ext cx="10151307" cy="1620902"/>
          </a:xfrm>
          <a:custGeom>
            <a:avLst/>
            <a:gdLst>
              <a:gd name="connsiteX0" fmla="*/ 0 w 10436225"/>
              <a:gd name="connsiteY0" fmla="*/ 0 h 1266825"/>
              <a:gd name="connsiteX1" fmla="*/ 10436225 w 10436225"/>
              <a:gd name="connsiteY1" fmla="*/ 0 h 1266825"/>
              <a:gd name="connsiteX2" fmla="*/ 10436225 w 10436225"/>
              <a:gd name="connsiteY2" fmla="*/ 1266825 h 1266825"/>
              <a:gd name="connsiteX3" fmla="*/ 0 w 10436225"/>
              <a:gd name="connsiteY3" fmla="*/ 1266825 h 1266825"/>
              <a:gd name="connsiteX4" fmla="*/ 0 w 10436225"/>
              <a:gd name="connsiteY4" fmla="*/ 0 h 1266825"/>
              <a:gd name="connsiteX0" fmla="*/ 0 w 10436225"/>
              <a:gd name="connsiteY0" fmla="*/ 0 h 1266825"/>
              <a:gd name="connsiteX1" fmla="*/ 10436225 w 10436225"/>
              <a:gd name="connsiteY1" fmla="*/ 0 h 1266825"/>
              <a:gd name="connsiteX2" fmla="*/ 10436225 w 10436225"/>
              <a:gd name="connsiteY2" fmla="*/ 1266825 h 1266825"/>
              <a:gd name="connsiteX3" fmla="*/ 10248900 w 10436225"/>
              <a:gd name="connsiteY3" fmla="*/ 1257300 h 1266825"/>
              <a:gd name="connsiteX4" fmla="*/ 0 w 10436225"/>
              <a:gd name="connsiteY4" fmla="*/ 1266825 h 1266825"/>
              <a:gd name="connsiteX5" fmla="*/ 0 w 10436225"/>
              <a:gd name="connsiteY5" fmla="*/ 0 h 1266825"/>
              <a:gd name="connsiteX0" fmla="*/ 0 w 10436225"/>
              <a:gd name="connsiteY0" fmla="*/ 0 h 1266825"/>
              <a:gd name="connsiteX1" fmla="*/ 10436225 w 10436225"/>
              <a:gd name="connsiteY1" fmla="*/ 0 h 1266825"/>
              <a:gd name="connsiteX2" fmla="*/ 10436225 w 10436225"/>
              <a:gd name="connsiteY2" fmla="*/ 1266825 h 1266825"/>
              <a:gd name="connsiteX3" fmla="*/ 10248900 w 10436225"/>
              <a:gd name="connsiteY3" fmla="*/ 1257300 h 1266825"/>
              <a:gd name="connsiteX4" fmla="*/ 10058400 w 10436225"/>
              <a:gd name="connsiteY4" fmla="*/ 1266825 h 1266825"/>
              <a:gd name="connsiteX5" fmla="*/ 0 w 10436225"/>
              <a:gd name="connsiteY5" fmla="*/ 1266825 h 1266825"/>
              <a:gd name="connsiteX6" fmla="*/ 0 w 10436225"/>
              <a:gd name="connsiteY6" fmla="*/ 0 h 1266825"/>
              <a:gd name="connsiteX0" fmla="*/ 10248900 w 10436225"/>
              <a:gd name="connsiteY0" fmla="*/ 1257300 h 1348740"/>
              <a:gd name="connsiteX1" fmla="*/ 10058400 w 10436225"/>
              <a:gd name="connsiteY1" fmla="*/ 1266825 h 1348740"/>
              <a:gd name="connsiteX2" fmla="*/ 0 w 10436225"/>
              <a:gd name="connsiteY2" fmla="*/ 1266825 h 1348740"/>
              <a:gd name="connsiteX3" fmla="*/ 0 w 10436225"/>
              <a:gd name="connsiteY3" fmla="*/ 0 h 1348740"/>
              <a:gd name="connsiteX4" fmla="*/ 10436225 w 10436225"/>
              <a:gd name="connsiteY4" fmla="*/ 0 h 1348740"/>
              <a:gd name="connsiteX5" fmla="*/ 10436225 w 10436225"/>
              <a:gd name="connsiteY5" fmla="*/ 1266825 h 1348740"/>
              <a:gd name="connsiteX6" fmla="*/ 10340340 w 10436225"/>
              <a:gd name="connsiteY6" fmla="*/ 1348740 h 1348740"/>
              <a:gd name="connsiteX0" fmla="*/ 10248900 w 10436225"/>
              <a:gd name="connsiteY0" fmla="*/ 1257300 h 1266825"/>
              <a:gd name="connsiteX1" fmla="*/ 10058400 w 10436225"/>
              <a:gd name="connsiteY1" fmla="*/ 1266825 h 1266825"/>
              <a:gd name="connsiteX2" fmla="*/ 0 w 10436225"/>
              <a:gd name="connsiteY2" fmla="*/ 1266825 h 1266825"/>
              <a:gd name="connsiteX3" fmla="*/ 0 w 10436225"/>
              <a:gd name="connsiteY3" fmla="*/ 0 h 1266825"/>
              <a:gd name="connsiteX4" fmla="*/ 10436225 w 10436225"/>
              <a:gd name="connsiteY4" fmla="*/ 0 h 1266825"/>
              <a:gd name="connsiteX5" fmla="*/ 10436225 w 10436225"/>
              <a:gd name="connsiteY5" fmla="*/ 1266825 h 1266825"/>
              <a:gd name="connsiteX0" fmla="*/ 10058400 w 10436225"/>
              <a:gd name="connsiteY0" fmla="*/ 1266825 h 1266825"/>
              <a:gd name="connsiteX1" fmla="*/ 0 w 10436225"/>
              <a:gd name="connsiteY1" fmla="*/ 1266825 h 1266825"/>
              <a:gd name="connsiteX2" fmla="*/ 0 w 10436225"/>
              <a:gd name="connsiteY2" fmla="*/ 0 h 1266825"/>
              <a:gd name="connsiteX3" fmla="*/ 10436225 w 10436225"/>
              <a:gd name="connsiteY3" fmla="*/ 0 h 1266825"/>
              <a:gd name="connsiteX4" fmla="*/ 10436225 w 10436225"/>
              <a:gd name="connsiteY4" fmla="*/ 1266825 h 1266825"/>
              <a:gd name="connsiteX0" fmla="*/ 0 w 10436225"/>
              <a:gd name="connsiteY0" fmla="*/ 1266825 h 1266825"/>
              <a:gd name="connsiteX1" fmla="*/ 0 w 10436225"/>
              <a:gd name="connsiteY1" fmla="*/ 0 h 1266825"/>
              <a:gd name="connsiteX2" fmla="*/ 10436225 w 10436225"/>
              <a:gd name="connsiteY2" fmla="*/ 0 h 1266825"/>
              <a:gd name="connsiteX3" fmla="*/ 10436225 w 10436225"/>
              <a:gd name="connsiteY3" fmla="*/ 1266825 h 1266825"/>
              <a:gd name="connsiteX0" fmla="*/ 0 w 10436225"/>
              <a:gd name="connsiteY0" fmla="*/ 0 h 1266825"/>
              <a:gd name="connsiteX1" fmla="*/ 10436225 w 10436225"/>
              <a:gd name="connsiteY1" fmla="*/ 0 h 1266825"/>
              <a:gd name="connsiteX2" fmla="*/ 10436225 w 10436225"/>
              <a:gd name="connsiteY2" fmla="*/ 1266825 h 1266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36225" h="1266825">
                <a:moveTo>
                  <a:pt x="0" y="0"/>
                </a:moveTo>
                <a:lnTo>
                  <a:pt x="10436225" y="0"/>
                </a:lnTo>
                <a:lnTo>
                  <a:pt x="10436225" y="1266825"/>
                </a:lnTo>
              </a:path>
            </a:pathLst>
          </a:cu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52C69970-2740-4A90-A131-457CD6356A7C}"/>
              </a:ext>
            </a:extLst>
          </p:cNvPr>
          <p:cNvGrpSpPr/>
          <p:nvPr/>
        </p:nvGrpSpPr>
        <p:grpSpPr>
          <a:xfrm>
            <a:off x="2060156" y="4887566"/>
            <a:ext cx="8903952" cy="553997"/>
            <a:chOff x="1737894" y="2393324"/>
            <a:chExt cx="8903952" cy="553997"/>
          </a:xfrm>
        </p:grpSpPr>
        <p:sp>
          <p:nvSpPr>
            <p:cNvPr id="19" name="Retângulo 18">
              <a:extLst>
                <a:ext uri="{FF2B5EF4-FFF2-40B4-BE49-F238E27FC236}">
                  <a16:creationId xmlns:a16="http://schemas.microsoft.com/office/drawing/2014/main" id="{E00FAC00-DCA2-4520-A647-75898C7FFDE1}"/>
                </a:ext>
              </a:extLst>
            </p:cNvPr>
            <p:cNvSpPr/>
            <p:nvPr/>
          </p:nvSpPr>
          <p:spPr>
            <a:xfrm>
              <a:off x="3418798" y="2393324"/>
              <a:ext cx="7223048" cy="523220"/>
            </a:xfrm>
            <a:prstGeom prst="rect">
              <a:avLst/>
            </a:prstGeom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274B7A"/>
                </a:buClr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Investimentos com rentabilidade elevada com risco controlado | Estrutura de capital e política de dividendos atrativa | Crescimento dos </a:t>
              </a:r>
              <a:r>
                <a:rPr lang="pt-BR" sz="1400" dirty="0">
                  <a:solidFill>
                    <a:schemeClr val="bg1"/>
                  </a:solidFill>
                </a:rPr>
                <a:t>resultados </a:t>
              </a: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 | Gestão de custos eficiente</a:t>
              </a:r>
              <a:endPara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13336C77-6F32-4A46-A1D7-AA19EDCCD3E8}"/>
                </a:ext>
              </a:extLst>
            </p:cNvPr>
            <p:cNvSpPr txBox="1"/>
            <p:nvPr/>
          </p:nvSpPr>
          <p:spPr>
            <a:xfrm>
              <a:off x="1737894" y="2424101"/>
              <a:ext cx="1680904" cy="523220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DE4FB"/>
                  </a:solidFill>
                  <a:effectLst/>
                  <a:uLnTx/>
                  <a:uFillTx/>
                  <a:ea typeface="+mn-ea"/>
                  <a:cs typeface="Arial"/>
                </a:rPr>
                <a:t>Disciplina </a:t>
              </a:r>
              <a:r>
                <a:rPr lang="pt-BR" sz="1400" dirty="0">
                  <a:solidFill>
                    <a:srgbClr val="6DE4FB"/>
                  </a:solidFill>
                  <a:cs typeface="Arial"/>
                </a:rPr>
                <a:t>financeira</a:t>
              </a:r>
              <a:endPara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5F9ECA48-4EA2-48BF-BF02-BF040FBA0508}"/>
                </a:ext>
              </a:extLst>
            </p:cNvPr>
            <p:cNvCxnSpPr/>
            <p:nvPr/>
          </p:nvCxnSpPr>
          <p:spPr>
            <a:xfrm>
              <a:off x="3418798" y="2464163"/>
              <a:ext cx="0" cy="381541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0C45BF8E-BECF-49E3-A602-E5431328E2D6}"/>
              </a:ext>
            </a:extLst>
          </p:cNvPr>
          <p:cNvGrpSpPr/>
          <p:nvPr/>
        </p:nvGrpSpPr>
        <p:grpSpPr>
          <a:xfrm>
            <a:off x="2151020" y="5451561"/>
            <a:ext cx="7889955" cy="381541"/>
            <a:chOff x="1828758" y="2464163"/>
            <a:chExt cx="7889955" cy="381541"/>
          </a:xfrm>
        </p:grpSpPr>
        <p:sp>
          <p:nvSpPr>
            <p:cNvPr id="26" name="Retângulo 25">
              <a:extLst>
                <a:ext uri="{FF2B5EF4-FFF2-40B4-BE49-F238E27FC236}">
                  <a16:creationId xmlns:a16="http://schemas.microsoft.com/office/drawing/2014/main" id="{919D9F1C-4EDA-472C-86A8-5EE0CAD506F8}"/>
                </a:ext>
              </a:extLst>
            </p:cNvPr>
            <p:cNvSpPr/>
            <p:nvPr/>
          </p:nvSpPr>
          <p:spPr>
            <a:xfrm>
              <a:off x="3418798" y="2501045"/>
              <a:ext cx="6299915" cy="307777"/>
            </a:xfrm>
            <a:prstGeom prst="rect">
              <a:avLst/>
            </a:prstGeom>
          </p:spPr>
          <p:txBody>
            <a:bodyPr wrap="square" lIns="91440" tIns="45720" rIns="91440" bIns="45720" anchor="ctr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74B7A"/>
                </a:buClr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Compromisso e alinhamento da Gestão com </a:t>
              </a:r>
              <a:r>
                <a:rPr lang="pt-BR" sz="1400" dirty="0">
                  <a:solidFill>
                    <a:schemeClr val="bg1"/>
                  </a:solidFill>
                </a:rPr>
                <a:t>metas</a:t>
              </a: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 desafiadoras de ESG</a:t>
              </a:r>
            </a:p>
          </p:txBody>
        </p:sp>
        <p:sp>
          <p:nvSpPr>
            <p:cNvPr id="27" name="CaixaDeTexto 26">
              <a:extLst>
                <a:ext uri="{FF2B5EF4-FFF2-40B4-BE49-F238E27FC236}">
                  <a16:creationId xmlns:a16="http://schemas.microsoft.com/office/drawing/2014/main" id="{4053F449-A1B3-4D5E-8533-71A2E1EA3F23}"/>
                </a:ext>
              </a:extLst>
            </p:cNvPr>
            <p:cNvSpPr txBox="1"/>
            <p:nvPr/>
          </p:nvSpPr>
          <p:spPr>
            <a:xfrm>
              <a:off x="1828758" y="2516433"/>
              <a:ext cx="1590040" cy="307777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DE4FB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ESG</a:t>
              </a:r>
            </a:p>
          </p:txBody>
        </p:sp>
        <p:cxnSp>
          <p:nvCxnSpPr>
            <p:cNvPr id="28" name="Conector reto 27">
              <a:extLst>
                <a:ext uri="{FF2B5EF4-FFF2-40B4-BE49-F238E27FC236}">
                  <a16:creationId xmlns:a16="http://schemas.microsoft.com/office/drawing/2014/main" id="{E70DA750-B12C-4698-AE75-2EDDB34256B2}"/>
                </a:ext>
              </a:extLst>
            </p:cNvPr>
            <p:cNvCxnSpPr/>
            <p:nvPr/>
          </p:nvCxnSpPr>
          <p:spPr>
            <a:xfrm>
              <a:off x="3418798" y="2464163"/>
              <a:ext cx="0" cy="381541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F3A79DD6-DD52-46FD-ADCD-58DE6B88102D}"/>
              </a:ext>
            </a:extLst>
          </p:cNvPr>
          <p:cNvGrpSpPr/>
          <p:nvPr/>
        </p:nvGrpSpPr>
        <p:grpSpPr>
          <a:xfrm>
            <a:off x="1246399" y="5852129"/>
            <a:ext cx="9699202" cy="554775"/>
            <a:chOff x="924137" y="2393324"/>
            <a:chExt cx="9699202" cy="554775"/>
          </a:xfrm>
        </p:grpSpPr>
        <p:sp>
          <p:nvSpPr>
            <p:cNvPr id="30" name="Retângulo 29">
              <a:extLst>
                <a:ext uri="{FF2B5EF4-FFF2-40B4-BE49-F238E27FC236}">
                  <a16:creationId xmlns:a16="http://schemas.microsoft.com/office/drawing/2014/main" id="{C7D60D64-04FC-4C05-BB90-48A7AAC37631}"/>
                </a:ext>
              </a:extLst>
            </p:cNvPr>
            <p:cNvSpPr/>
            <p:nvPr/>
          </p:nvSpPr>
          <p:spPr>
            <a:xfrm>
              <a:off x="3418798" y="2393324"/>
              <a:ext cx="7204541" cy="52322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74B7A"/>
                </a:buClr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Organização ágil e eficiente, com pessoas engajadas, focada em inovação e transformação digital</a:t>
              </a:r>
              <a:endPara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8C21B659-29DC-4976-A7CA-3C35FE73776E}"/>
                </a:ext>
              </a:extLst>
            </p:cNvPr>
            <p:cNvSpPr txBox="1"/>
            <p:nvPr/>
          </p:nvSpPr>
          <p:spPr>
            <a:xfrm>
              <a:off x="924137" y="2424879"/>
              <a:ext cx="2494661" cy="523220"/>
            </a:xfrm>
            <a:prstGeom prst="rect">
              <a:avLst/>
            </a:prstGeom>
            <a:noFill/>
            <a:ln w="6350">
              <a:noFill/>
              <a:miter lim="800000"/>
            </a:ln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DE4FB"/>
                  </a:solidFill>
                  <a:effectLst/>
                  <a:uLnTx/>
                  <a:uFillTx/>
                  <a:ea typeface="+mn-ea"/>
                  <a:cs typeface="Arial"/>
                </a:rPr>
                <a:t>Organização </a:t>
              </a:r>
              <a:r>
                <a:rPr lang="pt-BR" sz="1400" dirty="0">
                  <a:solidFill>
                    <a:srgbClr val="6DE4FB"/>
                  </a:solidFill>
                  <a:cs typeface="Arial"/>
                </a:rPr>
                <a:t>preparada</a:t>
              </a:r>
              <a:r>
                <a:rPr kumimoji="0" lang="pt-B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DE4FB"/>
                  </a:solidFill>
                  <a:effectLst/>
                  <a:uLnTx/>
                  <a:uFillTx/>
                  <a:ea typeface="+mn-ea"/>
                  <a:cs typeface="Arial"/>
                </a:rPr>
                <a:t> para o </a:t>
              </a:r>
              <a:r>
                <a:rPr lang="pt-BR" sz="1400" dirty="0">
                  <a:solidFill>
                    <a:srgbClr val="6DE4FB"/>
                  </a:solidFill>
                  <a:cs typeface="Arial"/>
                </a:rPr>
                <a:t>futuro</a:t>
              </a:r>
              <a:endPara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/>
              </a:endParaRPr>
            </a:p>
          </p:txBody>
        </p:sp>
        <p:cxnSp>
          <p:nvCxnSpPr>
            <p:cNvPr id="32" name="Conector reto 31">
              <a:extLst>
                <a:ext uri="{FF2B5EF4-FFF2-40B4-BE49-F238E27FC236}">
                  <a16:creationId xmlns:a16="http://schemas.microsoft.com/office/drawing/2014/main" id="{82DA08FD-F4BB-4703-8BEE-C488C97BC6AA}"/>
                </a:ext>
              </a:extLst>
            </p:cNvPr>
            <p:cNvCxnSpPr/>
            <p:nvPr/>
          </p:nvCxnSpPr>
          <p:spPr>
            <a:xfrm>
              <a:off x="3418798" y="2464163"/>
              <a:ext cx="0" cy="381541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31AFC789-FE98-4F06-B6D9-D7CDAE61E459}"/>
              </a:ext>
            </a:extLst>
          </p:cNvPr>
          <p:cNvSpPr txBox="1"/>
          <p:nvPr/>
        </p:nvSpPr>
        <p:spPr>
          <a:xfrm>
            <a:off x="4573324" y="1337870"/>
            <a:ext cx="3215811" cy="3505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RANSIÇÃO ENERGÉTICA</a:t>
            </a:r>
            <a:b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Ser um operador com relevância na transição energética brasileira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50" b="0" i="0" u="none" strike="noStrike" kern="1200" cap="none" spc="0" normalizeH="0" baseline="0" noProof="0" dirty="0">
              <a:ln>
                <a:noFill/>
              </a:ln>
              <a:solidFill>
                <a:srgbClr val="274B7A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GERAÇÃO SOLAR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274B7A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Crescimento focado na energia solar centralizada (</a:t>
            </a:r>
            <a:r>
              <a:rPr kumimoji="0" lang="pt-B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Utility</a:t>
            </a: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 </a:t>
            </a:r>
            <a:r>
              <a:rPr kumimoji="0" lang="pt-BR" sz="105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Scale</a:t>
            </a: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)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HÍDRICA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274B7A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Redução da exposição com manutenção da excelência operacional de ativos no país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RADING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274B7A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Negociação de volume de energia no mercado livre, mantendo margem competitiva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ÉRMICA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Conclusão do</a:t>
            </a:r>
            <a:r>
              <a:rPr kumimoji="0" lang="pt-BR" sz="105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 processo de venda de 80% da UTE Pecém em 2023</a:t>
            </a:r>
            <a:endParaRPr kumimoji="0" lang="pt-BR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HIDROGÊNIO VERDE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274B7A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Inicio da exploração  de hidrogênio com recursos renováveis (projeto piloto)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6635789E-EBE3-4949-89C8-52E39221A064}"/>
              </a:ext>
            </a:extLst>
          </p:cNvPr>
          <p:cNvSpPr txBox="1"/>
          <p:nvPr/>
        </p:nvSpPr>
        <p:spPr>
          <a:xfrm>
            <a:off x="7973961" y="2066925"/>
            <a:ext cx="2931129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CLIENTES</a:t>
            </a:r>
            <a:b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Preparar a EDP Brasil para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a expansão do mercado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50" b="0" i="0" u="none" strike="noStrike" kern="1200" cap="none" spc="0" normalizeH="0" baseline="0" noProof="0" dirty="0">
              <a:ln>
                <a:noFill/>
              </a:ln>
              <a:solidFill>
                <a:srgbClr val="274B7A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GERAÇÃO DISTRIBUÍDA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274B7A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Energia solar descentralizada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ea typeface="+mn-ea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COMERCIALIZAÇÃO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Liberalização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do mercado livre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MOBILIDADE ELÉTRICA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ea typeface="+mn-ea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Expansão da participação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0898838A-A086-44AE-9FDF-2E00B13252DD}"/>
              </a:ext>
            </a:extLst>
          </p:cNvPr>
          <p:cNvSpPr txBox="1"/>
          <p:nvPr/>
        </p:nvSpPr>
        <p:spPr>
          <a:xfrm>
            <a:off x="1260389" y="1829905"/>
            <a:ext cx="3211025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REDES</a:t>
            </a:r>
            <a:b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Ser um operador de referência, reconhecido pela eficiência e qualidade com inserção de novas tecnologias e crescimento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050" b="0" i="0" u="none" strike="noStrike" kern="1200" cap="none" spc="0" normalizeH="0" baseline="0" noProof="0" dirty="0">
              <a:ln>
                <a:noFill/>
              </a:ln>
              <a:solidFill>
                <a:srgbClr val="274B7A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DISTRIBUIÇÃO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274B7A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Operação de referência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Maximização da eficiência através do aumento de investimentos e aplicação de novas tecnologias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i="0" u="none" strike="noStrike" kern="1200" cap="none" spc="0" normalizeH="0" baseline="0" noProof="0" dirty="0">
                <a:ln>
                  <a:noFill/>
                </a:ln>
                <a:solidFill>
                  <a:srgbClr val="6DE4FB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RANSMISSÃO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274B7A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Expansão em leilões, 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com oportunidades no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mercado primário e secundário</a:t>
            </a:r>
            <a:b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</a:b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</a:rPr>
              <a:t>e rotação de ativos </a:t>
            </a:r>
          </a:p>
        </p:txBody>
      </p:sp>
      <p:cxnSp>
        <p:nvCxnSpPr>
          <p:cNvPr id="44" name="Conector reto 43">
            <a:extLst>
              <a:ext uri="{FF2B5EF4-FFF2-40B4-BE49-F238E27FC236}">
                <a16:creationId xmlns:a16="http://schemas.microsoft.com/office/drawing/2014/main" id="{58FCB934-00F2-4D9D-AF7D-6D0C86BF90EC}"/>
              </a:ext>
            </a:extLst>
          </p:cNvPr>
          <p:cNvCxnSpPr>
            <a:cxnSpLocks/>
          </p:cNvCxnSpPr>
          <p:nvPr/>
        </p:nvCxnSpPr>
        <p:spPr>
          <a:xfrm flipV="1">
            <a:off x="1249781" y="1413448"/>
            <a:ext cx="3309553" cy="659192"/>
          </a:xfrm>
          <a:prstGeom prst="line">
            <a:avLst/>
          </a:pr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Conector reto 47">
            <a:extLst>
              <a:ext uri="{FF2B5EF4-FFF2-40B4-BE49-F238E27FC236}">
                <a16:creationId xmlns:a16="http://schemas.microsoft.com/office/drawing/2014/main" id="{CE4FF3BD-BB02-4977-9D49-651981CC714A}"/>
              </a:ext>
            </a:extLst>
          </p:cNvPr>
          <p:cNvCxnSpPr>
            <a:cxnSpLocks/>
            <a:stCxn id="18" idx="0"/>
          </p:cNvCxnSpPr>
          <p:nvPr/>
        </p:nvCxnSpPr>
        <p:spPr>
          <a:xfrm flipV="1">
            <a:off x="1227892" y="2066925"/>
            <a:ext cx="18507" cy="2724147"/>
          </a:xfrm>
          <a:prstGeom prst="line">
            <a:avLst/>
          </a:pr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0" name="Agrupar 59">
            <a:extLst>
              <a:ext uri="{FF2B5EF4-FFF2-40B4-BE49-F238E27FC236}">
                <a16:creationId xmlns:a16="http://schemas.microsoft.com/office/drawing/2014/main" id="{81F7C2EE-97C3-4C38-BFBE-2C2231003B1B}"/>
              </a:ext>
            </a:extLst>
          </p:cNvPr>
          <p:cNvGrpSpPr/>
          <p:nvPr/>
        </p:nvGrpSpPr>
        <p:grpSpPr>
          <a:xfrm>
            <a:off x="4667250" y="1087120"/>
            <a:ext cx="3054874" cy="304834"/>
            <a:chOff x="4667250" y="1087120"/>
            <a:chExt cx="3054874" cy="304834"/>
          </a:xfrm>
        </p:grpSpPr>
        <p:cxnSp>
          <p:nvCxnSpPr>
            <p:cNvPr id="45" name="Conector reto 44">
              <a:extLst>
                <a:ext uri="{FF2B5EF4-FFF2-40B4-BE49-F238E27FC236}">
                  <a16:creationId xmlns:a16="http://schemas.microsoft.com/office/drawing/2014/main" id="{133DEF8B-6E23-4D3C-8195-DFD998D2235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191670" y="1087120"/>
              <a:ext cx="1530454" cy="304834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Conector reto 49">
              <a:extLst>
                <a:ext uri="{FF2B5EF4-FFF2-40B4-BE49-F238E27FC236}">
                  <a16:creationId xmlns:a16="http://schemas.microsoft.com/office/drawing/2014/main" id="{C39A6F3F-3CBF-4647-91A2-3231266A427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67250" y="1087120"/>
              <a:ext cx="1530454" cy="304834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FFC62224-FCE4-4EEE-914A-388712C64637}"/>
              </a:ext>
            </a:extLst>
          </p:cNvPr>
          <p:cNvCxnSpPr>
            <a:cxnSpLocks/>
          </p:cNvCxnSpPr>
          <p:nvPr/>
        </p:nvCxnSpPr>
        <p:spPr>
          <a:xfrm flipH="1" flipV="1">
            <a:off x="7830039" y="1413448"/>
            <a:ext cx="3309554" cy="659192"/>
          </a:xfrm>
          <a:prstGeom prst="line">
            <a:avLst/>
          </a:pr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5" name="Retângulo 5">
            <a:extLst>
              <a:ext uri="{FF2B5EF4-FFF2-40B4-BE49-F238E27FC236}">
                <a16:creationId xmlns:a16="http://schemas.microsoft.com/office/drawing/2014/main" id="{97918A47-EFE6-4809-97F1-24948B784EC9}"/>
              </a:ext>
            </a:extLst>
          </p:cNvPr>
          <p:cNvSpPr/>
          <p:nvPr/>
        </p:nvSpPr>
        <p:spPr>
          <a:xfrm rot="5400000" flipH="1" flipV="1">
            <a:off x="6010825" y="2854663"/>
            <a:ext cx="3257048" cy="374616"/>
          </a:xfrm>
          <a:custGeom>
            <a:avLst/>
            <a:gdLst>
              <a:gd name="connsiteX0" fmla="*/ 0 w 3661829"/>
              <a:gd name="connsiteY0" fmla="*/ 0 h 1088504"/>
              <a:gd name="connsiteX1" fmla="*/ 3661829 w 3661829"/>
              <a:gd name="connsiteY1" fmla="*/ 0 h 1088504"/>
              <a:gd name="connsiteX2" fmla="*/ 3661829 w 3661829"/>
              <a:gd name="connsiteY2" fmla="*/ 1088504 h 1088504"/>
              <a:gd name="connsiteX3" fmla="*/ 0 w 3661829"/>
              <a:gd name="connsiteY3" fmla="*/ 1088504 h 1088504"/>
              <a:gd name="connsiteX4" fmla="*/ 0 w 3661829"/>
              <a:gd name="connsiteY4" fmla="*/ 0 h 1088504"/>
              <a:gd name="connsiteX0" fmla="*/ 3661829 w 3753269"/>
              <a:gd name="connsiteY0" fmla="*/ 0 h 1088504"/>
              <a:gd name="connsiteX1" fmla="*/ 3661829 w 3753269"/>
              <a:gd name="connsiteY1" fmla="*/ 1088504 h 1088504"/>
              <a:gd name="connsiteX2" fmla="*/ 0 w 3753269"/>
              <a:gd name="connsiteY2" fmla="*/ 1088504 h 1088504"/>
              <a:gd name="connsiteX3" fmla="*/ 0 w 3753269"/>
              <a:gd name="connsiteY3" fmla="*/ 0 h 1088504"/>
              <a:gd name="connsiteX4" fmla="*/ 3753269 w 3753269"/>
              <a:gd name="connsiteY4" fmla="*/ 91440 h 1088504"/>
              <a:gd name="connsiteX0" fmla="*/ 3661829 w 3661829"/>
              <a:gd name="connsiteY0" fmla="*/ 0 h 1088504"/>
              <a:gd name="connsiteX1" fmla="*/ 3661829 w 3661829"/>
              <a:gd name="connsiteY1" fmla="*/ 1088504 h 1088504"/>
              <a:gd name="connsiteX2" fmla="*/ 0 w 3661829"/>
              <a:gd name="connsiteY2" fmla="*/ 1088504 h 1088504"/>
              <a:gd name="connsiteX3" fmla="*/ 0 w 3661829"/>
              <a:gd name="connsiteY3" fmla="*/ 0 h 1088504"/>
              <a:gd name="connsiteX0" fmla="*/ 3661829 w 3661829"/>
              <a:gd name="connsiteY0" fmla="*/ 1088504 h 1088504"/>
              <a:gd name="connsiteX1" fmla="*/ 0 w 3661829"/>
              <a:gd name="connsiteY1" fmla="*/ 1088504 h 1088504"/>
              <a:gd name="connsiteX2" fmla="*/ 0 w 3661829"/>
              <a:gd name="connsiteY2" fmla="*/ 0 h 1088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1829" h="1088504">
                <a:moveTo>
                  <a:pt x="3661829" y="1088504"/>
                </a:moveTo>
                <a:lnTo>
                  <a:pt x="0" y="1088504"/>
                </a:lnTo>
                <a:lnTo>
                  <a:pt x="0" y="0"/>
                </a:lnTo>
              </a:path>
            </a:pathLst>
          </a:custGeom>
          <a:noFill/>
          <a:ln w="19050" cap="rnd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2095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EF12FED-C815-43C8-A49D-442D7D92253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912" y="1226491"/>
            <a:ext cx="10864175" cy="4821693"/>
          </a:xfrm>
          <a:prstGeom prst="rect">
            <a:avLst/>
          </a:prstGeom>
        </p:spPr>
      </p:pic>
      <p:pic>
        <p:nvPicPr>
          <p:cNvPr id="2" name="Picture 2" descr="Agência Nacional de Energia Elétrica – Wikipédia, a enciclopédia livre">
            <a:extLst>
              <a:ext uri="{FF2B5EF4-FFF2-40B4-BE49-F238E27FC236}">
                <a16:creationId xmlns:a16="http://schemas.microsoft.com/office/drawing/2014/main" id="{F595EBFA-07A9-6725-15EF-8CE17D8658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5897" y="6086631"/>
            <a:ext cx="1768043" cy="66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02090A9F-C6CF-4268-740E-12C3AC9FA70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679781" y="4057650"/>
            <a:ext cx="1816894" cy="616744"/>
          </a:xfrm>
          <a:prstGeom prst="rect">
            <a:avLst/>
          </a:prstGeom>
          <a:solidFill>
            <a:srgbClr val="D7EBCA"/>
          </a:solidFill>
          <a:ln>
            <a:noFill/>
          </a:ln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D9E965D3-FB73-5979-FF8D-86A6F94D420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391025" y="3857625"/>
            <a:ext cx="3476625" cy="11811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927F028A-3AC2-2E38-7F5C-436BEED4C6D0}"/>
              </a:ext>
            </a:extLst>
          </p:cNvPr>
          <p:cNvSpPr/>
          <p:nvPr/>
        </p:nvSpPr>
        <p:spPr>
          <a:xfrm>
            <a:off x="4457699" y="3921125"/>
            <a:ext cx="3409951" cy="803275"/>
          </a:xfrm>
          <a:prstGeom prst="rect">
            <a:avLst/>
          </a:prstGeom>
          <a:solidFill>
            <a:schemeClr val="bg1"/>
          </a:solidFill>
          <a:ln w="19050">
            <a:solidFill>
              <a:srgbClr val="C7135D"/>
            </a:solidFill>
            <a:prstDash val="dash"/>
          </a:ln>
        </p:spPr>
        <p:txBody>
          <a:bodyPr wrap="squar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7786AC19-D344-3B55-C6F3-0E90DF4FA4AA}"/>
              </a:ext>
            </a:extLst>
          </p:cNvPr>
          <p:cNvSpPr txBox="1"/>
          <p:nvPr/>
        </p:nvSpPr>
        <p:spPr>
          <a:xfrm>
            <a:off x="5404961" y="4057650"/>
            <a:ext cx="6014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B61F29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≈ 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B61F29"/>
                </a:solidFill>
                <a:effectLst/>
                <a:uLnTx/>
                <a:uFillTx/>
                <a:latin typeface="FT Base" pitchFamily="2" charset="0"/>
                <a:ea typeface="+mn-ea"/>
                <a:cs typeface="Aharoni" panose="02010803020104030203" pitchFamily="2" charset="-79"/>
              </a:rPr>
              <a:t>10</a:t>
            </a:r>
            <a:endParaRPr kumimoji="0" lang="pt-BR" sz="1800" b="1" i="0" u="none" strike="noStrike" kern="1200" cap="none" spc="0" normalizeH="0" baseline="0" noProof="0" dirty="0">
              <a:ln>
                <a:noFill/>
              </a:ln>
              <a:solidFill>
                <a:srgbClr val="B61F29"/>
              </a:solidFill>
              <a:effectLst/>
              <a:uLnTx/>
              <a:uFillTx/>
              <a:latin typeface="FT Base" pitchFamily="2" charset="0"/>
              <a:ea typeface="+mn-ea"/>
              <a:cs typeface="+mn-cs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BCBD2C3-0AD9-30CF-C66A-8A1CD27AA216}"/>
              </a:ext>
            </a:extLst>
          </p:cNvPr>
          <p:cNvSpPr txBox="1"/>
          <p:nvPr/>
        </p:nvSpPr>
        <p:spPr>
          <a:xfrm>
            <a:off x="6096000" y="4057650"/>
            <a:ext cx="17225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B61F29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≈ 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B61F29"/>
                </a:solidFill>
                <a:effectLst/>
                <a:uLnTx/>
                <a:uFillTx/>
                <a:latin typeface="FT Base" pitchFamily="2" charset="0"/>
                <a:ea typeface="+mn-ea"/>
                <a:cs typeface="Aharoni" panose="02010803020104030203" pitchFamily="2" charset="-79"/>
              </a:rPr>
              <a:t>1-3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ulish" pitchFamily="2" charset="0"/>
                <a:ea typeface="+mn-ea"/>
                <a:cs typeface="Aharoni" panose="02010803020104030203" pitchFamily="2" charset="-79"/>
              </a:rPr>
              <a:t>mais CO</a:t>
            </a:r>
            <a:r>
              <a:rPr kumimoji="0" lang="pt-BR" sz="1000" b="0" i="0" u="none" strike="noStrike" kern="1200" cap="none" spc="0" normalizeH="0" baseline="-2500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ulish" pitchFamily="2" charset="0"/>
                <a:ea typeface="+mn-ea"/>
                <a:cs typeface="Aharoni" panose="02010803020104030203" pitchFamily="2" charset="-79"/>
              </a:rPr>
              <a:t>2</a:t>
            </a:r>
            <a:r>
              <a:rPr kumimoji="0" lang="pt-B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ulish" pitchFamily="2" charset="0"/>
                <a:ea typeface="+mn-ea"/>
                <a:cs typeface="Aharoni" panose="02010803020104030203" pitchFamily="2" charset="-79"/>
              </a:rPr>
              <a:t> armazenado</a:t>
            </a:r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ulish" pitchFamily="2" charset="0"/>
              <a:ea typeface="+mn-ea"/>
              <a:cs typeface="+mn-cs"/>
            </a:endParaRPr>
          </a:p>
        </p:txBody>
      </p:sp>
      <p:grpSp>
        <p:nvGrpSpPr>
          <p:cNvPr id="10" name="Graphic 2">
            <a:extLst>
              <a:ext uri="{FF2B5EF4-FFF2-40B4-BE49-F238E27FC236}">
                <a16:creationId xmlns:a16="http://schemas.microsoft.com/office/drawing/2014/main" id="{9A137F86-1798-811A-C3CE-A7A9178589D8}"/>
              </a:ext>
            </a:extLst>
          </p:cNvPr>
          <p:cNvGrpSpPr/>
          <p:nvPr/>
        </p:nvGrpSpPr>
        <p:grpSpPr>
          <a:xfrm>
            <a:off x="4698984" y="4083268"/>
            <a:ext cx="318072" cy="318096"/>
            <a:chOff x="5667817" y="2590393"/>
            <a:chExt cx="663225" cy="663273"/>
          </a:xfrm>
          <a:solidFill>
            <a:srgbClr val="C00000"/>
          </a:solidFill>
        </p:grpSpPr>
        <p:sp>
          <p:nvSpPr>
            <p:cNvPr id="11" name="Freeform: Shape 85">
              <a:extLst>
                <a:ext uri="{FF2B5EF4-FFF2-40B4-BE49-F238E27FC236}">
                  <a16:creationId xmlns:a16="http://schemas.microsoft.com/office/drawing/2014/main" id="{AEF37400-2D32-9967-35BC-12556E1F5149}"/>
                </a:ext>
              </a:extLst>
            </p:cNvPr>
            <p:cNvSpPr/>
            <p:nvPr/>
          </p:nvSpPr>
          <p:spPr>
            <a:xfrm>
              <a:off x="5667817" y="2590393"/>
              <a:ext cx="663225" cy="663273"/>
            </a:xfrm>
            <a:custGeom>
              <a:avLst/>
              <a:gdLst>
                <a:gd name="connsiteX0" fmla="*/ 566214 w 663225"/>
                <a:gd name="connsiteY0" fmla="*/ 97012 h 663273"/>
                <a:gd name="connsiteX1" fmla="*/ 97012 w 663225"/>
                <a:gd name="connsiteY1" fmla="*/ 97012 h 663273"/>
                <a:gd name="connsiteX2" fmla="*/ 97012 w 663225"/>
                <a:gd name="connsiteY2" fmla="*/ 566214 h 663273"/>
                <a:gd name="connsiteX3" fmla="*/ 331613 w 663225"/>
                <a:gd name="connsiteY3" fmla="*/ 663273 h 663273"/>
                <a:gd name="connsiteX4" fmla="*/ 566214 w 663225"/>
                <a:gd name="connsiteY4" fmla="*/ 566214 h 663273"/>
                <a:gd name="connsiteX5" fmla="*/ 566214 w 663225"/>
                <a:gd name="connsiteY5" fmla="*/ 97012 h 663273"/>
                <a:gd name="connsiteX6" fmla="*/ 331613 w 663225"/>
                <a:gd name="connsiteY6" fmla="*/ 632889 h 663273"/>
                <a:gd name="connsiteX7" fmla="*/ 118539 w 663225"/>
                <a:gd name="connsiteY7" fmla="*/ 544782 h 663273"/>
                <a:gd name="connsiteX8" fmla="*/ 30432 w 663225"/>
                <a:gd name="connsiteY8" fmla="*/ 331613 h 663273"/>
                <a:gd name="connsiteX9" fmla="*/ 118539 w 663225"/>
                <a:gd name="connsiteY9" fmla="*/ 118539 h 663273"/>
                <a:gd name="connsiteX10" fmla="*/ 331613 w 663225"/>
                <a:gd name="connsiteY10" fmla="*/ 30432 h 663273"/>
                <a:gd name="connsiteX11" fmla="*/ 544687 w 663225"/>
                <a:gd name="connsiteY11" fmla="*/ 118539 h 663273"/>
                <a:gd name="connsiteX12" fmla="*/ 632793 w 663225"/>
                <a:gd name="connsiteY12" fmla="*/ 331613 h 663273"/>
                <a:gd name="connsiteX13" fmla="*/ 544687 w 663225"/>
                <a:gd name="connsiteY13" fmla="*/ 544782 h 663273"/>
                <a:gd name="connsiteX14" fmla="*/ 331613 w 663225"/>
                <a:gd name="connsiteY14" fmla="*/ 632889 h 663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63225" h="663273">
                  <a:moveTo>
                    <a:pt x="566214" y="97012"/>
                  </a:moveTo>
                  <a:cubicBezTo>
                    <a:pt x="436864" y="-32337"/>
                    <a:pt x="226362" y="-32337"/>
                    <a:pt x="97012" y="97012"/>
                  </a:cubicBezTo>
                  <a:cubicBezTo>
                    <a:pt x="-32337" y="226362"/>
                    <a:pt x="-32337" y="436864"/>
                    <a:pt x="97012" y="566214"/>
                  </a:cubicBezTo>
                  <a:cubicBezTo>
                    <a:pt x="161687" y="630888"/>
                    <a:pt x="246650" y="663273"/>
                    <a:pt x="331613" y="663273"/>
                  </a:cubicBezTo>
                  <a:cubicBezTo>
                    <a:pt x="416576" y="663273"/>
                    <a:pt x="501539" y="630888"/>
                    <a:pt x="566214" y="566214"/>
                  </a:cubicBezTo>
                  <a:cubicBezTo>
                    <a:pt x="695563" y="436864"/>
                    <a:pt x="695563" y="226362"/>
                    <a:pt x="566214" y="97012"/>
                  </a:cubicBezTo>
                  <a:close/>
                  <a:moveTo>
                    <a:pt x="331613" y="632889"/>
                  </a:moveTo>
                  <a:cubicBezTo>
                    <a:pt x="251031" y="632889"/>
                    <a:pt x="175308" y="601551"/>
                    <a:pt x="118539" y="544782"/>
                  </a:cubicBezTo>
                  <a:cubicBezTo>
                    <a:pt x="61674" y="487918"/>
                    <a:pt x="30432" y="412290"/>
                    <a:pt x="30432" y="331613"/>
                  </a:cubicBezTo>
                  <a:cubicBezTo>
                    <a:pt x="30432" y="250936"/>
                    <a:pt x="61674" y="175308"/>
                    <a:pt x="118539" y="118539"/>
                  </a:cubicBezTo>
                  <a:cubicBezTo>
                    <a:pt x="175403" y="61674"/>
                    <a:pt x="251031" y="30432"/>
                    <a:pt x="331613" y="30432"/>
                  </a:cubicBezTo>
                  <a:cubicBezTo>
                    <a:pt x="412194" y="30432"/>
                    <a:pt x="487918" y="61770"/>
                    <a:pt x="544687" y="118539"/>
                  </a:cubicBezTo>
                  <a:cubicBezTo>
                    <a:pt x="601551" y="175403"/>
                    <a:pt x="632793" y="251031"/>
                    <a:pt x="632793" y="331613"/>
                  </a:cubicBezTo>
                  <a:cubicBezTo>
                    <a:pt x="632793" y="412194"/>
                    <a:pt x="601456" y="487918"/>
                    <a:pt x="544687" y="544782"/>
                  </a:cubicBezTo>
                  <a:cubicBezTo>
                    <a:pt x="487823" y="601647"/>
                    <a:pt x="412194" y="632889"/>
                    <a:pt x="331613" y="632889"/>
                  </a:cubicBezTo>
                  <a:close/>
                </a:path>
              </a:pathLst>
            </a:custGeom>
            <a:grpFill/>
            <a:ln w="9525" cap="flat">
              <a:solidFill>
                <a:srgbClr val="C0000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  <p:sp>
          <p:nvSpPr>
            <p:cNvPr id="12" name="Freeform: Shape 86">
              <a:extLst>
                <a:ext uri="{FF2B5EF4-FFF2-40B4-BE49-F238E27FC236}">
                  <a16:creationId xmlns:a16="http://schemas.microsoft.com/office/drawing/2014/main" id="{B10F7633-DAF6-812E-60F2-2FE2EC4BF1DB}"/>
                </a:ext>
              </a:extLst>
            </p:cNvPr>
            <p:cNvSpPr/>
            <p:nvPr/>
          </p:nvSpPr>
          <p:spPr>
            <a:xfrm>
              <a:off x="5896702" y="2819421"/>
              <a:ext cx="205454" cy="205359"/>
            </a:xfrm>
            <a:custGeom>
              <a:avLst/>
              <a:gdLst>
                <a:gd name="connsiteX0" fmla="*/ 201025 w 205454"/>
                <a:gd name="connsiteY0" fmla="*/ 4286 h 205359"/>
                <a:gd name="connsiteX1" fmla="*/ 179499 w 205454"/>
                <a:gd name="connsiteY1" fmla="*/ 4286 h 205359"/>
                <a:gd name="connsiteX2" fmla="*/ 102727 w 205454"/>
                <a:gd name="connsiteY2" fmla="*/ 81058 h 205359"/>
                <a:gd name="connsiteX3" fmla="*/ 25956 w 205454"/>
                <a:gd name="connsiteY3" fmla="*/ 4286 h 205359"/>
                <a:gd name="connsiteX4" fmla="*/ 4429 w 205454"/>
                <a:gd name="connsiteY4" fmla="*/ 4286 h 205359"/>
                <a:gd name="connsiteX5" fmla="*/ 4429 w 205454"/>
                <a:gd name="connsiteY5" fmla="*/ 25813 h 205359"/>
                <a:gd name="connsiteX6" fmla="*/ 81201 w 205454"/>
                <a:gd name="connsiteY6" fmla="*/ 102584 h 205359"/>
                <a:gd name="connsiteX7" fmla="*/ 4429 w 205454"/>
                <a:gd name="connsiteY7" fmla="*/ 179356 h 205359"/>
                <a:gd name="connsiteX8" fmla="*/ 4429 w 205454"/>
                <a:gd name="connsiteY8" fmla="*/ 200882 h 205359"/>
                <a:gd name="connsiteX9" fmla="*/ 15192 w 205454"/>
                <a:gd name="connsiteY9" fmla="*/ 205359 h 205359"/>
                <a:gd name="connsiteX10" fmla="*/ 25956 w 205454"/>
                <a:gd name="connsiteY10" fmla="*/ 200882 h 205359"/>
                <a:gd name="connsiteX11" fmla="*/ 102727 w 205454"/>
                <a:gd name="connsiteY11" fmla="*/ 124111 h 205359"/>
                <a:gd name="connsiteX12" fmla="*/ 179499 w 205454"/>
                <a:gd name="connsiteY12" fmla="*/ 200882 h 205359"/>
                <a:gd name="connsiteX13" fmla="*/ 190262 w 205454"/>
                <a:gd name="connsiteY13" fmla="*/ 205359 h 205359"/>
                <a:gd name="connsiteX14" fmla="*/ 201025 w 205454"/>
                <a:gd name="connsiteY14" fmla="*/ 200882 h 205359"/>
                <a:gd name="connsiteX15" fmla="*/ 201025 w 205454"/>
                <a:gd name="connsiteY15" fmla="*/ 179356 h 205359"/>
                <a:gd name="connsiteX16" fmla="*/ 124254 w 205454"/>
                <a:gd name="connsiteY16" fmla="*/ 102584 h 205359"/>
                <a:gd name="connsiteX17" fmla="*/ 201025 w 205454"/>
                <a:gd name="connsiteY17" fmla="*/ 25813 h 205359"/>
                <a:gd name="connsiteX18" fmla="*/ 201025 w 205454"/>
                <a:gd name="connsiteY18" fmla="*/ 4286 h 205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5454" h="205359">
                  <a:moveTo>
                    <a:pt x="201025" y="4286"/>
                  </a:moveTo>
                  <a:cubicBezTo>
                    <a:pt x="195310" y="-1429"/>
                    <a:pt x="185309" y="-1429"/>
                    <a:pt x="179499" y="4286"/>
                  </a:cubicBezTo>
                  <a:lnTo>
                    <a:pt x="102727" y="81058"/>
                  </a:lnTo>
                  <a:lnTo>
                    <a:pt x="25956" y="4286"/>
                  </a:lnTo>
                  <a:cubicBezTo>
                    <a:pt x="20241" y="-1429"/>
                    <a:pt x="10239" y="-1429"/>
                    <a:pt x="4429" y="4286"/>
                  </a:cubicBezTo>
                  <a:cubicBezTo>
                    <a:pt x="-1476" y="10192"/>
                    <a:pt x="-1476" y="19812"/>
                    <a:pt x="4429" y="25813"/>
                  </a:cubicBezTo>
                  <a:lnTo>
                    <a:pt x="81201" y="102584"/>
                  </a:lnTo>
                  <a:lnTo>
                    <a:pt x="4429" y="179356"/>
                  </a:lnTo>
                  <a:cubicBezTo>
                    <a:pt x="-1476" y="185261"/>
                    <a:pt x="-1476" y="194881"/>
                    <a:pt x="4429" y="200882"/>
                  </a:cubicBezTo>
                  <a:cubicBezTo>
                    <a:pt x="7287" y="203740"/>
                    <a:pt x="11097" y="205359"/>
                    <a:pt x="15192" y="205359"/>
                  </a:cubicBezTo>
                  <a:cubicBezTo>
                    <a:pt x="19288" y="205359"/>
                    <a:pt x="23098" y="203740"/>
                    <a:pt x="25956" y="200882"/>
                  </a:cubicBezTo>
                  <a:lnTo>
                    <a:pt x="102727" y="124111"/>
                  </a:lnTo>
                  <a:lnTo>
                    <a:pt x="179499" y="200882"/>
                  </a:lnTo>
                  <a:cubicBezTo>
                    <a:pt x="182356" y="203740"/>
                    <a:pt x="186166" y="205359"/>
                    <a:pt x="190262" y="205359"/>
                  </a:cubicBezTo>
                  <a:cubicBezTo>
                    <a:pt x="194358" y="205359"/>
                    <a:pt x="198168" y="203740"/>
                    <a:pt x="201025" y="200882"/>
                  </a:cubicBezTo>
                  <a:cubicBezTo>
                    <a:pt x="206931" y="194977"/>
                    <a:pt x="206931" y="185356"/>
                    <a:pt x="201025" y="179356"/>
                  </a:cubicBezTo>
                  <a:lnTo>
                    <a:pt x="124254" y="102584"/>
                  </a:lnTo>
                  <a:lnTo>
                    <a:pt x="201025" y="25813"/>
                  </a:lnTo>
                  <a:cubicBezTo>
                    <a:pt x="206931" y="19907"/>
                    <a:pt x="206931" y="10287"/>
                    <a:pt x="201025" y="4286"/>
                  </a:cubicBezTo>
                  <a:close/>
                </a:path>
              </a:pathLst>
            </a:custGeom>
            <a:grpFill/>
            <a:ln w="9525" cap="flat">
              <a:solidFill>
                <a:srgbClr val="C0000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</p:grpSp>
      <p:grpSp>
        <p:nvGrpSpPr>
          <p:cNvPr id="13" name="Graphic 11">
            <a:extLst>
              <a:ext uri="{FF2B5EF4-FFF2-40B4-BE49-F238E27FC236}">
                <a16:creationId xmlns:a16="http://schemas.microsoft.com/office/drawing/2014/main" id="{17ED8823-D3E5-21F0-DD0D-6A36944FA4CA}"/>
              </a:ext>
            </a:extLst>
          </p:cNvPr>
          <p:cNvGrpSpPr/>
          <p:nvPr/>
        </p:nvGrpSpPr>
        <p:grpSpPr>
          <a:xfrm>
            <a:off x="9867871" y="4077910"/>
            <a:ext cx="318026" cy="318026"/>
            <a:chOff x="5667674" y="1712064"/>
            <a:chExt cx="663511" cy="663511"/>
          </a:xfrm>
          <a:solidFill>
            <a:srgbClr val="2AB553"/>
          </a:solidFill>
        </p:grpSpPr>
        <p:sp>
          <p:nvSpPr>
            <p:cNvPr id="14" name="Freeform: Shape 101">
              <a:extLst>
                <a:ext uri="{FF2B5EF4-FFF2-40B4-BE49-F238E27FC236}">
                  <a16:creationId xmlns:a16="http://schemas.microsoft.com/office/drawing/2014/main" id="{B883D7C5-C12E-9321-4886-F28948722090}"/>
                </a:ext>
              </a:extLst>
            </p:cNvPr>
            <p:cNvSpPr/>
            <p:nvPr/>
          </p:nvSpPr>
          <p:spPr>
            <a:xfrm>
              <a:off x="5667674" y="1712064"/>
              <a:ext cx="663511" cy="663511"/>
            </a:xfrm>
            <a:custGeom>
              <a:avLst/>
              <a:gdLst>
                <a:gd name="connsiteX0" fmla="*/ 331756 w 663511"/>
                <a:gd name="connsiteY0" fmla="*/ 0 h 663511"/>
                <a:gd name="connsiteX1" fmla="*/ 0 w 663511"/>
                <a:gd name="connsiteY1" fmla="*/ 331756 h 663511"/>
                <a:gd name="connsiteX2" fmla="*/ 331756 w 663511"/>
                <a:gd name="connsiteY2" fmla="*/ 663512 h 663511"/>
                <a:gd name="connsiteX3" fmla="*/ 663512 w 663511"/>
                <a:gd name="connsiteY3" fmla="*/ 331756 h 663511"/>
                <a:gd name="connsiteX4" fmla="*/ 331756 w 663511"/>
                <a:gd name="connsiteY4" fmla="*/ 0 h 663511"/>
                <a:gd name="connsiteX5" fmla="*/ 633127 w 663511"/>
                <a:gd name="connsiteY5" fmla="*/ 331756 h 663511"/>
                <a:gd name="connsiteX6" fmla="*/ 331756 w 663511"/>
                <a:gd name="connsiteY6" fmla="*/ 633127 h 663511"/>
                <a:gd name="connsiteX7" fmla="*/ 30385 w 663511"/>
                <a:gd name="connsiteY7" fmla="*/ 331756 h 663511"/>
                <a:gd name="connsiteX8" fmla="*/ 331756 w 663511"/>
                <a:gd name="connsiteY8" fmla="*/ 30385 h 663511"/>
                <a:gd name="connsiteX9" fmla="*/ 633127 w 663511"/>
                <a:gd name="connsiteY9" fmla="*/ 331756 h 663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3511" h="663511">
                  <a:moveTo>
                    <a:pt x="331756" y="0"/>
                  </a:moveTo>
                  <a:cubicBezTo>
                    <a:pt x="148781" y="0"/>
                    <a:pt x="0" y="148781"/>
                    <a:pt x="0" y="331756"/>
                  </a:cubicBezTo>
                  <a:cubicBezTo>
                    <a:pt x="0" y="514731"/>
                    <a:pt x="148876" y="663512"/>
                    <a:pt x="331756" y="663512"/>
                  </a:cubicBezTo>
                  <a:cubicBezTo>
                    <a:pt x="514636" y="663512"/>
                    <a:pt x="663512" y="514636"/>
                    <a:pt x="663512" y="331756"/>
                  </a:cubicBezTo>
                  <a:cubicBezTo>
                    <a:pt x="663512" y="148876"/>
                    <a:pt x="514731" y="0"/>
                    <a:pt x="331756" y="0"/>
                  </a:cubicBezTo>
                  <a:close/>
                  <a:moveTo>
                    <a:pt x="633127" y="331756"/>
                  </a:moveTo>
                  <a:cubicBezTo>
                    <a:pt x="633127" y="497967"/>
                    <a:pt x="497967" y="633127"/>
                    <a:pt x="331756" y="633127"/>
                  </a:cubicBezTo>
                  <a:cubicBezTo>
                    <a:pt x="165545" y="633127"/>
                    <a:pt x="30385" y="497967"/>
                    <a:pt x="30385" y="331756"/>
                  </a:cubicBezTo>
                  <a:cubicBezTo>
                    <a:pt x="30385" y="165545"/>
                    <a:pt x="165545" y="30385"/>
                    <a:pt x="331756" y="30385"/>
                  </a:cubicBezTo>
                  <a:cubicBezTo>
                    <a:pt x="497967" y="30385"/>
                    <a:pt x="633127" y="165545"/>
                    <a:pt x="633127" y="331756"/>
                  </a:cubicBezTo>
                  <a:close/>
                </a:path>
              </a:pathLst>
            </a:custGeom>
            <a:grpFill/>
            <a:ln w="9525" cap="flat">
              <a:solidFill>
                <a:srgbClr val="2AB55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  <p:sp>
          <p:nvSpPr>
            <p:cNvPr id="16" name="Freeform: Shape 102">
              <a:extLst>
                <a:ext uri="{FF2B5EF4-FFF2-40B4-BE49-F238E27FC236}">
                  <a16:creationId xmlns:a16="http://schemas.microsoft.com/office/drawing/2014/main" id="{D6B2EA9C-9336-CC92-405E-4EB2FF172EB1}"/>
                </a:ext>
              </a:extLst>
            </p:cNvPr>
            <p:cNvSpPr/>
            <p:nvPr/>
          </p:nvSpPr>
          <p:spPr>
            <a:xfrm>
              <a:off x="5836219" y="1925376"/>
              <a:ext cx="326326" cy="237029"/>
            </a:xfrm>
            <a:custGeom>
              <a:avLst/>
              <a:gdLst>
                <a:gd name="connsiteX0" fmla="*/ 300371 w 326326"/>
                <a:gd name="connsiteY0" fmla="*/ 4334 h 237029"/>
                <a:gd name="connsiteX1" fmla="*/ 104442 w 326326"/>
                <a:gd name="connsiteY1" fmla="*/ 200263 h 237029"/>
                <a:gd name="connsiteX2" fmla="*/ 25956 w 326326"/>
                <a:gd name="connsiteY2" fmla="*/ 121777 h 237029"/>
                <a:gd name="connsiteX3" fmla="*/ 4429 w 326326"/>
                <a:gd name="connsiteY3" fmla="*/ 121777 h 237029"/>
                <a:gd name="connsiteX4" fmla="*/ 4429 w 326326"/>
                <a:gd name="connsiteY4" fmla="*/ 143304 h 237029"/>
                <a:gd name="connsiteX5" fmla="*/ 93678 w 326326"/>
                <a:gd name="connsiteY5" fmla="*/ 232553 h 237029"/>
                <a:gd name="connsiteX6" fmla="*/ 104442 w 326326"/>
                <a:gd name="connsiteY6" fmla="*/ 237030 h 237029"/>
                <a:gd name="connsiteX7" fmla="*/ 115205 w 326326"/>
                <a:gd name="connsiteY7" fmla="*/ 232553 h 237029"/>
                <a:gd name="connsiteX8" fmla="*/ 321897 w 326326"/>
                <a:gd name="connsiteY8" fmla="*/ 25956 h 237029"/>
                <a:gd name="connsiteX9" fmla="*/ 321897 w 326326"/>
                <a:gd name="connsiteY9" fmla="*/ 4429 h 237029"/>
                <a:gd name="connsiteX10" fmla="*/ 300371 w 326326"/>
                <a:gd name="connsiteY10" fmla="*/ 4429 h 237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6326" h="237029">
                  <a:moveTo>
                    <a:pt x="300371" y="4334"/>
                  </a:moveTo>
                  <a:lnTo>
                    <a:pt x="104442" y="200263"/>
                  </a:lnTo>
                  <a:lnTo>
                    <a:pt x="25956" y="121777"/>
                  </a:lnTo>
                  <a:cubicBezTo>
                    <a:pt x="20050" y="115872"/>
                    <a:pt x="10430" y="115872"/>
                    <a:pt x="4429" y="121777"/>
                  </a:cubicBezTo>
                  <a:cubicBezTo>
                    <a:pt x="-1476" y="127683"/>
                    <a:pt x="-1476" y="137303"/>
                    <a:pt x="4429" y="143304"/>
                  </a:cubicBezTo>
                  <a:lnTo>
                    <a:pt x="93678" y="232553"/>
                  </a:lnTo>
                  <a:cubicBezTo>
                    <a:pt x="96536" y="235410"/>
                    <a:pt x="100346" y="237030"/>
                    <a:pt x="104442" y="237030"/>
                  </a:cubicBezTo>
                  <a:cubicBezTo>
                    <a:pt x="108537" y="237030"/>
                    <a:pt x="112347" y="235410"/>
                    <a:pt x="115205" y="232553"/>
                  </a:cubicBezTo>
                  <a:lnTo>
                    <a:pt x="321897" y="25956"/>
                  </a:lnTo>
                  <a:cubicBezTo>
                    <a:pt x="327803" y="20050"/>
                    <a:pt x="327803" y="10430"/>
                    <a:pt x="321897" y="4429"/>
                  </a:cubicBezTo>
                  <a:cubicBezTo>
                    <a:pt x="315992" y="-1476"/>
                    <a:pt x="306372" y="-1476"/>
                    <a:pt x="300371" y="4429"/>
                  </a:cubicBezTo>
                  <a:close/>
                </a:path>
              </a:pathLst>
            </a:custGeom>
            <a:grpFill/>
            <a:ln w="9525" cap="flat">
              <a:solidFill>
                <a:srgbClr val="2AB55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T Base Book"/>
                <a:ea typeface="+mn-ea"/>
                <a:cs typeface="+mn-cs"/>
              </a:endParaRPr>
            </a:p>
          </p:txBody>
        </p:sp>
      </p:grp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47A9768C-24DF-EFC0-0E04-45B1F6025818}"/>
              </a:ext>
            </a:extLst>
          </p:cNvPr>
          <p:cNvSpPr txBox="1"/>
          <p:nvPr/>
        </p:nvSpPr>
        <p:spPr>
          <a:xfrm>
            <a:off x="9867872" y="4057650"/>
            <a:ext cx="1538346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2AB553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≈ </a:t>
            </a: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2AB553"/>
                </a:solidFill>
                <a:effectLst/>
                <a:uLnTx/>
                <a:uFillTx/>
                <a:latin typeface="FT Base" pitchFamily="2" charset="0"/>
                <a:ea typeface="+mn-ea"/>
                <a:cs typeface="Aharoni" panose="02010803020104030203" pitchFamily="2" charset="-79"/>
              </a:rPr>
              <a:t>0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ulish" pitchFamily="2" charset="0"/>
                <a:ea typeface="+mn-ea"/>
                <a:cs typeface="Aharoni" panose="02010803020104030203" pitchFamily="2" charset="-79"/>
              </a:rPr>
              <a:t>grid renovável</a:t>
            </a:r>
            <a:endParaRPr kumimoji="0" lang="pt-BR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ulish" pitchFamily="2" charset="0"/>
              <a:ea typeface="+mn-ea"/>
              <a:cs typeface="+mn-cs"/>
            </a:endParaRPr>
          </a:p>
        </p:txBody>
      </p:sp>
      <p:cxnSp>
        <p:nvCxnSpPr>
          <p:cNvPr id="20" name="Conector de Seta Reta 19">
            <a:extLst>
              <a:ext uri="{FF2B5EF4-FFF2-40B4-BE49-F238E27FC236}">
                <a16:creationId xmlns:a16="http://schemas.microsoft.com/office/drawing/2014/main" id="{7449354F-2E76-F487-FFF3-4BECC92DC559}"/>
              </a:ext>
            </a:extLst>
          </p:cNvPr>
          <p:cNvCxnSpPr>
            <a:cxnSpLocks/>
          </p:cNvCxnSpPr>
          <p:nvPr/>
        </p:nvCxnSpPr>
        <p:spPr>
          <a:xfrm>
            <a:off x="6210300" y="1485900"/>
            <a:ext cx="5195918" cy="0"/>
          </a:xfrm>
          <a:prstGeom prst="straightConnector1">
            <a:avLst/>
          </a:prstGeom>
          <a:ln>
            <a:solidFill>
              <a:srgbClr val="2AB55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19F9AA89-6B73-BCE0-AFB2-843514603923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9871509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0000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O hidrogênio pode ser classificado de acordo com as emissões de gases de efeito estufa associadas à sua produção</a:t>
            </a:r>
            <a:endParaRPr kumimoji="0" lang="pt-BR" sz="2700" b="0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6D32FF"/>
              </a:solidFill>
              <a:effectLst/>
              <a:uLnTx/>
              <a:uFillTx/>
              <a:latin typeface="FT Base"/>
              <a:ea typeface="+mj-ea"/>
              <a:cs typeface="+mj-cs"/>
            </a:endParaRPr>
          </a:p>
        </p:txBody>
      </p:sp>
      <p:pic>
        <p:nvPicPr>
          <p:cNvPr id="9" name="Picture 28" descr="Logo&#10;&#10;Description automatically generated">
            <a:extLst>
              <a:ext uri="{FF2B5EF4-FFF2-40B4-BE49-F238E27FC236}">
                <a16:creationId xmlns:a16="http://schemas.microsoft.com/office/drawing/2014/main" id="{F530A227-891C-142C-AECD-379F05797C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70093" y="176458"/>
            <a:ext cx="936107" cy="34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34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108400"/>
    </mc:Choice>
    <mc:Fallback xmlns="">
      <p:transition advTm="10840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12E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Gráfico 54">
            <a:extLst>
              <a:ext uri="{FF2B5EF4-FFF2-40B4-BE49-F238E27FC236}">
                <a16:creationId xmlns:a16="http://schemas.microsoft.com/office/drawing/2014/main" id="{F1F88F6C-76BD-45E6-BBB6-6BE6D14DFE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FDE2434B-74BD-4F6B-A21E-242561900F0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906"/>
          <a:stretch/>
        </p:blipFill>
        <p:spPr>
          <a:xfrm>
            <a:off x="1618287" y="1516669"/>
            <a:ext cx="8752629" cy="5266098"/>
          </a:xfrm>
          <a:prstGeom prst="rect">
            <a:avLst/>
          </a:prstGeom>
        </p:spPr>
      </p:pic>
      <p:pic>
        <p:nvPicPr>
          <p:cNvPr id="56" name="Gráfico 55">
            <a:extLst>
              <a:ext uri="{FF2B5EF4-FFF2-40B4-BE49-F238E27FC236}">
                <a16:creationId xmlns:a16="http://schemas.microsoft.com/office/drawing/2014/main" id="{2A2B7579-366D-48EA-9C69-3AE2E82008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76047" y="6123894"/>
            <a:ext cx="1305077" cy="734106"/>
          </a:xfrm>
          <a:prstGeom prst="rect">
            <a:avLst/>
          </a:prstGeom>
        </p:spPr>
      </p:pic>
      <p:sp>
        <p:nvSpPr>
          <p:cNvPr id="5" name="Elipse 4">
            <a:extLst>
              <a:ext uri="{FF2B5EF4-FFF2-40B4-BE49-F238E27FC236}">
                <a16:creationId xmlns:a16="http://schemas.microsoft.com/office/drawing/2014/main" id="{BB84E1BB-8E1B-424F-AC8D-5397765F358C}"/>
              </a:ext>
            </a:extLst>
          </p:cNvPr>
          <p:cNvSpPr/>
          <p:nvPr/>
        </p:nvSpPr>
        <p:spPr>
          <a:xfrm>
            <a:off x="5555848" y="3194613"/>
            <a:ext cx="756831" cy="717630"/>
          </a:xfrm>
          <a:prstGeom prst="ellipse">
            <a:avLst/>
          </a:prstGeom>
          <a:solidFill>
            <a:srgbClr val="8A00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H</a:t>
            </a:r>
            <a:r>
              <a:rPr kumimoji="0" lang="pt-BR" sz="14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2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T Base Book" pitchFamily="2" charset="0"/>
                <a:ea typeface="+mn-ea"/>
                <a:cs typeface="+mn-cs"/>
              </a:rPr>
              <a:t>V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30FD07-B795-DC9F-AB08-35C3CA6985EE}"/>
              </a:ext>
            </a:extLst>
          </p:cNvPr>
          <p:cNvSpPr txBox="1">
            <a:spLocks/>
          </p:cNvSpPr>
          <p:nvPr/>
        </p:nvSpPr>
        <p:spPr>
          <a:xfrm>
            <a:off x="533400" y="219608"/>
            <a:ext cx="10234127" cy="7478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7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prstClr val="white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O hidrogênio tem potencial para reduzir o consumo de energia fóssil primária em diversos setores produtivo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6D766FC-34B5-EB15-6599-18A68EB4750D}"/>
              </a:ext>
            </a:extLst>
          </p:cNvPr>
          <p:cNvSpPr txBox="1">
            <a:spLocks/>
          </p:cNvSpPr>
          <p:nvPr/>
        </p:nvSpPr>
        <p:spPr>
          <a:xfrm>
            <a:off x="11191038" y="6629063"/>
            <a:ext cx="10234127" cy="110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prstClr val="white"/>
                </a:solidFill>
                <a:effectLst/>
                <a:uLnTx/>
                <a:uFillTx/>
                <a:latin typeface="FT Base"/>
                <a:ea typeface="+mj-ea"/>
                <a:cs typeface="+mj-cs"/>
              </a:rPr>
              <a:t>Fonte: SIEMENS</a:t>
            </a:r>
          </a:p>
        </p:txBody>
      </p:sp>
      <p:pic>
        <p:nvPicPr>
          <p:cNvPr id="6" name="Picture 15">
            <a:extLst>
              <a:ext uri="{FF2B5EF4-FFF2-40B4-BE49-F238E27FC236}">
                <a16:creationId xmlns:a16="http://schemas.microsoft.com/office/drawing/2014/main" id="{23F6DD23-28C1-55D6-D7B7-FA4A7D2D9080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983" y="175551"/>
            <a:ext cx="889594" cy="324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87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57850"/>
    </mc:Choice>
    <mc:Fallback xmlns="">
      <p:transition advTm="5785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ob1CVnBJdocmgUrHhl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Client color schem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8D7C6"/>
      </a:accent1>
      <a:accent2>
        <a:srgbClr val="3E8077"/>
      </a:accent2>
      <a:accent3>
        <a:srgbClr val="384B77"/>
      </a:accent3>
      <a:accent4>
        <a:srgbClr val="CBE2EC"/>
      </a:accent4>
      <a:accent5>
        <a:srgbClr val="53355A"/>
      </a:accent5>
      <a:accent6>
        <a:srgbClr val="8CA7AF"/>
      </a:accent6>
      <a:hlink>
        <a:srgbClr val="0000FF"/>
      </a:hlink>
      <a:folHlink>
        <a:srgbClr val="800080"/>
      </a:folHlink>
    </a:clrScheme>
    <a:fontScheme name="Custom">
      <a:majorFont>
        <a:latin typeface="Mulish"/>
        <a:ea typeface=""/>
        <a:cs typeface=""/>
      </a:majorFont>
      <a:minorFont>
        <a:latin typeface="Mulish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 cap="flat">
          <a:solidFill>
            <a:srgbClr val="B3B3B3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Client color scheme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8D7C6"/>
        </a:accent1>
        <a:accent2>
          <a:srgbClr val="3E8077"/>
        </a:accent2>
        <a:accent3>
          <a:srgbClr val="384B77"/>
        </a:accent3>
        <a:accent4>
          <a:srgbClr val="CBE2EC"/>
        </a:accent4>
        <a:accent5>
          <a:srgbClr val="53355A"/>
        </a:accent5>
        <a:accent6>
          <a:srgbClr val="8CA7A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EDP Strategic update 2021-2025 Template.potx" id="{412F8254-E748-47A1-9BD0-40D79041595B}" vid="{09338514-1695-4BA4-9D8B-946807678FA8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12E3E"/>
      </a:accent1>
      <a:accent2>
        <a:srgbClr val="7C9599"/>
      </a:accent2>
      <a:accent3>
        <a:srgbClr val="BBC9DB"/>
      </a:accent3>
      <a:accent4>
        <a:srgbClr val="225E66"/>
      </a:accent4>
      <a:accent5>
        <a:srgbClr val="28FF52"/>
      </a:accent5>
      <a:accent6>
        <a:srgbClr val="A9FFBA"/>
      </a:accent6>
      <a:hlink>
        <a:srgbClr val="6D32FF"/>
      </a:hlink>
      <a:folHlink>
        <a:srgbClr val="6DE4FB"/>
      </a:folHlink>
    </a:clrScheme>
    <a:fontScheme name="Custom">
      <a:majorFont>
        <a:latin typeface="FT Base Book"/>
        <a:ea typeface=""/>
        <a:cs typeface=""/>
      </a:majorFont>
      <a:minorFont>
        <a:latin typeface="FT Base Book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12E3E"/>
        </a:accent1>
        <a:accent2>
          <a:srgbClr val="7C9599"/>
        </a:accent2>
        <a:accent3>
          <a:srgbClr val="BBC9DB"/>
        </a:accent3>
        <a:accent4>
          <a:srgbClr val="225E66"/>
        </a:accent4>
        <a:accent5>
          <a:srgbClr val="28FF52"/>
        </a:accent5>
        <a:accent6>
          <a:srgbClr val="A9FFBA"/>
        </a:accent6>
        <a:hlink>
          <a:srgbClr val="6D32FF"/>
        </a:hlink>
        <a:folHlink>
          <a:srgbClr val="6DE4FB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D32FF"/>
    </a:custClr>
    <a:custClr name="Custom Color7">
      <a:srgbClr val="6DE4FB"/>
    </a:custClr>
  </a:custClrLst>
  <a:extLst>
    <a:ext uri="{05A4C25C-085E-4340-85A3-A5531E510DB2}">
      <thm15:themeFamily xmlns:thm15="http://schemas.microsoft.com/office/thememl/2012/main" name="EDP_New_Template_Base.potx" id="{FAD5FF55-B7F3-4F75-B694-87EFFC643E33}" vid="{BA28A344-6002-4FD3-9620-2140DEC95963}"/>
    </a:ext>
  </a:extLst>
</a:theme>
</file>

<file path=ppt/theme/theme4.xml><?xml version="1.0" encoding="utf-8"?>
<a:theme xmlns:a="http://schemas.openxmlformats.org/drawingml/2006/main" name="2_Tema do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>
          <a:blip xmlns:r="http://schemas.openxmlformats.org/officeDocument/2006/relationships" r:embed="rId1" cstate="print"/>
          <a:stretch>
            <a:fillRect/>
          </a:stretch>
        </a:blipFill>
      </a:spPr>
      <a:bodyPr wrap="square" lIns="0" tIns="0" rIns="0" bIns="0" rtlCol="0"/>
      <a:lstStyle>
        <a:defPPr marL="0" marR="0" indent="0" algn="l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prstClr val="black"/>
            </a:solidFill>
            <a:effectLst/>
            <a:uLnTx/>
            <a:uFillTx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12E3E"/>
      </a:accent1>
      <a:accent2>
        <a:srgbClr val="7C9599"/>
      </a:accent2>
      <a:accent3>
        <a:srgbClr val="BBC9DB"/>
      </a:accent3>
      <a:accent4>
        <a:srgbClr val="225E66"/>
      </a:accent4>
      <a:accent5>
        <a:srgbClr val="28FF52"/>
      </a:accent5>
      <a:accent6>
        <a:srgbClr val="A9FFBA"/>
      </a:accent6>
      <a:hlink>
        <a:srgbClr val="6D32FF"/>
      </a:hlink>
      <a:folHlink>
        <a:srgbClr val="6DE4FB"/>
      </a:folHlink>
    </a:clrScheme>
    <a:fontScheme name="Custom">
      <a:majorFont>
        <a:latin typeface="FT Base Book"/>
        <a:ea typeface=""/>
        <a:cs typeface=""/>
      </a:majorFont>
      <a:minorFont>
        <a:latin typeface="FT Base Book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12E3E"/>
        </a:accent1>
        <a:accent2>
          <a:srgbClr val="7C9599"/>
        </a:accent2>
        <a:accent3>
          <a:srgbClr val="BBC9DB"/>
        </a:accent3>
        <a:accent4>
          <a:srgbClr val="225E66"/>
        </a:accent4>
        <a:accent5>
          <a:srgbClr val="28FF52"/>
        </a:accent5>
        <a:accent6>
          <a:srgbClr val="A9FFBA"/>
        </a:accent6>
        <a:hlink>
          <a:srgbClr val="6D32FF"/>
        </a:hlink>
        <a:folHlink>
          <a:srgbClr val="6DE4FB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D32FF"/>
    </a:custClr>
    <a:custClr name="Custom Color7">
      <a:srgbClr val="6DE4FB"/>
    </a:custClr>
  </a:custClrLst>
  <a:extLst>
    <a:ext uri="{05A4C25C-085E-4340-85A3-A5531E510DB2}">
      <thm15:themeFamily xmlns:thm15="http://schemas.microsoft.com/office/thememl/2012/main" name="Template EDP 2022_English.potx" id="{66EA190E-9CBF-465B-BD7A-924F8D54FB91}" vid="{5DF9C2A3-3CDA-4ED3-9DBC-071BECB09F05}"/>
    </a:ext>
  </a:extLst>
</a:theme>
</file>

<file path=ppt/theme/theme7.xml><?xml version="1.0" encoding="utf-8"?>
<a:theme xmlns:a="http://schemas.openxmlformats.org/drawingml/2006/main" name="3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>
          <a:blip xmlns:r="http://schemas.openxmlformats.org/officeDocument/2006/relationships" r:embed="rId1" cstate="print"/>
          <a:stretch>
            <a:fillRect/>
          </a:stretch>
        </a:blipFill>
      </a:spPr>
      <a:bodyPr wrap="square" lIns="0" tIns="0" rIns="0" bIns="0" rtlCol="0"/>
      <a:lstStyle>
        <a:defPPr marL="0" marR="0" indent="0" algn="l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prstClr val="black"/>
            </a:solidFill>
            <a:effectLst/>
            <a:uLnTx/>
            <a:uFillTx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58</TotalTime>
  <Words>2506</Words>
  <Application>Microsoft Office PowerPoint</Application>
  <PresentationFormat>Widescreen</PresentationFormat>
  <Paragraphs>359</Paragraphs>
  <Slides>24</Slides>
  <Notes>15</Notes>
  <HiddenSlides>0</HiddenSlides>
  <MMClips>2</MMClips>
  <ScaleCrop>false</ScaleCrop>
  <HeadingPairs>
    <vt:vector size="8" baseType="variant">
      <vt:variant>
        <vt:lpstr>Fontes usadas</vt:lpstr>
      </vt:variant>
      <vt:variant>
        <vt:i4>13</vt:i4>
      </vt:variant>
      <vt:variant>
        <vt:lpstr>Tema</vt:lpstr>
      </vt:variant>
      <vt:variant>
        <vt:i4>7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24</vt:i4>
      </vt:variant>
    </vt:vector>
  </HeadingPairs>
  <TitlesOfParts>
    <vt:vector size="46" baseType="lpstr">
      <vt:lpstr>Aharoni</vt:lpstr>
      <vt:lpstr>Arial</vt:lpstr>
      <vt:lpstr>Calibri</vt:lpstr>
      <vt:lpstr>Calibri Light</vt:lpstr>
      <vt:lpstr>FT Base</vt:lpstr>
      <vt:lpstr>FT Base Book</vt:lpstr>
      <vt:lpstr>FT Base Semibold</vt:lpstr>
      <vt:lpstr>Lato</vt:lpstr>
      <vt:lpstr>Mulish</vt:lpstr>
      <vt:lpstr>Mulish Black</vt:lpstr>
      <vt:lpstr>Mulish Light</vt:lpstr>
      <vt:lpstr>Segoe UI</vt:lpstr>
      <vt:lpstr>Wingdings</vt:lpstr>
      <vt:lpstr>Tema do Office</vt:lpstr>
      <vt:lpstr>White</vt:lpstr>
      <vt:lpstr>1_White</vt:lpstr>
      <vt:lpstr>2_Tema do Office</vt:lpstr>
      <vt:lpstr>1_Tema do Office</vt:lpstr>
      <vt:lpstr>2_White</vt:lpstr>
      <vt:lpstr>3_Tema do Office</vt:lpstr>
      <vt:lpstr>think-cell Slide</vt:lpstr>
      <vt:lpstr>Slide do think-cell</vt:lpstr>
      <vt:lpstr>Case EDP – Planta de Hidrogênio Ver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No dia 15/12 foi produzida a primeira molécula de hidrogênio verde do projeto Pecém H2V</vt:lpstr>
      <vt:lpstr>Num curto espaço de tempo, foram alcançados “quick wins” significativos, gerando resultados imediatos e avanço ao projeto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oao Paulo Niggli Silva</dc:creator>
  <cp:lastModifiedBy>Cayo Cid De Franca Moraes</cp:lastModifiedBy>
  <cp:revision>28</cp:revision>
  <dcterms:created xsi:type="dcterms:W3CDTF">2024-01-10T18:14:17Z</dcterms:created>
  <dcterms:modified xsi:type="dcterms:W3CDTF">2024-01-16T22:0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11530c-902c-4b75-8616-d6c82cd1332a_Enabled">
    <vt:lpwstr>true</vt:lpwstr>
  </property>
  <property fmtid="{D5CDD505-2E9C-101B-9397-08002B2CF9AE}" pid="3" name="MSIP_Label_9811530c-902c-4b75-8616-d6c82cd1332a_SetDate">
    <vt:lpwstr>2024-01-10T18:14:17Z</vt:lpwstr>
  </property>
  <property fmtid="{D5CDD505-2E9C-101B-9397-08002B2CF9AE}" pid="4" name="MSIP_Label_9811530c-902c-4b75-8616-d6c82cd1332a_Method">
    <vt:lpwstr>Standard</vt:lpwstr>
  </property>
  <property fmtid="{D5CDD505-2E9C-101B-9397-08002B2CF9AE}" pid="5" name="MSIP_Label_9811530c-902c-4b75-8616-d6c82cd1332a_Name">
    <vt:lpwstr>9811530c-902c-4b75-8616-d6c82cd1332a</vt:lpwstr>
  </property>
  <property fmtid="{D5CDD505-2E9C-101B-9397-08002B2CF9AE}" pid="6" name="MSIP_Label_9811530c-902c-4b75-8616-d6c82cd1332a_SiteId">
    <vt:lpwstr>bf86fbdb-f8c2-440e-923c-05a60dc2bc9b</vt:lpwstr>
  </property>
  <property fmtid="{D5CDD505-2E9C-101B-9397-08002B2CF9AE}" pid="7" name="MSIP_Label_9811530c-902c-4b75-8616-d6c82cd1332a_ActionId">
    <vt:lpwstr>a8292791-3d79-455d-a5d4-ae5a60424e97</vt:lpwstr>
  </property>
  <property fmtid="{D5CDD505-2E9C-101B-9397-08002B2CF9AE}" pid="8" name="MSIP_Label_9811530c-902c-4b75-8616-d6c82cd1332a_ContentBits">
    <vt:lpwstr>0</vt:lpwstr>
  </property>
</Properties>
</file>